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4.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media/image28.jpg" ContentType="image/jpg"/>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9" r:id="rId2"/>
    <p:sldMasterId id="2147483706" r:id="rId3"/>
    <p:sldMasterId id="2147483744" r:id="rId4"/>
    <p:sldMasterId id="2147483793" r:id="rId5"/>
  </p:sldMasterIdLst>
  <p:notesMasterIdLst>
    <p:notesMasterId r:id="rId16"/>
  </p:notesMasterIdLst>
  <p:sldIdLst>
    <p:sldId id="2147482931" r:id="rId6"/>
    <p:sldId id="257" r:id="rId7"/>
    <p:sldId id="258" r:id="rId8"/>
    <p:sldId id="2147472874" r:id="rId9"/>
    <p:sldId id="2147482764" r:id="rId10"/>
    <p:sldId id="2147482765" r:id="rId11"/>
    <p:sldId id="264" r:id="rId12"/>
    <p:sldId id="2147482929" r:id="rId13"/>
    <p:sldId id="2147482930" r:id="rId14"/>
    <p:sldId id="478" r:id="rId15"/>
  </p:sldIdLst>
  <p:sldSz cx="12192000" cy="6858000"/>
  <p:notesSz cx="12192000" cy="6858000"/>
  <p:defaultTextStyle>
    <a:defPPr>
      <a:defRPr kern="0"/>
    </a:def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175E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F523601-0EEE-407F-B905-CDD98056F8CA}" v="294" dt="2025-09-18T13:41:58.451"/>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102" d="100"/>
          <a:sy n="102" d="100"/>
        </p:scale>
        <p:origin x="168" y="114"/>
      </p:cViewPr>
      <p:guideLst>
        <p:guide orient="horz" pos="2880"/>
        <p:guide pos="216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viewProps" Target="viewProps.xml"/><Relationship Id="rId3" Type="http://schemas.openxmlformats.org/officeDocument/2006/relationships/slideMaster" Target="slideMasters/slideMaster3.xml"/><Relationship Id="rId21" Type="http://schemas.microsoft.com/office/2016/11/relationships/changesInfo" Target="changesInfos/changesInfo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5.xml"/><Relationship Id="rId15" Type="http://schemas.openxmlformats.org/officeDocument/2006/relationships/slide" Target="slides/slide10.xml"/><Relationship Id="rId10" Type="http://schemas.openxmlformats.org/officeDocument/2006/relationships/slide" Target="slides/slide5.xml"/><Relationship Id="rId19"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k Dill" userId="fe0fe673-ec6e-4d6c-a200-6b834c958f0d" providerId="ADAL" clId="{7F523601-0EEE-407F-B905-CDD98056F8CA}"/>
    <pc:docChg chg="undo custSel addSld delSld modSld sldOrd">
      <pc:chgData name="Mark Dill" userId="fe0fe673-ec6e-4d6c-a200-6b834c958f0d" providerId="ADAL" clId="{7F523601-0EEE-407F-B905-CDD98056F8CA}" dt="2025-09-19T17:17:32.158" v="2105" actId="403"/>
      <pc:docMkLst>
        <pc:docMk/>
      </pc:docMkLst>
      <pc:sldChg chg="modSp del mod">
        <pc:chgData name="Mark Dill" userId="fe0fe673-ec6e-4d6c-a200-6b834c958f0d" providerId="ADAL" clId="{7F523601-0EEE-407F-B905-CDD98056F8CA}" dt="2025-09-18T13:27:52.499" v="1152" actId="47"/>
        <pc:sldMkLst>
          <pc:docMk/>
          <pc:sldMk cId="0" sldId="256"/>
        </pc:sldMkLst>
        <pc:spChg chg="mod">
          <ac:chgData name="Mark Dill" userId="fe0fe673-ec6e-4d6c-a200-6b834c958f0d" providerId="ADAL" clId="{7F523601-0EEE-407F-B905-CDD98056F8CA}" dt="2025-09-18T13:23:54.690" v="1044"/>
          <ac:spMkLst>
            <pc:docMk/>
            <pc:sldMk cId="0" sldId="256"/>
            <ac:spMk id="3" creationId="{00000000-0000-0000-0000-000000000000}"/>
          </ac:spMkLst>
        </pc:spChg>
      </pc:sldChg>
      <pc:sldChg chg="modSp mod">
        <pc:chgData name="Mark Dill" userId="fe0fe673-ec6e-4d6c-a200-6b834c958f0d" providerId="ADAL" clId="{7F523601-0EEE-407F-B905-CDD98056F8CA}" dt="2025-09-16T18:42:31.473" v="993" actId="207"/>
        <pc:sldMkLst>
          <pc:docMk/>
          <pc:sldMk cId="0" sldId="257"/>
        </pc:sldMkLst>
        <pc:spChg chg="mod">
          <ac:chgData name="Mark Dill" userId="fe0fe673-ec6e-4d6c-a200-6b834c958f0d" providerId="ADAL" clId="{7F523601-0EEE-407F-B905-CDD98056F8CA}" dt="2025-09-16T18:42:31.473" v="993" actId="207"/>
          <ac:spMkLst>
            <pc:docMk/>
            <pc:sldMk cId="0" sldId="257"/>
            <ac:spMk id="11" creationId="{00000000-0000-0000-0000-000000000000}"/>
          </ac:spMkLst>
        </pc:spChg>
      </pc:sldChg>
      <pc:sldChg chg="modSp mod">
        <pc:chgData name="Mark Dill" userId="fe0fe673-ec6e-4d6c-a200-6b834c958f0d" providerId="ADAL" clId="{7F523601-0EEE-407F-B905-CDD98056F8CA}" dt="2025-09-19T17:11:00.494" v="2029" actId="20577"/>
        <pc:sldMkLst>
          <pc:docMk/>
          <pc:sldMk cId="0" sldId="258"/>
        </pc:sldMkLst>
        <pc:spChg chg="mod">
          <ac:chgData name="Mark Dill" userId="fe0fe673-ec6e-4d6c-a200-6b834c958f0d" providerId="ADAL" clId="{7F523601-0EEE-407F-B905-CDD98056F8CA}" dt="2025-09-16T18:03:24.083" v="5" actId="1076"/>
          <ac:spMkLst>
            <pc:docMk/>
            <pc:sldMk cId="0" sldId="258"/>
            <ac:spMk id="6" creationId="{00000000-0000-0000-0000-000000000000}"/>
          </ac:spMkLst>
        </pc:spChg>
        <pc:spChg chg="mod">
          <ac:chgData name="Mark Dill" userId="fe0fe673-ec6e-4d6c-a200-6b834c958f0d" providerId="ADAL" clId="{7F523601-0EEE-407F-B905-CDD98056F8CA}" dt="2025-09-19T17:11:00.494" v="2029" actId="20577"/>
          <ac:spMkLst>
            <pc:docMk/>
            <pc:sldMk cId="0" sldId="258"/>
            <ac:spMk id="13" creationId="{00000000-0000-0000-0000-000000000000}"/>
          </ac:spMkLst>
        </pc:spChg>
        <pc:spChg chg="mod">
          <ac:chgData name="Mark Dill" userId="fe0fe673-ec6e-4d6c-a200-6b834c958f0d" providerId="ADAL" clId="{7F523601-0EEE-407F-B905-CDD98056F8CA}" dt="2025-09-16T18:42:14.569" v="990" actId="1076"/>
          <ac:spMkLst>
            <pc:docMk/>
            <pc:sldMk cId="0" sldId="258"/>
            <ac:spMk id="21" creationId="{3C4C2ADE-BC98-9211-3B49-095B31A22BC9}"/>
          </ac:spMkLst>
        </pc:spChg>
        <pc:picChg chg="mod">
          <ac:chgData name="Mark Dill" userId="fe0fe673-ec6e-4d6c-a200-6b834c958f0d" providerId="ADAL" clId="{7F523601-0EEE-407F-B905-CDD98056F8CA}" dt="2025-09-18T13:38:14.424" v="1440" actId="962"/>
          <ac:picMkLst>
            <pc:docMk/>
            <pc:sldMk cId="0" sldId="258"/>
            <ac:picMk id="12" creationId="{00000000-0000-0000-0000-000000000000}"/>
          </ac:picMkLst>
        </pc:picChg>
        <pc:picChg chg="mod">
          <ac:chgData name="Mark Dill" userId="fe0fe673-ec6e-4d6c-a200-6b834c958f0d" providerId="ADAL" clId="{7F523601-0EEE-407F-B905-CDD98056F8CA}" dt="2025-09-18T13:38:22.923" v="1486" actId="962"/>
          <ac:picMkLst>
            <pc:docMk/>
            <pc:sldMk cId="0" sldId="258"/>
            <ac:picMk id="17" creationId="{D9437FC5-B1ED-F0E1-100B-5FBE2D2A9510}"/>
          </ac:picMkLst>
        </pc:picChg>
        <pc:picChg chg="mod">
          <ac:chgData name="Mark Dill" userId="fe0fe673-ec6e-4d6c-a200-6b834c958f0d" providerId="ADAL" clId="{7F523601-0EEE-407F-B905-CDD98056F8CA}" dt="2025-09-18T13:37:55.614" v="1362" actId="962"/>
          <ac:picMkLst>
            <pc:docMk/>
            <pc:sldMk cId="0" sldId="258"/>
            <ac:picMk id="18" creationId="{A88D22A0-5692-3F56-88B3-23CB40874562}"/>
          </ac:picMkLst>
        </pc:picChg>
        <pc:picChg chg="mod">
          <ac:chgData name="Mark Dill" userId="fe0fe673-ec6e-4d6c-a200-6b834c958f0d" providerId="ADAL" clId="{7F523601-0EEE-407F-B905-CDD98056F8CA}" dt="2025-09-18T13:38:05.718" v="1386" actId="962"/>
          <ac:picMkLst>
            <pc:docMk/>
            <pc:sldMk cId="0" sldId="258"/>
            <ac:picMk id="19" creationId="{74D560BD-8D36-C582-C8F7-DA338AE2BA71}"/>
          </ac:picMkLst>
        </pc:picChg>
      </pc:sldChg>
      <pc:sldChg chg="addSp delSp modSp mod">
        <pc:chgData name="Mark Dill" userId="fe0fe673-ec6e-4d6c-a200-6b834c958f0d" providerId="ADAL" clId="{7F523601-0EEE-407F-B905-CDD98056F8CA}" dt="2025-09-19T17:16:42.001" v="2102" actId="108"/>
        <pc:sldMkLst>
          <pc:docMk/>
          <pc:sldMk cId="0" sldId="264"/>
        </pc:sldMkLst>
        <pc:spChg chg="mod">
          <ac:chgData name="Mark Dill" userId="fe0fe673-ec6e-4d6c-a200-6b834c958f0d" providerId="ADAL" clId="{7F523601-0EEE-407F-B905-CDD98056F8CA}" dt="2025-09-15T14:45:46.225" v="1" actId="1076"/>
          <ac:spMkLst>
            <pc:docMk/>
            <pc:sldMk cId="0" sldId="264"/>
            <ac:spMk id="2" creationId="{00000000-0000-0000-0000-000000000000}"/>
          </ac:spMkLst>
        </pc:spChg>
        <pc:spChg chg="mod">
          <ac:chgData name="Mark Dill" userId="fe0fe673-ec6e-4d6c-a200-6b834c958f0d" providerId="ADAL" clId="{7F523601-0EEE-407F-B905-CDD98056F8CA}" dt="2025-09-19T17:16:32.174" v="2100" actId="108"/>
          <ac:spMkLst>
            <pc:docMk/>
            <pc:sldMk cId="0" sldId="264"/>
            <ac:spMk id="7" creationId="{00000000-0000-0000-0000-000000000000}"/>
          </ac:spMkLst>
        </pc:spChg>
        <pc:spChg chg="mod">
          <ac:chgData name="Mark Dill" userId="fe0fe673-ec6e-4d6c-a200-6b834c958f0d" providerId="ADAL" clId="{7F523601-0EEE-407F-B905-CDD98056F8CA}" dt="2025-09-19T17:16:32.174" v="2100" actId="108"/>
          <ac:spMkLst>
            <pc:docMk/>
            <pc:sldMk cId="0" sldId="264"/>
            <ac:spMk id="9" creationId="{00000000-0000-0000-0000-000000000000}"/>
          </ac:spMkLst>
        </pc:spChg>
        <pc:spChg chg="mod">
          <ac:chgData name="Mark Dill" userId="fe0fe673-ec6e-4d6c-a200-6b834c958f0d" providerId="ADAL" clId="{7F523601-0EEE-407F-B905-CDD98056F8CA}" dt="2025-09-19T17:16:37.593" v="2101" actId="108"/>
          <ac:spMkLst>
            <pc:docMk/>
            <pc:sldMk cId="0" sldId="264"/>
            <ac:spMk id="11" creationId="{00000000-0000-0000-0000-000000000000}"/>
          </ac:spMkLst>
        </pc:spChg>
        <pc:spChg chg="mod">
          <ac:chgData name="Mark Dill" userId="fe0fe673-ec6e-4d6c-a200-6b834c958f0d" providerId="ADAL" clId="{7F523601-0EEE-407F-B905-CDD98056F8CA}" dt="2025-09-19T17:15:33.512" v="2095" actId="948"/>
          <ac:spMkLst>
            <pc:docMk/>
            <pc:sldMk cId="0" sldId="264"/>
            <ac:spMk id="14" creationId="{00000000-0000-0000-0000-000000000000}"/>
          </ac:spMkLst>
        </pc:spChg>
        <pc:spChg chg="mod">
          <ac:chgData name="Mark Dill" userId="fe0fe673-ec6e-4d6c-a200-6b834c958f0d" providerId="ADAL" clId="{7F523601-0EEE-407F-B905-CDD98056F8CA}" dt="2025-09-19T17:16:09.008" v="2097" actId="948"/>
          <ac:spMkLst>
            <pc:docMk/>
            <pc:sldMk cId="0" sldId="264"/>
            <ac:spMk id="15" creationId="{00000000-0000-0000-0000-000000000000}"/>
          </ac:spMkLst>
        </pc:spChg>
        <pc:spChg chg="mod">
          <ac:chgData name="Mark Dill" userId="fe0fe673-ec6e-4d6c-a200-6b834c958f0d" providerId="ADAL" clId="{7F523601-0EEE-407F-B905-CDD98056F8CA}" dt="2025-09-19T17:13:08.609" v="2075" actId="108"/>
          <ac:spMkLst>
            <pc:docMk/>
            <pc:sldMk cId="0" sldId="264"/>
            <ac:spMk id="16" creationId="{00000000-0000-0000-0000-000000000000}"/>
          </ac:spMkLst>
        </pc:spChg>
        <pc:spChg chg="mod">
          <ac:chgData name="Mark Dill" userId="fe0fe673-ec6e-4d6c-a200-6b834c958f0d" providerId="ADAL" clId="{7F523601-0EEE-407F-B905-CDD98056F8CA}" dt="2025-09-19T17:13:19.423" v="2078" actId="1076"/>
          <ac:spMkLst>
            <pc:docMk/>
            <pc:sldMk cId="0" sldId="264"/>
            <ac:spMk id="17" creationId="{00000000-0000-0000-0000-000000000000}"/>
          </ac:spMkLst>
        </pc:spChg>
        <pc:spChg chg="mod">
          <ac:chgData name="Mark Dill" userId="fe0fe673-ec6e-4d6c-a200-6b834c958f0d" providerId="ADAL" clId="{7F523601-0EEE-407F-B905-CDD98056F8CA}" dt="2025-09-19T17:12:57.162" v="2073" actId="2711"/>
          <ac:spMkLst>
            <pc:docMk/>
            <pc:sldMk cId="0" sldId="264"/>
            <ac:spMk id="18" creationId="{00000000-0000-0000-0000-000000000000}"/>
          </ac:spMkLst>
        </pc:spChg>
        <pc:spChg chg="mod">
          <ac:chgData name="Mark Dill" userId="fe0fe673-ec6e-4d6c-a200-6b834c958f0d" providerId="ADAL" clId="{7F523601-0EEE-407F-B905-CDD98056F8CA}" dt="2025-09-19T17:13:04.414" v="2074" actId="108"/>
          <ac:spMkLst>
            <pc:docMk/>
            <pc:sldMk cId="0" sldId="264"/>
            <ac:spMk id="19" creationId="{00000000-0000-0000-0000-000000000000}"/>
          </ac:spMkLst>
        </pc:spChg>
        <pc:spChg chg="mod">
          <ac:chgData name="Mark Dill" userId="fe0fe673-ec6e-4d6c-a200-6b834c958f0d" providerId="ADAL" clId="{7F523601-0EEE-407F-B905-CDD98056F8CA}" dt="2025-09-19T17:14:45.555" v="2091" actId="948"/>
          <ac:spMkLst>
            <pc:docMk/>
            <pc:sldMk cId="0" sldId="264"/>
            <ac:spMk id="20" creationId="{00000000-0000-0000-0000-000000000000}"/>
          </ac:spMkLst>
        </pc:spChg>
        <pc:spChg chg="mod">
          <ac:chgData name="Mark Dill" userId="fe0fe673-ec6e-4d6c-a200-6b834c958f0d" providerId="ADAL" clId="{7F523601-0EEE-407F-B905-CDD98056F8CA}" dt="2025-09-19T17:13:13.010" v="2076" actId="108"/>
          <ac:spMkLst>
            <pc:docMk/>
            <pc:sldMk cId="0" sldId="264"/>
            <ac:spMk id="21" creationId="{00000000-0000-0000-0000-000000000000}"/>
          </ac:spMkLst>
        </pc:spChg>
        <pc:spChg chg="mod">
          <ac:chgData name="Mark Dill" userId="fe0fe673-ec6e-4d6c-a200-6b834c958f0d" providerId="ADAL" clId="{7F523601-0EEE-407F-B905-CDD98056F8CA}" dt="2025-09-19T17:14:56.293" v="2092" actId="948"/>
          <ac:spMkLst>
            <pc:docMk/>
            <pc:sldMk cId="0" sldId="264"/>
            <ac:spMk id="22" creationId="{00000000-0000-0000-0000-000000000000}"/>
          </ac:spMkLst>
        </pc:spChg>
        <pc:spChg chg="mod">
          <ac:chgData name="Mark Dill" userId="fe0fe673-ec6e-4d6c-a200-6b834c958f0d" providerId="ADAL" clId="{7F523601-0EEE-407F-B905-CDD98056F8CA}" dt="2025-09-19T17:14:33.380" v="2090" actId="948"/>
          <ac:spMkLst>
            <pc:docMk/>
            <pc:sldMk cId="0" sldId="264"/>
            <ac:spMk id="23" creationId="{00000000-0000-0000-0000-000000000000}"/>
          </ac:spMkLst>
        </pc:spChg>
        <pc:spChg chg="mod">
          <ac:chgData name="Mark Dill" userId="fe0fe673-ec6e-4d6c-a200-6b834c958f0d" providerId="ADAL" clId="{7F523601-0EEE-407F-B905-CDD98056F8CA}" dt="2025-09-19T17:16:42.001" v="2102" actId="108"/>
          <ac:spMkLst>
            <pc:docMk/>
            <pc:sldMk cId="0" sldId="264"/>
            <ac:spMk id="25" creationId="{00000000-0000-0000-0000-000000000000}"/>
          </ac:spMkLst>
        </pc:spChg>
        <pc:spChg chg="add mod">
          <ac:chgData name="Mark Dill" userId="fe0fe673-ec6e-4d6c-a200-6b834c958f0d" providerId="ADAL" clId="{7F523601-0EEE-407F-B905-CDD98056F8CA}" dt="2025-09-16T18:41:30.106" v="978" actId="2711"/>
          <ac:spMkLst>
            <pc:docMk/>
            <pc:sldMk cId="0" sldId="264"/>
            <ac:spMk id="31" creationId="{36F2E5EC-16EB-2BBA-4706-260460C1B527}"/>
          </ac:spMkLst>
        </pc:spChg>
      </pc:sldChg>
      <pc:sldChg chg="addSp delSp modSp del mod">
        <pc:chgData name="Mark Dill" userId="fe0fe673-ec6e-4d6c-a200-6b834c958f0d" providerId="ADAL" clId="{7F523601-0EEE-407F-B905-CDD98056F8CA}" dt="2025-09-16T18:26:39.830" v="582" actId="47"/>
        <pc:sldMkLst>
          <pc:docMk/>
          <pc:sldMk cId="0" sldId="265"/>
        </pc:sldMkLst>
      </pc:sldChg>
      <pc:sldChg chg="del">
        <pc:chgData name="Mark Dill" userId="fe0fe673-ec6e-4d6c-a200-6b834c958f0d" providerId="ADAL" clId="{7F523601-0EEE-407F-B905-CDD98056F8CA}" dt="2025-09-16T18:20:57.649" v="555" actId="47"/>
        <pc:sldMkLst>
          <pc:docMk/>
          <pc:sldMk cId="0" sldId="267"/>
        </pc:sldMkLst>
      </pc:sldChg>
      <pc:sldChg chg="addSp delSp modSp del mod ord">
        <pc:chgData name="Mark Dill" userId="fe0fe673-ec6e-4d6c-a200-6b834c958f0d" providerId="ADAL" clId="{7F523601-0EEE-407F-B905-CDD98056F8CA}" dt="2025-09-16T18:18:58.701" v="535" actId="47"/>
        <pc:sldMkLst>
          <pc:docMk/>
          <pc:sldMk cId="0" sldId="268"/>
        </pc:sldMkLst>
      </pc:sldChg>
      <pc:sldChg chg="modSp mod">
        <pc:chgData name="Mark Dill" userId="fe0fe673-ec6e-4d6c-a200-6b834c958f0d" providerId="ADAL" clId="{7F523601-0EEE-407F-B905-CDD98056F8CA}" dt="2025-09-19T17:07:54.814" v="2007" actId="20577"/>
        <pc:sldMkLst>
          <pc:docMk/>
          <pc:sldMk cId="1019063170" sldId="478"/>
        </pc:sldMkLst>
        <pc:spChg chg="mod">
          <ac:chgData name="Mark Dill" userId="fe0fe673-ec6e-4d6c-a200-6b834c958f0d" providerId="ADAL" clId="{7F523601-0EEE-407F-B905-CDD98056F8CA}" dt="2025-09-19T17:07:49.861" v="1997" actId="20577"/>
          <ac:spMkLst>
            <pc:docMk/>
            <pc:sldMk cId="1019063170" sldId="478"/>
            <ac:spMk id="6" creationId="{3C1C6983-A307-5898-8123-1FF68401094E}"/>
          </ac:spMkLst>
        </pc:spChg>
        <pc:spChg chg="mod">
          <ac:chgData name="Mark Dill" userId="fe0fe673-ec6e-4d6c-a200-6b834c958f0d" providerId="ADAL" clId="{7F523601-0EEE-407F-B905-CDD98056F8CA}" dt="2025-09-19T17:07:54.814" v="2007" actId="20577"/>
          <ac:spMkLst>
            <pc:docMk/>
            <pc:sldMk cId="1019063170" sldId="478"/>
            <ac:spMk id="7" creationId="{A3EE06EB-6366-9715-0F9B-2AD6F372DC4C}"/>
          </ac:spMkLst>
        </pc:spChg>
      </pc:sldChg>
      <pc:sldChg chg="modSp mod">
        <pc:chgData name="Mark Dill" userId="fe0fe673-ec6e-4d6c-a200-6b834c958f0d" providerId="ADAL" clId="{7F523601-0EEE-407F-B905-CDD98056F8CA}" dt="2025-09-18T13:38:53.625" v="1648" actId="962"/>
        <pc:sldMkLst>
          <pc:docMk/>
          <pc:sldMk cId="1530096044" sldId="2147472874"/>
        </pc:sldMkLst>
        <pc:spChg chg="mod">
          <ac:chgData name="Mark Dill" userId="fe0fe673-ec6e-4d6c-a200-6b834c958f0d" providerId="ADAL" clId="{7F523601-0EEE-407F-B905-CDD98056F8CA}" dt="2025-09-16T18:41:53.772" v="983" actId="403"/>
          <ac:spMkLst>
            <pc:docMk/>
            <pc:sldMk cId="1530096044" sldId="2147472874"/>
            <ac:spMk id="2" creationId="{FEDFB40A-FD68-C90C-FC94-AB562EC8C5F8}"/>
          </ac:spMkLst>
        </pc:spChg>
        <pc:picChg chg="mod">
          <ac:chgData name="Mark Dill" userId="fe0fe673-ec6e-4d6c-a200-6b834c958f0d" providerId="ADAL" clId="{7F523601-0EEE-407F-B905-CDD98056F8CA}" dt="2025-09-18T13:38:53.625" v="1648" actId="962"/>
          <ac:picMkLst>
            <pc:docMk/>
            <pc:sldMk cId="1530096044" sldId="2147472874"/>
            <ac:picMk id="3" creationId="{88F7C332-4967-15C1-D598-341BEA64B30D}"/>
          </ac:picMkLst>
        </pc:picChg>
      </pc:sldChg>
      <pc:sldChg chg="modSp mod">
        <pc:chgData name="Mark Dill" userId="fe0fe673-ec6e-4d6c-a200-6b834c958f0d" providerId="ADAL" clId="{7F523601-0EEE-407F-B905-CDD98056F8CA}" dt="2025-09-18T13:39:10.873" v="1742" actId="962"/>
        <pc:sldMkLst>
          <pc:docMk/>
          <pc:sldMk cId="2724518232" sldId="2147482764"/>
        </pc:sldMkLst>
        <pc:spChg chg="mod">
          <ac:chgData name="Mark Dill" userId="fe0fe673-ec6e-4d6c-a200-6b834c958f0d" providerId="ADAL" clId="{7F523601-0EEE-407F-B905-CDD98056F8CA}" dt="2025-09-16T18:42:49.135" v="996" actId="1076"/>
          <ac:spMkLst>
            <pc:docMk/>
            <pc:sldMk cId="2724518232" sldId="2147482764"/>
            <ac:spMk id="2" creationId="{862180C6-A503-1830-B0BF-96AF3E78B09B}"/>
          </ac:spMkLst>
        </pc:spChg>
        <pc:spChg chg="mod">
          <ac:chgData name="Mark Dill" userId="fe0fe673-ec6e-4d6c-a200-6b834c958f0d" providerId="ADAL" clId="{7F523601-0EEE-407F-B905-CDD98056F8CA}" dt="2025-09-16T18:42:44.162" v="995" actId="1076"/>
          <ac:spMkLst>
            <pc:docMk/>
            <pc:sldMk cId="2724518232" sldId="2147482764"/>
            <ac:spMk id="20" creationId="{3965CC69-25B5-4A0F-A0B9-11BF783885FD}"/>
          </ac:spMkLst>
        </pc:spChg>
        <pc:spChg chg="mod">
          <ac:chgData name="Mark Dill" userId="fe0fe673-ec6e-4d6c-a200-6b834c958f0d" providerId="ADAL" clId="{7F523601-0EEE-407F-B905-CDD98056F8CA}" dt="2025-09-16T18:41:49.031" v="982" actId="403"/>
          <ac:spMkLst>
            <pc:docMk/>
            <pc:sldMk cId="2724518232" sldId="2147482764"/>
            <ac:spMk id="22" creationId="{7FD913FB-99BB-0903-21C4-2DD8BAF2A065}"/>
          </ac:spMkLst>
        </pc:spChg>
        <pc:picChg chg="mod">
          <ac:chgData name="Mark Dill" userId="fe0fe673-ec6e-4d6c-a200-6b834c958f0d" providerId="ADAL" clId="{7F523601-0EEE-407F-B905-CDD98056F8CA}" dt="2025-09-18T13:39:10.873" v="1742" actId="962"/>
          <ac:picMkLst>
            <pc:docMk/>
            <pc:sldMk cId="2724518232" sldId="2147482764"/>
            <ac:picMk id="3" creationId="{2541D86C-DA87-F62F-688E-C5620F1F7503}"/>
          </ac:picMkLst>
        </pc:picChg>
      </pc:sldChg>
      <pc:sldChg chg="modSp mod">
        <pc:chgData name="Mark Dill" userId="fe0fe673-ec6e-4d6c-a200-6b834c958f0d" providerId="ADAL" clId="{7F523601-0EEE-407F-B905-CDD98056F8CA}" dt="2025-09-19T17:17:32.158" v="2105" actId="403"/>
        <pc:sldMkLst>
          <pc:docMk/>
          <pc:sldMk cId="275965967" sldId="2147482765"/>
        </pc:sldMkLst>
        <pc:spChg chg="mod">
          <ac:chgData name="Mark Dill" userId="fe0fe673-ec6e-4d6c-a200-6b834c958f0d" providerId="ADAL" clId="{7F523601-0EEE-407F-B905-CDD98056F8CA}" dt="2025-09-19T17:17:32.158" v="2105" actId="403"/>
          <ac:spMkLst>
            <pc:docMk/>
            <pc:sldMk cId="275965967" sldId="2147482765"/>
            <ac:spMk id="7" creationId="{FF86B12F-A35E-7ADC-0338-FDF770D801BA}"/>
          </ac:spMkLst>
        </pc:spChg>
        <pc:spChg chg="mod">
          <ac:chgData name="Mark Dill" userId="fe0fe673-ec6e-4d6c-a200-6b834c958f0d" providerId="ADAL" clId="{7F523601-0EEE-407F-B905-CDD98056F8CA}" dt="2025-09-19T17:12:23.647" v="2071" actId="20577"/>
          <ac:spMkLst>
            <pc:docMk/>
            <pc:sldMk cId="275965967" sldId="2147482765"/>
            <ac:spMk id="8" creationId="{685B35E9-5002-7972-7AB3-A227FD3C5264}"/>
          </ac:spMkLst>
        </pc:spChg>
        <pc:spChg chg="mod">
          <ac:chgData name="Mark Dill" userId="fe0fe673-ec6e-4d6c-a200-6b834c958f0d" providerId="ADAL" clId="{7F523601-0EEE-407F-B905-CDD98056F8CA}" dt="2025-09-16T18:41:43.386" v="981" actId="404"/>
          <ac:spMkLst>
            <pc:docMk/>
            <pc:sldMk cId="275965967" sldId="2147482765"/>
            <ac:spMk id="10" creationId="{A6B13090-8EF8-A3C8-D118-401F033ADC64}"/>
          </ac:spMkLst>
        </pc:spChg>
        <pc:picChg chg="mod">
          <ac:chgData name="Mark Dill" userId="fe0fe673-ec6e-4d6c-a200-6b834c958f0d" providerId="ADAL" clId="{7F523601-0EEE-407F-B905-CDD98056F8CA}" dt="2025-09-18T13:39:36.757" v="1966" actId="962"/>
          <ac:picMkLst>
            <pc:docMk/>
            <pc:sldMk cId="275965967" sldId="2147482765"/>
            <ac:picMk id="1026" creationId="{BC242293-2B3A-FE0B-F196-6CC6E0EB3F21}"/>
          </ac:picMkLst>
        </pc:picChg>
      </pc:sldChg>
      <pc:sldChg chg="del">
        <pc:chgData name="Mark Dill" userId="fe0fe673-ec6e-4d6c-a200-6b834c958f0d" providerId="ADAL" clId="{7F523601-0EEE-407F-B905-CDD98056F8CA}" dt="2025-09-16T18:11:59.099" v="446" actId="47"/>
        <pc:sldMkLst>
          <pc:docMk/>
          <pc:sldMk cId="4177601822" sldId="2147482766"/>
        </pc:sldMkLst>
      </pc:sldChg>
      <pc:sldChg chg="del ord">
        <pc:chgData name="Mark Dill" userId="fe0fe673-ec6e-4d6c-a200-6b834c958f0d" providerId="ADAL" clId="{7F523601-0EEE-407F-B905-CDD98056F8CA}" dt="2025-09-19T13:45:08.380" v="1983" actId="47"/>
        <pc:sldMkLst>
          <pc:docMk/>
          <pc:sldMk cId="648247175" sldId="2147482927"/>
        </pc:sldMkLst>
      </pc:sldChg>
      <pc:sldChg chg="add del">
        <pc:chgData name="Mark Dill" userId="fe0fe673-ec6e-4d6c-a200-6b834c958f0d" providerId="ADAL" clId="{7F523601-0EEE-407F-B905-CDD98056F8CA}" dt="2025-09-16T18:15:05.891" v="501" actId="47"/>
        <pc:sldMkLst>
          <pc:docMk/>
          <pc:sldMk cId="3239647744" sldId="2147482928"/>
        </pc:sldMkLst>
      </pc:sldChg>
      <pc:sldChg chg="addSp delSp modSp add mod ord">
        <pc:chgData name="Mark Dill" userId="fe0fe673-ec6e-4d6c-a200-6b834c958f0d" providerId="ADAL" clId="{7F523601-0EEE-407F-B905-CDD98056F8CA}" dt="2025-09-19T13:46:09.084" v="1989" actId="1076"/>
        <pc:sldMkLst>
          <pc:docMk/>
          <pc:sldMk cId="254353825" sldId="2147482929"/>
        </pc:sldMkLst>
        <pc:spChg chg="add mod">
          <ac:chgData name="Mark Dill" userId="fe0fe673-ec6e-4d6c-a200-6b834c958f0d" providerId="ADAL" clId="{7F523601-0EEE-407F-B905-CDD98056F8CA}" dt="2025-09-16T18:41:03.672" v="973" actId="1076"/>
          <ac:spMkLst>
            <pc:docMk/>
            <pc:sldMk cId="254353825" sldId="2147482929"/>
            <ac:spMk id="2" creationId="{40B1CF85-7972-5B47-4E5A-007A280D37FC}"/>
          </ac:spMkLst>
        </pc:spChg>
        <pc:spChg chg="add mod">
          <ac:chgData name="Mark Dill" userId="fe0fe673-ec6e-4d6c-a200-6b834c958f0d" providerId="ADAL" clId="{7F523601-0EEE-407F-B905-CDD98056F8CA}" dt="2025-09-16T18:43:15.539" v="1001" actId="1076"/>
          <ac:spMkLst>
            <pc:docMk/>
            <pc:sldMk cId="254353825" sldId="2147482929"/>
            <ac:spMk id="17" creationId="{06FD1773-F849-7578-E69B-C48E768BCB93}"/>
          </ac:spMkLst>
        </pc:spChg>
        <pc:spChg chg="add mod">
          <ac:chgData name="Mark Dill" userId="fe0fe673-ec6e-4d6c-a200-6b834c958f0d" providerId="ADAL" clId="{7F523601-0EEE-407F-B905-CDD98056F8CA}" dt="2025-09-19T13:45:46.999" v="1987" actId="1076"/>
          <ac:spMkLst>
            <pc:docMk/>
            <pc:sldMk cId="254353825" sldId="2147482929"/>
            <ac:spMk id="46" creationId="{E2B94E85-8EFE-1140-2810-8CB8E1C49EB3}"/>
          </ac:spMkLst>
        </pc:spChg>
        <pc:spChg chg="add mod">
          <ac:chgData name="Mark Dill" userId="fe0fe673-ec6e-4d6c-a200-6b834c958f0d" providerId="ADAL" clId="{7F523601-0EEE-407F-B905-CDD98056F8CA}" dt="2025-09-19T13:45:46.999" v="1987" actId="1076"/>
          <ac:spMkLst>
            <pc:docMk/>
            <pc:sldMk cId="254353825" sldId="2147482929"/>
            <ac:spMk id="53" creationId="{74AF8A43-B5B9-4D18-8F80-3AE101F434AE}"/>
          </ac:spMkLst>
        </pc:spChg>
        <pc:spChg chg="add mod">
          <ac:chgData name="Mark Dill" userId="fe0fe673-ec6e-4d6c-a200-6b834c958f0d" providerId="ADAL" clId="{7F523601-0EEE-407F-B905-CDD98056F8CA}" dt="2025-09-19T13:45:46.999" v="1987" actId="1076"/>
          <ac:spMkLst>
            <pc:docMk/>
            <pc:sldMk cId="254353825" sldId="2147482929"/>
            <ac:spMk id="54" creationId="{F5D9D306-C966-EDCD-9C1B-7496F024A528}"/>
          </ac:spMkLst>
        </pc:spChg>
        <pc:spChg chg="add mod">
          <ac:chgData name="Mark Dill" userId="fe0fe673-ec6e-4d6c-a200-6b834c958f0d" providerId="ADAL" clId="{7F523601-0EEE-407F-B905-CDD98056F8CA}" dt="2025-09-19T13:45:46.999" v="1987" actId="1076"/>
          <ac:spMkLst>
            <pc:docMk/>
            <pc:sldMk cId="254353825" sldId="2147482929"/>
            <ac:spMk id="55" creationId="{BD9A8EAB-0520-C2E2-F044-CC05396AB8BF}"/>
          </ac:spMkLst>
        </pc:spChg>
        <pc:spChg chg="add mod">
          <ac:chgData name="Mark Dill" userId="fe0fe673-ec6e-4d6c-a200-6b834c958f0d" providerId="ADAL" clId="{7F523601-0EEE-407F-B905-CDD98056F8CA}" dt="2025-09-19T13:45:27.523" v="1986" actId="113"/>
          <ac:spMkLst>
            <pc:docMk/>
            <pc:sldMk cId="254353825" sldId="2147482929"/>
            <ac:spMk id="56" creationId="{E72331C1-2143-0333-25F4-B150BEDB95D7}"/>
          </ac:spMkLst>
        </pc:spChg>
        <pc:picChg chg="add mod">
          <ac:chgData name="Mark Dill" userId="fe0fe673-ec6e-4d6c-a200-6b834c958f0d" providerId="ADAL" clId="{7F523601-0EEE-407F-B905-CDD98056F8CA}" dt="2025-09-19T13:45:57.007" v="1988" actId="1076"/>
          <ac:picMkLst>
            <pc:docMk/>
            <pc:sldMk cId="254353825" sldId="2147482929"/>
            <ac:picMk id="48" creationId="{FAE40A65-D005-BB3F-458A-F58CA16F4E3C}"/>
          </ac:picMkLst>
        </pc:picChg>
        <pc:picChg chg="add mod">
          <ac:chgData name="Mark Dill" userId="fe0fe673-ec6e-4d6c-a200-6b834c958f0d" providerId="ADAL" clId="{7F523601-0EEE-407F-B905-CDD98056F8CA}" dt="2025-09-19T13:46:09.084" v="1989" actId="1076"/>
          <ac:picMkLst>
            <pc:docMk/>
            <pc:sldMk cId="254353825" sldId="2147482929"/>
            <ac:picMk id="49" creationId="{7071935D-427E-DC7B-96D8-7EB8A96B1844}"/>
          </ac:picMkLst>
        </pc:picChg>
        <pc:picChg chg="add mod">
          <ac:chgData name="Mark Dill" userId="fe0fe673-ec6e-4d6c-a200-6b834c958f0d" providerId="ADAL" clId="{7F523601-0EEE-407F-B905-CDD98056F8CA}" dt="2025-09-19T13:45:46.999" v="1987" actId="1076"/>
          <ac:picMkLst>
            <pc:docMk/>
            <pc:sldMk cId="254353825" sldId="2147482929"/>
            <ac:picMk id="50" creationId="{485F8702-E199-7507-7127-35D110D481C5}"/>
          </ac:picMkLst>
        </pc:picChg>
        <pc:picChg chg="add mod">
          <ac:chgData name="Mark Dill" userId="fe0fe673-ec6e-4d6c-a200-6b834c958f0d" providerId="ADAL" clId="{7F523601-0EEE-407F-B905-CDD98056F8CA}" dt="2025-09-19T13:45:46.999" v="1987" actId="1076"/>
          <ac:picMkLst>
            <pc:docMk/>
            <pc:sldMk cId="254353825" sldId="2147482929"/>
            <ac:picMk id="51" creationId="{972EC491-F19B-52E1-4403-D96366E6C130}"/>
          </ac:picMkLst>
        </pc:picChg>
      </pc:sldChg>
      <pc:sldChg chg="addSp delSp modSp add mod">
        <pc:chgData name="Mark Dill" userId="fe0fe673-ec6e-4d6c-a200-6b834c958f0d" providerId="ADAL" clId="{7F523601-0EEE-407F-B905-CDD98056F8CA}" dt="2025-09-16T18:45:08.613" v="1032" actId="1076"/>
        <pc:sldMkLst>
          <pc:docMk/>
          <pc:sldMk cId="521631407" sldId="2147482930"/>
        </pc:sldMkLst>
        <pc:spChg chg="add mod">
          <ac:chgData name="Mark Dill" userId="fe0fe673-ec6e-4d6c-a200-6b834c958f0d" providerId="ADAL" clId="{7F523601-0EEE-407F-B905-CDD98056F8CA}" dt="2025-09-16T18:44:49.713" v="1026" actId="1076"/>
          <ac:spMkLst>
            <pc:docMk/>
            <pc:sldMk cId="521631407" sldId="2147482930"/>
            <ac:spMk id="3" creationId="{26648B81-AFBB-EE2F-070E-4BF58DCC1F99}"/>
          </ac:spMkLst>
        </pc:spChg>
        <pc:spChg chg="mod">
          <ac:chgData name="Mark Dill" userId="fe0fe673-ec6e-4d6c-a200-6b834c958f0d" providerId="ADAL" clId="{7F523601-0EEE-407F-B905-CDD98056F8CA}" dt="2025-09-16T18:19:48.556" v="543" actId="207"/>
          <ac:spMkLst>
            <pc:docMk/>
            <pc:sldMk cId="521631407" sldId="2147482930"/>
            <ac:spMk id="4" creationId="{55B9A2B0-4F7E-6F0C-6CD3-062A76DA1DF7}"/>
          </ac:spMkLst>
        </pc:spChg>
        <pc:spChg chg="add mod">
          <ac:chgData name="Mark Dill" userId="fe0fe673-ec6e-4d6c-a200-6b834c958f0d" providerId="ADAL" clId="{7F523601-0EEE-407F-B905-CDD98056F8CA}" dt="2025-09-16T18:44:55.375" v="1028" actId="1076"/>
          <ac:spMkLst>
            <pc:docMk/>
            <pc:sldMk cId="521631407" sldId="2147482930"/>
            <ac:spMk id="6" creationId="{BB99768D-0D94-CE5C-3F02-616DAA9C3F8A}"/>
          </ac:spMkLst>
        </pc:spChg>
        <pc:spChg chg="add mod">
          <ac:chgData name="Mark Dill" userId="fe0fe673-ec6e-4d6c-a200-6b834c958f0d" providerId="ADAL" clId="{7F523601-0EEE-407F-B905-CDD98056F8CA}" dt="2025-09-16T18:44:59.843" v="1029" actId="1076"/>
          <ac:spMkLst>
            <pc:docMk/>
            <pc:sldMk cId="521631407" sldId="2147482930"/>
            <ac:spMk id="7" creationId="{4B4A41BB-3FF5-8026-09C9-9744CE7BB0ED}"/>
          </ac:spMkLst>
        </pc:spChg>
        <pc:spChg chg="add mod">
          <ac:chgData name="Mark Dill" userId="fe0fe673-ec6e-4d6c-a200-6b834c958f0d" providerId="ADAL" clId="{7F523601-0EEE-407F-B905-CDD98056F8CA}" dt="2025-09-16T18:44:14.682" v="1013" actId="1076"/>
          <ac:spMkLst>
            <pc:docMk/>
            <pc:sldMk cId="521631407" sldId="2147482930"/>
            <ac:spMk id="8" creationId="{4939F9D3-2DB7-18AA-A4EA-2F66078222E7}"/>
          </ac:spMkLst>
        </pc:spChg>
        <pc:spChg chg="mod">
          <ac:chgData name="Mark Dill" userId="fe0fe673-ec6e-4d6c-a200-6b834c958f0d" providerId="ADAL" clId="{7F523601-0EEE-407F-B905-CDD98056F8CA}" dt="2025-09-16T18:44:10.386" v="1012" actId="1076"/>
          <ac:spMkLst>
            <pc:docMk/>
            <pc:sldMk cId="521631407" sldId="2147482930"/>
            <ac:spMk id="12" creationId="{2EB69D96-93D7-83BA-94CB-E9D7DA4E64A3}"/>
          </ac:spMkLst>
        </pc:spChg>
        <pc:picChg chg="add mod">
          <ac:chgData name="Mark Dill" userId="fe0fe673-ec6e-4d6c-a200-6b834c958f0d" providerId="ADAL" clId="{7F523601-0EEE-407F-B905-CDD98056F8CA}" dt="2025-09-16T18:45:02.272" v="1030" actId="1076"/>
          <ac:picMkLst>
            <pc:docMk/>
            <pc:sldMk cId="521631407" sldId="2147482930"/>
            <ac:picMk id="10" creationId="{96AF935C-750C-CE0D-0250-64562A341793}"/>
          </ac:picMkLst>
        </pc:picChg>
        <pc:picChg chg="add mod">
          <ac:chgData name="Mark Dill" userId="fe0fe673-ec6e-4d6c-a200-6b834c958f0d" providerId="ADAL" clId="{7F523601-0EEE-407F-B905-CDD98056F8CA}" dt="2025-09-16T18:45:05.273" v="1031" actId="1076"/>
          <ac:picMkLst>
            <pc:docMk/>
            <pc:sldMk cId="521631407" sldId="2147482930"/>
            <ac:picMk id="16" creationId="{7DB448E4-507B-9ACB-09FA-C9DF919EE189}"/>
          </ac:picMkLst>
        </pc:picChg>
        <pc:picChg chg="add mod">
          <ac:chgData name="Mark Dill" userId="fe0fe673-ec6e-4d6c-a200-6b834c958f0d" providerId="ADAL" clId="{7F523601-0EEE-407F-B905-CDD98056F8CA}" dt="2025-09-16T18:45:08.613" v="1032" actId="1076"/>
          <ac:picMkLst>
            <pc:docMk/>
            <pc:sldMk cId="521631407" sldId="2147482930"/>
            <ac:picMk id="37" creationId="{A70B7B3D-BB99-5E21-972B-55ACD7888655}"/>
          </ac:picMkLst>
        </pc:picChg>
      </pc:sldChg>
      <pc:sldChg chg="addSp delSp modSp add mod modClrScheme chgLayout">
        <pc:chgData name="Mark Dill" userId="fe0fe673-ec6e-4d6c-a200-6b834c958f0d" providerId="ADAL" clId="{7F523601-0EEE-407F-B905-CDD98056F8CA}" dt="2025-09-19T17:08:47.240" v="2020" actId="20577"/>
        <pc:sldMkLst>
          <pc:docMk/>
          <pc:sldMk cId="2135652758" sldId="2147482931"/>
        </pc:sldMkLst>
        <pc:spChg chg="mod ord">
          <ac:chgData name="Mark Dill" userId="fe0fe673-ec6e-4d6c-a200-6b834c958f0d" providerId="ADAL" clId="{7F523601-0EEE-407F-B905-CDD98056F8CA}" dt="2025-09-19T17:08:47.240" v="2020" actId="20577"/>
          <ac:spMkLst>
            <pc:docMk/>
            <pc:sldMk cId="2135652758" sldId="2147482931"/>
            <ac:spMk id="3" creationId="{198BD0E1-511D-02D0-8D26-761C65E938BE}"/>
          </ac:spMkLst>
        </pc:spChg>
        <pc:spChg chg="add del mod ord">
          <ac:chgData name="Mark Dill" userId="fe0fe673-ec6e-4d6c-a200-6b834c958f0d" providerId="ADAL" clId="{7F523601-0EEE-407F-B905-CDD98056F8CA}" dt="2025-09-18T13:25:50.880" v="1142" actId="700"/>
          <ac:spMkLst>
            <pc:docMk/>
            <pc:sldMk cId="2135652758" sldId="2147482931"/>
            <ac:spMk id="4" creationId="{46A0507D-A154-A75D-C37F-902DD7F3E781}"/>
          </ac:spMkLst>
        </pc:spChg>
        <pc:spChg chg="add del mod ord">
          <ac:chgData name="Mark Dill" userId="fe0fe673-ec6e-4d6c-a200-6b834c958f0d" providerId="ADAL" clId="{7F523601-0EEE-407F-B905-CDD98056F8CA}" dt="2025-09-18T13:25:50.880" v="1142" actId="700"/>
          <ac:spMkLst>
            <pc:docMk/>
            <pc:sldMk cId="2135652758" sldId="2147482931"/>
            <ac:spMk id="5" creationId="{ACCAB5AA-66A8-7795-ECA3-5D77046DEB56}"/>
          </ac:spMkLst>
        </pc:spChg>
        <pc:spChg chg="add del mod ord">
          <ac:chgData name="Mark Dill" userId="fe0fe673-ec6e-4d6c-a200-6b834c958f0d" providerId="ADAL" clId="{7F523601-0EEE-407F-B905-CDD98056F8CA}" dt="2025-09-18T13:25:50.880" v="1142" actId="700"/>
          <ac:spMkLst>
            <pc:docMk/>
            <pc:sldMk cId="2135652758" sldId="2147482931"/>
            <ac:spMk id="6" creationId="{CCD2E80C-7A8D-164F-22ED-43A4ACD6ACAE}"/>
          </ac:spMkLst>
        </pc:spChg>
        <pc:spChg chg="add del mod ord">
          <ac:chgData name="Mark Dill" userId="fe0fe673-ec6e-4d6c-a200-6b834c958f0d" providerId="ADAL" clId="{7F523601-0EEE-407F-B905-CDD98056F8CA}" dt="2025-09-18T13:25:50.880" v="1142" actId="700"/>
          <ac:spMkLst>
            <pc:docMk/>
            <pc:sldMk cId="2135652758" sldId="2147482931"/>
            <ac:spMk id="7" creationId="{6539DCFF-3882-8F5B-D915-ADEB56621D9F}"/>
          </ac:spMkLst>
        </pc:spChg>
        <pc:picChg chg="add del">
          <ac:chgData name="Mark Dill" userId="fe0fe673-ec6e-4d6c-a200-6b834c958f0d" providerId="ADAL" clId="{7F523601-0EEE-407F-B905-CDD98056F8CA}" dt="2025-09-18T13:28:16.269" v="1154" actId="478"/>
          <ac:picMkLst>
            <pc:docMk/>
            <pc:sldMk cId="2135652758" sldId="2147482931"/>
            <ac:picMk id="2" creationId="{284AF004-351C-E75D-F576-0F52DE5A87A4}"/>
          </ac:picMkLst>
        </pc:picChg>
      </pc:sldChg>
      <pc:sldMasterChg chg="delSldLayout">
        <pc:chgData name="Mark Dill" userId="fe0fe673-ec6e-4d6c-a200-6b834c958f0d" providerId="ADAL" clId="{7F523601-0EEE-407F-B905-CDD98056F8CA}" dt="2025-09-16T18:15:05.891" v="501" actId="47"/>
        <pc:sldMasterMkLst>
          <pc:docMk/>
          <pc:sldMasterMk cId="0" sldId="2147483648"/>
        </pc:sldMasterMkLst>
        <pc:sldLayoutChg chg="del">
          <pc:chgData name="Mark Dill" userId="fe0fe673-ec6e-4d6c-a200-6b834c958f0d" providerId="ADAL" clId="{7F523601-0EEE-407F-B905-CDD98056F8CA}" dt="2025-09-16T18:15:05.891" v="501" actId="47"/>
          <pc:sldLayoutMkLst>
            <pc:docMk/>
            <pc:sldMasterMk cId="0" sldId="2147483648"/>
            <pc:sldLayoutMk cId="3120965412" sldId="2147483838"/>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5283200" cy="3444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6905625" y="0"/>
            <a:ext cx="5283200" cy="344488"/>
          </a:xfrm>
          <a:prstGeom prst="rect">
            <a:avLst/>
          </a:prstGeom>
        </p:spPr>
        <p:txBody>
          <a:bodyPr vert="horz" lIns="91440" tIns="45720" rIns="91440" bIns="45720" rtlCol="0"/>
          <a:lstStyle>
            <a:lvl1pPr algn="r">
              <a:defRPr sz="1200"/>
            </a:lvl1pPr>
          </a:lstStyle>
          <a:p>
            <a:fld id="{9C19C73B-193E-4F32-AAD3-66B5D6C2F3FF}" type="datetimeFigureOut">
              <a:rPr lang="en-US" smtClean="0"/>
              <a:t>9/18/2025</a:t>
            </a:fld>
            <a:endParaRPr lang="en-US"/>
          </a:p>
        </p:txBody>
      </p:sp>
      <p:sp>
        <p:nvSpPr>
          <p:cNvPr id="4" name="Slide Image Placeholder 3"/>
          <p:cNvSpPr>
            <a:spLocks noGrp="1" noRot="1" noChangeAspect="1"/>
          </p:cNvSpPr>
          <p:nvPr>
            <p:ph type="sldImg" idx="2"/>
          </p:nvPr>
        </p:nvSpPr>
        <p:spPr>
          <a:xfrm>
            <a:off x="4038600" y="857250"/>
            <a:ext cx="4114800" cy="23145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1219200" y="3300413"/>
            <a:ext cx="9753600" cy="270033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513513"/>
            <a:ext cx="5283200" cy="3444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6905625" y="6513513"/>
            <a:ext cx="5283200" cy="344487"/>
          </a:xfrm>
          <a:prstGeom prst="rect">
            <a:avLst/>
          </a:prstGeom>
        </p:spPr>
        <p:txBody>
          <a:bodyPr vert="horz" lIns="91440" tIns="45720" rIns="91440" bIns="45720" rtlCol="0" anchor="b"/>
          <a:lstStyle>
            <a:lvl1pPr algn="r">
              <a:defRPr sz="1200"/>
            </a:lvl1pPr>
          </a:lstStyle>
          <a:p>
            <a:fld id="{9373BACB-9ACB-483F-82DC-5085F250661F}" type="slidenum">
              <a:rPr lang="en-US" smtClean="0"/>
              <a:t>‹#›</a:t>
            </a:fld>
            <a:endParaRPr lang="en-US"/>
          </a:p>
        </p:txBody>
      </p:sp>
    </p:spTree>
    <p:extLst>
      <p:ext uri="{BB962C8B-B14F-4D97-AF65-F5344CB8AC3E}">
        <p14:creationId xmlns:p14="http://schemas.microsoft.com/office/powerpoint/2010/main" val="20637720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62A9C7-AF8E-4C09-BB00-1E1EA1EE349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84936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A1BF63-9209-5F49-9ABE-FF662C22D37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565419D-3EDB-77B5-1A02-C88A7D0A7A4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B4C37F8-3750-BB12-49FB-D19B90D64EC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B93EF46-814E-E820-989A-DC59F57BCB9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62A9C7-AF8E-4C09-BB00-1E1EA1EE349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94413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2.jpg"/><Relationship Id="rId1" Type="http://schemas.openxmlformats.org/officeDocument/2006/relationships/slideMaster" Target="../slideMasters/slideMaster4.xml"/><Relationship Id="rId4" Type="http://schemas.openxmlformats.org/officeDocument/2006/relationships/image" Target="../media/image22.svg"/></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2.jpg"/><Relationship Id="rId1" Type="http://schemas.openxmlformats.org/officeDocument/2006/relationships/slideMaster" Target="../slideMasters/slideMaster5.xml"/><Relationship Id="rId4" Type="http://schemas.openxmlformats.org/officeDocument/2006/relationships/image" Target="../media/image26.svg"/></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2.xml"/><Relationship Id="rId4" Type="http://schemas.openxmlformats.org/officeDocument/2006/relationships/image" Target="../media/image14.sv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15.emf"/><Relationship Id="rId4" Type="http://schemas.openxmlformats.org/officeDocument/2006/relationships/oleObject" Target="../embeddings/oleObject2.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5" Type="http://schemas.openxmlformats.org/officeDocument/2006/relationships/hyperlink" Target="http://clarivate.com/" TargetMode="External"/><Relationship Id="rId4" Type="http://schemas.openxmlformats.org/officeDocument/2006/relationships/image" Target="../media/image5.svg"/></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3.xml"/><Relationship Id="rId4" Type="http://schemas.openxmlformats.org/officeDocument/2006/relationships/image" Target="../media/image14.sv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15.emf"/><Relationship Id="rId4" Type="http://schemas.openxmlformats.org/officeDocument/2006/relationships/oleObject" Target="../embeddings/oleObject2.bin"/></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sz="2400" b="1" i="0">
                <a:solidFill>
                  <a:srgbClr val="5E33BE"/>
                </a:solidFill>
                <a:latin typeface="Calibri"/>
                <a:cs typeface="Calibri"/>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sz="1800" b="1" i="0">
                <a:solidFill>
                  <a:schemeClr val="tx1"/>
                </a:solidFill>
                <a:latin typeface="Calibri"/>
                <a:cs typeface="Calibri"/>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18/2025</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x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10692574"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10692574"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5076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5" name="Text Placeholder 12">
            <a:extLst>
              <a:ext uri="{FF2B5EF4-FFF2-40B4-BE49-F238E27FC236}">
                <a16:creationId xmlns:a16="http://schemas.microsoft.com/office/drawing/2014/main" id="{5B8B4328-59C1-D6A0-2D23-526CB791C2DF}"/>
              </a:ext>
            </a:extLst>
          </p:cNvPr>
          <p:cNvSpPr>
            <a:spLocks noGrp="1"/>
          </p:cNvSpPr>
          <p:nvPr>
            <p:ph type="body" sz="quarter" idx="15"/>
          </p:nvPr>
        </p:nvSpPr>
        <p:spPr>
          <a:xfrm>
            <a:off x="6167438" y="1808163"/>
            <a:ext cx="5076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4966912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50:50 Text / Big Sta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92AC438-4963-3E86-AF1D-907809837B46}"/>
              </a:ext>
              <a:ext uri="{C183D7F6-B498-43B3-948B-1728B52AA6E4}">
                <adec:decorative xmlns:adec="http://schemas.microsoft.com/office/drawing/2017/decorative" val="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096000" y="2861"/>
            <a:ext cx="6096000" cy="6852277"/>
          </a:xfrm>
          <a:prstGeom prst="rect">
            <a:avLst/>
          </a:prstGeom>
        </p:spPr>
      </p:pic>
      <p:sp>
        <p:nvSpPr>
          <p:cNvPr id="7" name="Title 1">
            <a:extLst>
              <a:ext uri="{FF2B5EF4-FFF2-40B4-BE49-F238E27FC236}">
                <a16:creationId xmlns:a16="http://schemas.microsoft.com/office/drawing/2014/main" id="{7DE71408-1F6A-1900-3166-8B0F27B91CF7}"/>
              </a:ext>
            </a:extLst>
          </p:cNvPr>
          <p:cNvSpPr>
            <a:spLocks noGrp="1"/>
          </p:cNvSpPr>
          <p:nvPr>
            <p:ph type="title" hasCustomPrompt="1"/>
          </p:nvPr>
        </p:nvSpPr>
        <p:spPr>
          <a:xfrm>
            <a:off x="550865" y="368828"/>
            <a:ext cx="5075998" cy="251885"/>
          </a:xfrm>
        </p:spPr>
        <p:txBody>
          <a:bodyPr/>
          <a:lstStyle>
            <a:lvl1pPr>
              <a:defRPr/>
            </a:lvl1pPr>
          </a:lstStyle>
          <a:p>
            <a:r>
              <a:rPr lang="en-US"/>
              <a:t>Header avenir demi 24pt</a:t>
            </a:r>
            <a:endParaRPr lang="en-GB"/>
          </a:p>
        </p:txBody>
      </p:sp>
      <p:sp>
        <p:nvSpPr>
          <p:cNvPr id="10" name="Text Placeholder 9">
            <a:extLst>
              <a:ext uri="{FF2B5EF4-FFF2-40B4-BE49-F238E27FC236}">
                <a16:creationId xmlns:a16="http://schemas.microsoft.com/office/drawing/2014/main" id="{E040A9B4-F93C-AB35-66CE-1690CFBC2581}"/>
              </a:ext>
            </a:extLst>
          </p:cNvPr>
          <p:cNvSpPr>
            <a:spLocks noGrp="1"/>
          </p:cNvSpPr>
          <p:nvPr>
            <p:ph type="body" sz="quarter" idx="13" hasCustomPrompt="1"/>
          </p:nvPr>
        </p:nvSpPr>
        <p:spPr>
          <a:xfrm>
            <a:off x="550865" y="753852"/>
            <a:ext cx="5075998"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03BC752C-CC9E-C49E-83BC-B6B704830335}"/>
              </a:ext>
            </a:extLst>
          </p:cNvPr>
          <p:cNvSpPr>
            <a:spLocks noGrp="1"/>
          </p:cNvSpPr>
          <p:nvPr>
            <p:ph type="body" sz="quarter" idx="14"/>
          </p:nvPr>
        </p:nvSpPr>
        <p:spPr>
          <a:xfrm>
            <a:off x="550862" y="1808163"/>
            <a:ext cx="5076000" cy="4321175"/>
          </a:xfrm>
        </p:spPr>
        <p:txBody>
          <a:bodyPr/>
          <a:lstStyle/>
          <a:p>
            <a:pPr lvl="0"/>
            <a:r>
              <a:rPr lang="en-US"/>
              <a:t>Click to edit Master text styles</a:t>
            </a:r>
          </a:p>
          <a:p>
            <a:pPr lvl="1"/>
            <a:r>
              <a:rPr lang="en-US"/>
              <a:t>Second level</a:t>
            </a:r>
          </a:p>
          <a:p>
            <a:pPr lvl="2"/>
            <a:r>
              <a:rPr lang="en-US"/>
              <a:t>Third level</a:t>
            </a:r>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6959600" y="2168525"/>
            <a:ext cx="4679821" cy="1620837"/>
          </a:xfrm>
        </p:spPr>
        <p:txBody>
          <a:bodyPr anchor="b" anchorCtr="0"/>
          <a:lstStyle>
            <a:lvl1pPr marL="0" indent="0" algn="ctr">
              <a:buNone/>
              <a:defRPr lang="en-US" sz="12000" kern="1200" spc="-300" baseline="0" dirty="0">
                <a:solidFill>
                  <a:schemeClr val="accent1"/>
                </a:solidFill>
                <a:latin typeface="+mn-lt"/>
                <a:ea typeface="+mn-ea"/>
                <a:cs typeface="+mn-cs"/>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marL="0" lvl="0" indent="0" algn="ctr" defTabSz="914400" rtl="0" eaLnBrk="1" latinLnBrk="0" hangingPunct="1">
              <a:lnSpc>
                <a:spcPct val="100000"/>
              </a:lnSpc>
              <a:spcBef>
                <a:spcPts val="900"/>
              </a:spcBef>
              <a:buFont typeface="Arial" panose="020B0604020202020204" pitchFamily="34" charset="0"/>
              <a:buNone/>
            </a:pPr>
            <a:r>
              <a:rPr lang="en-US"/>
              <a:t>0%</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6959600" y="3608388"/>
            <a:ext cx="4679821"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Tree>
    <p:extLst>
      <p:ext uri="{BB962C8B-B14F-4D97-AF65-F5344CB8AC3E}">
        <p14:creationId xmlns:p14="http://schemas.microsoft.com/office/powerpoint/2010/main" val="231004247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ext / Big Sta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3AC6818-4D80-7C27-6F3D-8D1DFA9EF1C8}"/>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040689" y="1"/>
            <a:ext cx="4151312" cy="6858000"/>
          </a:xfrm>
          <a:prstGeom prst="rect">
            <a:avLst/>
          </a:prstGeom>
        </p:spPr>
      </p:pic>
      <p:sp>
        <p:nvSpPr>
          <p:cNvPr id="11" name="Title 1">
            <a:extLst>
              <a:ext uri="{FF2B5EF4-FFF2-40B4-BE49-F238E27FC236}">
                <a16:creationId xmlns:a16="http://schemas.microsoft.com/office/drawing/2014/main" id="{5F4A0393-5E31-B1D7-44B4-0AE64D41191E}"/>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12" name="Text Placeholder 9">
            <a:extLst>
              <a:ext uri="{FF2B5EF4-FFF2-40B4-BE49-F238E27FC236}">
                <a16:creationId xmlns:a16="http://schemas.microsoft.com/office/drawing/2014/main" id="{3EF12EEA-B717-A2D4-DD8A-8AD5480E07F4}"/>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2" name="Text Placeholder 12">
            <a:extLst>
              <a:ext uri="{FF2B5EF4-FFF2-40B4-BE49-F238E27FC236}">
                <a16:creationId xmlns:a16="http://schemas.microsoft.com/office/drawing/2014/main" id="{2C9B01AB-F676-3FF4-AEAE-E94065157406}"/>
              </a:ext>
            </a:extLst>
          </p:cNvPr>
          <p:cNvSpPr>
            <a:spLocks noGrp="1"/>
          </p:cNvSpPr>
          <p:nvPr>
            <p:ph type="body" sz="quarter" idx="14"/>
          </p:nvPr>
        </p:nvSpPr>
        <p:spPr>
          <a:xfrm>
            <a:off x="550861" y="1808163"/>
            <a:ext cx="6966375" cy="4321175"/>
          </a:xfrm>
        </p:spPr>
        <p:txBody>
          <a:bodyPr/>
          <a:lstStyle/>
          <a:p>
            <a:pPr lvl="0"/>
            <a:r>
              <a:rPr lang="en-US"/>
              <a:t>Click to edit Master text styles</a:t>
            </a:r>
          </a:p>
          <a:p>
            <a:pPr lvl="1"/>
            <a:r>
              <a:rPr lang="en-US"/>
              <a:t>Second level</a:t>
            </a:r>
          </a:p>
          <a:p>
            <a:pPr lvl="2"/>
            <a:r>
              <a:rPr lang="en-US"/>
              <a:t>Third level</a:t>
            </a:r>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2168525"/>
            <a:ext cx="3024000" cy="1620837"/>
          </a:xfrm>
        </p:spPr>
        <p:txBody>
          <a:bodyPr anchor="b" anchorCtr="0"/>
          <a:lstStyle>
            <a:lvl1pPr marL="0" indent="0" algn="ctr">
              <a:buNone/>
              <a:defRPr sz="12000" spc="-300" baseline="0">
                <a:solidFill>
                  <a:schemeClr val="accent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0%</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3608388"/>
            <a:ext cx="3024000"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Tree>
    <p:extLst>
      <p:ext uri="{BB962C8B-B14F-4D97-AF65-F5344CB8AC3E}">
        <p14:creationId xmlns:p14="http://schemas.microsoft.com/office/powerpoint/2010/main" val="370273460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x Columns / Big Sta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3AC6818-4D80-7C27-6F3D-8D1DFA9EF1C8}"/>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040689" y="1"/>
            <a:ext cx="4151312" cy="6858000"/>
          </a:xfrm>
          <a:prstGeom prst="rect">
            <a:avLst/>
          </a:prstGeom>
        </p:spPr>
      </p:pic>
      <p:sp>
        <p:nvSpPr>
          <p:cNvPr id="11" name="Title 1">
            <a:extLst>
              <a:ext uri="{FF2B5EF4-FFF2-40B4-BE49-F238E27FC236}">
                <a16:creationId xmlns:a16="http://schemas.microsoft.com/office/drawing/2014/main" id="{5F4A0393-5E31-B1D7-44B4-0AE64D41191E}"/>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12" name="Text Placeholder 9">
            <a:extLst>
              <a:ext uri="{FF2B5EF4-FFF2-40B4-BE49-F238E27FC236}">
                <a16:creationId xmlns:a16="http://schemas.microsoft.com/office/drawing/2014/main" id="{3EF12EEA-B717-A2D4-DD8A-8AD5480E07F4}"/>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E85E9EA0-2A22-199D-48CF-03EB94ECF487}"/>
              </a:ext>
            </a:extLst>
          </p:cNvPr>
          <p:cNvSpPr>
            <a:spLocks noGrp="1"/>
          </p:cNvSpPr>
          <p:nvPr>
            <p:ph type="body" sz="quarter" idx="14"/>
          </p:nvPr>
        </p:nvSpPr>
        <p:spPr>
          <a:xfrm>
            <a:off x="550864" y="1808163"/>
            <a:ext cx="3204000" cy="4321175"/>
          </a:xfrm>
        </p:spPr>
        <p:txBody>
          <a:bodyPr/>
          <a:lstStyle/>
          <a:p>
            <a:pPr lvl="0"/>
            <a:r>
              <a:rPr lang="en-US"/>
              <a:t>Click to 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269DCDE0-20E2-91A9-6591-26711B40C6C3}"/>
              </a:ext>
            </a:extLst>
          </p:cNvPr>
          <p:cNvSpPr>
            <a:spLocks noGrp="1"/>
          </p:cNvSpPr>
          <p:nvPr>
            <p:ph type="body" sz="quarter" idx="15"/>
          </p:nvPr>
        </p:nvSpPr>
        <p:spPr>
          <a:xfrm>
            <a:off x="4295774" y="1808163"/>
            <a:ext cx="3204000" cy="4321175"/>
          </a:xfrm>
        </p:spPr>
        <p:txBody>
          <a:bodyPr/>
          <a:lstStyle/>
          <a:p>
            <a:pPr lvl="0"/>
            <a:r>
              <a:rPr lang="en-US"/>
              <a:t>Click to edit Master text styles</a:t>
            </a:r>
          </a:p>
          <a:p>
            <a:pPr lvl="1"/>
            <a:r>
              <a:rPr lang="en-US"/>
              <a:t>Second level</a:t>
            </a:r>
          </a:p>
          <a:p>
            <a:pPr lvl="2"/>
            <a:r>
              <a:rPr lang="en-US"/>
              <a:t>Third level</a:t>
            </a:r>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2168525"/>
            <a:ext cx="3024000" cy="1620837"/>
          </a:xfrm>
        </p:spPr>
        <p:txBody>
          <a:bodyPr anchor="b" anchorCtr="0"/>
          <a:lstStyle>
            <a:lvl1pPr marL="0" indent="0" algn="ctr">
              <a:buNone/>
              <a:defRPr sz="12000" spc="-300" baseline="0">
                <a:solidFill>
                  <a:schemeClr val="accent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0%</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3608388"/>
            <a:ext cx="3024000"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Tree>
    <p:extLst>
      <p:ext uri="{BB962C8B-B14F-4D97-AF65-F5344CB8AC3E}">
        <p14:creationId xmlns:p14="http://schemas.microsoft.com/office/powerpoint/2010/main" val="330148690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1 Light Image / Big Sta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1AA0871-DF4F-3D16-30B1-C25E0C64F490}"/>
              </a:ext>
              <a:ext uri="{C183D7F6-B498-43B3-948B-1728B52AA6E4}">
                <adec:decorative xmlns:adec="http://schemas.microsoft.com/office/drawing/2017/decorative" val="1"/>
              </a:ext>
            </a:extLst>
          </p:cNvPr>
          <p:cNvSpPr/>
          <p:nvPr userDrawn="1"/>
        </p:nvSpPr>
        <p:spPr>
          <a:xfrm>
            <a:off x="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Picture Placeholder 10">
            <a:extLst>
              <a:ext uri="{FF2B5EF4-FFF2-40B4-BE49-F238E27FC236}">
                <a16:creationId xmlns:a16="http://schemas.microsoft.com/office/drawing/2014/main" id="{C4F8A3DA-30FE-5FF7-E81A-BE170C9120D2}"/>
              </a:ext>
              <a:ext uri="{C183D7F6-B498-43B3-948B-1728B52AA6E4}">
                <adec:decorative xmlns:adec="http://schemas.microsoft.com/office/drawing/2017/decorative" val="1"/>
              </a:ext>
            </a:extLst>
          </p:cNvPr>
          <p:cNvSpPr>
            <a:spLocks noGrp="1"/>
          </p:cNvSpPr>
          <p:nvPr>
            <p:ph type="pic" sz="quarter" idx="20" hasCustomPrompt="1"/>
          </p:nvPr>
        </p:nvSpPr>
        <p:spPr>
          <a:xfrm>
            <a:off x="0" y="0"/>
            <a:ext cx="8040688" cy="6858000"/>
          </a:xfrm>
          <a:custGeom>
            <a:avLst/>
            <a:gdLst>
              <a:gd name="connsiteX0" fmla="*/ 1579559 w 8040688"/>
              <a:gd name="connsiteY0" fmla="*/ 6496532 h 6858000"/>
              <a:gd name="connsiteX1" fmla="*/ 1579559 w 8040688"/>
              <a:gd name="connsiteY1" fmla="*/ 6505105 h 6858000"/>
              <a:gd name="connsiteX2" fmla="*/ 1555747 w 8040688"/>
              <a:gd name="connsiteY2" fmla="*/ 6527013 h 6858000"/>
              <a:gd name="connsiteX3" fmla="*/ 1538602 w 8040688"/>
              <a:gd name="connsiteY3" fmla="*/ 6512725 h 6858000"/>
              <a:gd name="connsiteX4" fmla="*/ 1555747 w 8040688"/>
              <a:gd name="connsiteY4" fmla="*/ 6499390 h 6858000"/>
              <a:gd name="connsiteX5" fmla="*/ 1569082 w 8040688"/>
              <a:gd name="connsiteY5" fmla="*/ 6499390 h 6858000"/>
              <a:gd name="connsiteX6" fmla="*/ 1579559 w 8040688"/>
              <a:gd name="connsiteY6" fmla="*/ 6496532 h 6858000"/>
              <a:gd name="connsiteX7" fmla="*/ 1162365 w 8040688"/>
              <a:gd name="connsiteY7" fmla="*/ 6496532 h 6858000"/>
              <a:gd name="connsiteX8" fmla="*/ 1162365 w 8040688"/>
              <a:gd name="connsiteY8" fmla="*/ 6505105 h 6858000"/>
              <a:gd name="connsiteX9" fmla="*/ 1138553 w 8040688"/>
              <a:gd name="connsiteY9" fmla="*/ 6527013 h 6858000"/>
              <a:gd name="connsiteX10" fmla="*/ 1121408 w 8040688"/>
              <a:gd name="connsiteY10" fmla="*/ 6512725 h 6858000"/>
              <a:gd name="connsiteX11" fmla="*/ 1138553 w 8040688"/>
              <a:gd name="connsiteY11" fmla="*/ 6499390 h 6858000"/>
              <a:gd name="connsiteX12" fmla="*/ 1151888 w 8040688"/>
              <a:gd name="connsiteY12" fmla="*/ 6499390 h 6858000"/>
              <a:gd name="connsiteX13" fmla="*/ 1162365 w 8040688"/>
              <a:gd name="connsiteY13" fmla="*/ 6496532 h 6858000"/>
              <a:gd name="connsiteX14" fmla="*/ 736599 w 8040688"/>
              <a:gd name="connsiteY14" fmla="*/ 6455574 h 6858000"/>
              <a:gd name="connsiteX15" fmla="*/ 619442 w 8040688"/>
              <a:gd name="connsiteY15" fmla="*/ 6523203 h 6858000"/>
              <a:gd name="connsiteX16" fmla="*/ 632777 w 8040688"/>
              <a:gd name="connsiteY16" fmla="*/ 6552731 h 6858000"/>
              <a:gd name="connsiteX17" fmla="*/ 646112 w 8040688"/>
              <a:gd name="connsiteY17" fmla="*/ 6571781 h 6858000"/>
              <a:gd name="connsiteX18" fmla="*/ 765174 w 8040688"/>
              <a:gd name="connsiteY18" fmla="*/ 6503200 h 6858000"/>
              <a:gd name="connsiteX19" fmla="*/ 736599 w 8040688"/>
              <a:gd name="connsiteY19" fmla="*/ 6455574 h 6858000"/>
              <a:gd name="connsiteX20" fmla="*/ 1781490 w 8040688"/>
              <a:gd name="connsiteY20" fmla="*/ 6452716 h 6858000"/>
              <a:gd name="connsiteX21" fmla="*/ 1808160 w 8040688"/>
              <a:gd name="connsiteY21" fmla="*/ 6474624 h 6858000"/>
              <a:gd name="connsiteX22" fmla="*/ 1753867 w 8040688"/>
              <a:gd name="connsiteY22" fmla="*/ 6474624 h 6858000"/>
              <a:gd name="connsiteX23" fmla="*/ 1781490 w 8040688"/>
              <a:gd name="connsiteY23" fmla="*/ 6452716 h 6858000"/>
              <a:gd name="connsiteX24" fmla="*/ 1309050 w 8040688"/>
              <a:gd name="connsiteY24" fmla="*/ 6426999 h 6858000"/>
              <a:gd name="connsiteX25" fmla="*/ 1309050 w 8040688"/>
              <a:gd name="connsiteY25" fmla="*/ 6456526 h 6858000"/>
              <a:gd name="connsiteX26" fmla="*/ 1326195 w 8040688"/>
              <a:gd name="connsiteY26" fmla="*/ 6456526 h 6858000"/>
              <a:gd name="connsiteX27" fmla="*/ 1326195 w 8040688"/>
              <a:gd name="connsiteY27" fmla="*/ 6548920 h 6858000"/>
              <a:gd name="connsiteX28" fmla="*/ 1360485 w 8040688"/>
              <a:gd name="connsiteY28" fmla="*/ 6548920 h 6858000"/>
              <a:gd name="connsiteX29" fmla="*/ 1360485 w 8040688"/>
              <a:gd name="connsiteY29" fmla="*/ 6426999 h 6858000"/>
              <a:gd name="connsiteX30" fmla="*/ 1372868 w 8040688"/>
              <a:gd name="connsiteY30" fmla="*/ 6426998 h 6858000"/>
              <a:gd name="connsiteX31" fmla="*/ 1414778 w 8040688"/>
              <a:gd name="connsiteY31" fmla="*/ 6548920 h 6858000"/>
              <a:gd name="connsiteX32" fmla="*/ 1457640 w 8040688"/>
              <a:gd name="connsiteY32" fmla="*/ 6548920 h 6858000"/>
              <a:gd name="connsiteX33" fmla="*/ 1501455 w 8040688"/>
              <a:gd name="connsiteY33" fmla="*/ 6426998 h 6858000"/>
              <a:gd name="connsiteX34" fmla="*/ 1465260 w 8040688"/>
              <a:gd name="connsiteY34" fmla="*/ 6426998 h 6858000"/>
              <a:gd name="connsiteX35" fmla="*/ 1437638 w 8040688"/>
              <a:gd name="connsiteY35" fmla="*/ 6511772 h 6858000"/>
              <a:gd name="connsiteX36" fmla="*/ 1410015 w 8040688"/>
              <a:gd name="connsiteY36" fmla="*/ 6426998 h 6858000"/>
              <a:gd name="connsiteX37" fmla="*/ 1781490 w 8040688"/>
              <a:gd name="connsiteY37" fmla="*/ 6425093 h 6858000"/>
              <a:gd name="connsiteX38" fmla="*/ 1718625 w 8040688"/>
              <a:gd name="connsiteY38" fmla="*/ 6488912 h 6858000"/>
              <a:gd name="connsiteX39" fmla="*/ 1782442 w 8040688"/>
              <a:gd name="connsiteY39" fmla="*/ 6552730 h 6858000"/>
              <a:gd name="connsiteX40" fmla="*/ 1843402 w 8040688"/>
              <a:gd name="connsiteY40" fmla="*/ 6514629 h 6858000"/>
              <a:gd name="connsiteX41" fmla="*/ 1807207 w 8040688"/>
              <a:gd name="connsiteY41" fmla="*/ 6510819 h 6858000"/>
              <a:gd name="connsiteX42" fmla="*/ 1782442 w 8040688"/>
              <a:gd name="connsiteY42" fmla="*/ 6523202 h 6858000"/>
              <a:gd name="connsiteX43" fmla="*/ 1754820 w 8040688"/>
              <a:gd name="connsiteY43" fmla="*/ 6498437 h 6858000"/>
              <a:gd name="connsiteX44" fmla="*/ 1845307 w 8040688"/>
              <a:gd name="connsiteY44" fmla="*/ 6498437 h 6858000"/>
              <a:gd name="connsiteX45" fmla="*/ 1845307 w 8040688"/>
              <a:gd name="connsiteY45" fmla="*/ 6497484 h 6858000"/>
              <a:gd name="connsiteX46" fmla="*/ 1781490 w 8040688"/>
              <a:gd name="connsiteY46" fmla="*/ 6425093 h 6858000"/>
              <a:gd name="connsiteX47" fmla="*/ 1282380 w 8040688"/>
              <a:gd name="connsiteY47" fmla="*/ 6425093 h 6858000"/>
              <a:gd name="connsiteX48" fmla="*/ 1250947 w 8040688"/>
              <a:gd name="connsiteY48" fmla="*/ 6446048 h 6858000"/>
              <a:gd name="connsiteX49" fmla="*/ 1250947 w 8040688"/>
              <a:gd name="connsiteY49" fmla="*/ 6426998 h 6858000"/>
              <a:gd name="connsiteX50" fmla="*/ 1217610 w 8040688"/>
              <a:gd name="connsiteY50" fmla="*/ 6426998 h 6858000"/>
              <a:gd name="connsiteX51" fmla="*/ 1217610 w 8040688"/>
              <a:gd name="connsiteY51" fmla="*/ 6548920 h 6858000"/>
              <a:gd name="connsiteX52" fmla="*/ 1251900 w 8040688"/>
              <a:gd name="connsiteY52" fmla="*/ 6548920 h 6858000"/>
              <a:gd name="connsiteX53" fmla="*/ 1251900 w 8040688"/>
              <a:gd name="connsiteY53" fmla="*/ 6490817 h 6858000"/>
              <a:gd name="connsiteX54" fmla="*/ 1277617 w 8040688"/>
              <a:gd name="connsiteY54" fmla="*/ 6461289 h 6858000"/>
              <a:gd name="connsiteX55" fmla="*/ 1291905 w 8040688"/>
              <a:gd name="connsiteY55" fmla="*/ 6461289 h 6858000"/>
              <a:gd name="connsiteX56" fmla="*/ 1291905 w 8040688"/>
              <a:gd name="connsiteY56" fmla="*/ 6426046 h 6858000"/>
              <a:gd name="connsiteX57" fmla="*/ 1282380 w 8040688"/>
              <a:gd name="connsiteY57" fmla="*/ 6425093 h 6858000"/>
              <a:gd name="connsiteX58" fmla="*/ 1562414 w 8040688"/>
              <a:gd name="connsiteY58" fmla="*/ 6424141 h 6858000"/>
              <a:gd name="connsiteX59" fmla="*/ 1510027 w 8040688"/>
              <a:gd name="connsiteY59" fmla="*/ 6439381 h 6858000"/>
              <a:gd name="connsiteX60" fmla="*/ 1523362 w 8040688"/>
              <a:gd name="connsiteY60" fmla="*/ 6465099 h 6858000"/>
              <a:gd name="connsiteX61" fmla="*/ 1559557 w 8040688"/>
              <a:gd name="connsiteY61" fmla="*/ 6453669 h 6858000"/>
              <a:gd name="connsiteX62" fmla="*/ 1579559 w 8040688"/>
              <a:gd name="connsiteY62" fmla="*/ 6467957 h 6858000"/>
              <a:gd name="connsiteX63" fmla="*/ 1580512 w 8040688"/>
              <a:gd name="connsiteY63" fmla="*/ 6468909 h 6858000"/>
              <a:gd name="connsiteX64" fmla="*/ 1571939 w 8040688"/>
              <a:gd name="connsiteY64" fmla="*/ 6476529 h 6858000"/>
              <a:gd name="connsiteX65" fmla="*/ 1548127 w 8040688"/>
              <a:gd name="connsiteY65" fmla="*/ 6476529 h 6858000"/>
              <a:gd name="connsiteX66" fmla="*/ 1504312 w 8040688"/>
              <a:gd name="connsiteY66" fmla="*/ 6513677 h 6858000"/>
              <a:gd name="connsiteX67" fmla="*/ 1547174 w 8040688"/>
              <a:gd name="connsiteY67" fmla="*/ 6551778 h 6858000"/>
              <a:gd name="connsiteX68" fmla="*/ 1581464 w 8040688"/>
              <a:gd name="connsiteY68" fmla="*/ 6537490 h 6858000"/>
              <a:gd name="connsiteX69" fmla="*/ 1581464 w 8040688"/>
              <a:gd name="connsiteY69" fmla="*/ 6548920 h 6858000"/>
              <a:gd name="connsiteX70" fmla="*/ 1615754 w 8040688"/>
              <a:gd name="connsiteY70" fmla="*/ 6548920 h 6858000"/>
              <a:gd name="connsiteX71" fmla="*/ 1615754 w 8040688"/>
              <a:gd name="connsiteY71" fmla="*/ 6468909 h 6858000"/>
              <a:gd name="connsiteX72" fmla="*/ 1562414 w 8040688"/>
              <a:gd name="connsiteY72" fmla="*/ 6424141 h 6858000"/>
              <a:gd name="connsiteX73" fmla="*/ 1145220 w 8040688"/>
              <a:gd name="connsiteY73" fmla="*/ 6424141 h 6858000"/>
              <a:gd name="connsiteX74" fmla="*/ 1092833 w 8040688"/>
              <a:gd name="connsiteY74" fmla="*/ 6439381 h 6858000"/>
              <a:gd name="connsiteX75" fmla="*/ 1106168 w 8040688"/>
              <a:gd name="connsiteY75" fmla="*/ 6465099 h 6858000"/>
              <a:gd name="connsiteX76" fmla="*/ 1142363 w 8040688"/>
              <a:gd name="connsiteY76" fmla="*/ 6453669 h 6858000"/>
              <a:gd name="connsiteX77" fmla="*/ 1162365 w 8040688"/>
              <a:gd name="connsiteY77" fmla="*/ 6467957 h 6858000"/>
              <a:gd name="connsiteX78" fmla="*/ 1163318 w 8040688"/>
              <a:gd name="connsiteY78" fmla="*/ 6468909 h 6858000"/>
              <a:gd name="connsiteX79" fmla="*/ 1154745 w 8040688"/>
              <a:gd name="connsiteY79" fmla="*/ 6476529 h 6858000"/>
              <a:gd name="connsiteX80" fmla="*/ 1130933 w 8040688"/>
              <a:gd name="connsiteY80" fmla="*/ 6476529 h 6858000"/>
              <a:gd name="connsiteX81" fmla="*/ 1087118 w 8040688"/>
              <a:gd name="connsiteY81" fmla="*/ 6513677 h 6858000"/>
              <a:gd name="connsiteX82" fmla="*/ 1129980 w 8040688"/>
              <a:gd name="connsiteY82" fmla="*/ 6551778 h 6858000"/>
              <a:gd name="connsiteX83" fmla="*/ 1164270 w 8040688"/>
              <a:gd name="connsiteY83" fmla="*/ 6537490 h 6858000"/>
              <a:gd name="connsiteX84" fmla="*/ 1164270 w 8040688"/>
              <a:gd name="connsiteY84" fmla="*/ 6548920 h 6858000"/>
              <a:gd name="connsiteX85" fmla="*/ 1198560 w 8040688"/>
              <a:gd name="connsiteY85" fmla="*/ 6548920 h 6858000"/>
              <a:gd name="connsiteX86" fmla="*/ 1198560 w 8040688"/>
              <a:gd name="connsiteY86" fmla="*/ 6468909 h 6858000"/>
              <a:gd name="connsiteX87" fmla="*/ 1145220 w 8040688"/>
              <a:gd name="connsiteY87" fmla="*/ 6424141 h 6858000"/>
              <a:gd name="connsiteX88" fmla="*/ 587056 w 8040688"/>
              <a:gd name="connsiteY88" fmla="*/ 6386040 h 6858000"/>
              <a:gd name="connsiteX89" fmla="*/ 564196 w 8040688"/>
              <a:gd name="connsiteY89" fmla="*/ 6386993 h 6858000"/>
              <a:gd name="connsiteX90" fmla="*/ 564196 w 8040688"/>
              <a:gd name="connsiteY90" fmla="*/ 6524155 h 6858000"/>
              <a:gd name="connsiteX91" fmla="*/ 587056 w 8040688"/>
              <a:gd name="connsiteY91" fmla="*/ 6526060 h 6858000"/>
              <a:gd name="connsiteX92" fmla="*/ 619441 w 8040688"/>
              <a:gd name="connsiteY92" fmla="*/ 6523202 h 6858000"/>
              <a:gd name="connsiteX93" fmla="*/ 613726 w 8040688"/>
              <a:gd name="connsiteY93" fmla="*/ 6406043 h 6858000"/>
              <a:gd name="connsiteX94" fmla="*/ 619441 w 8040688"/>
              <a:gd name="connsiteY94" fmla="*/ 6388898 h 6858000"/>
              <a:gd name="connsiteX95" fmla="*/ 587056 w 8040688"/>
              <a:gd name="connsiteY95" fmla="*/ 6386040 h 6858000"/>
              <a:gd name="connsiteX96" fmla="*/ 1647187 w 8040688"/>
              <a:gd name="connsiteY96" fmla="*/ 6381278 h 6858000"/>
              <a:gd name="connsiteX97" fmla="*/ 1647187 w 8040688"/>
              <a:gd name="connsiteY97" fmla="*/ 6427951 h 6858000"/>
              <a:gd name="connsiteX98" fmla="*/ 1628137 w 8040688"/>
              <a:gd name="connsiteY98" fmla="*/ 6427951 h 6858000"/>
              <a:gd name="connsiteX99" fmla="*/ 1628137 w 8040688"/>
              <a:gd name="connsiteY99" fmla="*/ 6457479 h 6858000"/>
              <a:gd name="connsiteX100" fmla="*/ 1647187 w 8040688"/>
              <a:gd name="connsiteY100" fmla="*/ 6457479 h 6858000"/>
              <a:gd name="connsiteX101" fmla="*/ 1647187 w 8040688"/>
              <a:gd name="connsiteY101" fmla="*/ 6524155 h 6858000"/>
              <a:gd name="connsiteX102" fmla="*/ 1682429 w 8040688"/>
              <a:gd name="connsiteY102" fmla="*/ 6551778 h 6858000"/>
              <a:gd name="connsiteX103" fmla="*/ 1709099 w 8040688"/>
              <a:gd name="connsiteY103" fmla="*/ 6549873 h 6858000"/>
              <a:gd name="connsiteX104" fmla="*/ 1709099 w 8040688"/>
              <a:gd name="connsiteY104" fmla="*/ 6520345 h 6858000"/>
              <a:gd name="connsiteX105" fmla="*/ 1692907 w 8040688"/>
              <a:gd name="connsiteY105" fmla="*/ 6520345 h 6858000"/>
              <a:gd name="connsiteX106" fmla="*/ 1681477 w 8040688"/>
              <a:gd name="connsiteY106" fmla="*/ 6511772 h 6858000"/>
              <a:gd name="connsiteX107" fmla="*/ 1681477 w 8040688"/>
              <a:gd name="connsiteY107" fmla="*/ 6456526 h 6858000"/>
              <a:gd name="connsiteX108" fmla="*/ 1708147 w 8040688"/>
              <a:gd name="connsiteY108" fmla="*/ 6456526 h 6858000"/>
              <a:gd name="connsiteX109" fmla="*/ 1708147 w 8040688"/>
              <a:gd name="connsiteY109" fmla="*/ 6426998 h 6858000"/>
              <a:gd name="connsiteX110" fmla="*/ 1681477 w 8040688"/>
              <a:gd name="connsiteY110" fmla="*/ 6426998 h 6858000"/>
              <a:gd name="connsiteX111" fmla="*/ 1681477 w 8040688"/>
              <a:gd name="connsiteY111" fmla="*/ 6381278 h 6858000"/>
              <a:gd name="connsiteX112" fmla="*/ 1341435 w 8040688"/>
              <a:gd name="connsiteY112" fmla="*/ 6363180 h 6858000"/>
              <a:gd name="connsiteX113" fmla="*/ 1319527 w 8040688"/>
              <a:gd name="connsiteY113" fmla="*/ 6385088 h 6858000"/>
              <a:gd name="connsiteX114" fmla="*/ 1341435 w 8040688"/>
              <a:gd name="connsiteY114" fmla="*/ 6406996 h 6858000"/>
              <a:gd name="connsiteX115" fmla="*/ 1363342 w 8040688"/>
              <a:gd name="connsiteY115" fmla="*/ 6385088 h 6858000"/>
              <a:gd name="connsiteX116" fmla="*/ 1341435 w 8040688"/>
              <a:gd name="connsiteY116" fmla="*/ 6363180 h 6858000"/>
              <a:gd name="connsiteX117" fmla="*/ 1032826 w 8040688"/>
              <a:gd name="connsiteY117" fmla="*/ 6363180 h 6858000"/>
              <a:gd name="connsiteX118" fmla="*/ 1032826 w 8040688"/>
              <a:gd name="connsiteY118" fmla="*/ 6548920 h 6858000"/>
              <a:gd name="connsiteX119" fmla="*/ 1067116 w 8040688"/>
              <a:gd name="connsiteY119" fmla="*/ 6548920 h 6858000"/>
              <a:gd name="connsiteX120" fmla="*/ 1067116 w 8040688"/>
              <a:gd name="connsiteY120" fmla="*/ 6363180 h 6858000"/>
              <a:gd name="connsiteX121" fmla="*/ 922336 w 8040688"/>
              <a:gd name="connsiteY121" fmla="*/ 6359370 h 6858000"/>
              <a:gd name="connsiteX122" fmla="*/ 825181 w 8040688"/>
              <a:gd name="connsiteY122" fmla="*/ 6455574 h 6858000"/>
              <a:gd name="connsiteX123" fmla="*/ 922336 w 8040688"/>
              <a:gd name="connsiteY123" fmla="*/ 6551778 h 6858000"/>
              <a:gd name="connsiteX124" fmla="*/ 1013776 w 8040688"/>
              <a:gd name="connsiteY124" fmla="*/ 6482244 h 6858000"/>
              <a:gd name="connsiteX125" fmla="*/ 973771 w 8040688"/>
              <a:gd name="connsiteY125" fmla="*/ 6482244 h 6858000"/>
              <a:gd name="connsiteX126" fmla="*/ 923288 w 8040688"/>
              <a:gd name="connsiteY126" fmla="*/ 6517488 h 6858000"/>
              <a:gd name="connsiteX127" fmla="*/ 865186 w 8040688"/>
              <a:gd name="connsiteY127" fmla="*/ 6455574 h 6858000"/>
              <a:gd name="connsiteX128" fmla="*/ 923288 w 8040688"/>
              <a:gd name="connsiteY128" fmla="*/ 6393661 h 6858000"/>
              <a:gd name="connsiteX129" fmla="*/ 972818 w 8040688"/>
              <a:gd name="connsiteY129" fmla="*/ 6428904 h 6858000"/>
              <a:gd name="connsiteX130" fmla="*/ 1013776 w 8040688"/>
              <a:gd name="connsiteY130" fmla="*/ 6428904 h 6858000"/>
              <a:gd name="connsiteX131" fmla="*/ 922336 w 8040688"/>
              <a:gd name="connsiteY131" fmla="*/ 6359370 h 6858000"/>
              <a:gd name="connsiteX132" fmla="*/ 646112 w 8040688"/>
              <a:gd name="connsiteY132" fmla="*/ 6339367 h 6858000"/>
              <a:gd name="connsiteX133" fmla="*/ 619442 w 8040688"/>
              <a:gd name="connsiteY133" fmla="*/ 6387945 h 6858000"/>
              <a:gd name="connsiteX134" fmla="*/ 735647 w 8040688"/>
              <a:gd name="connsiteY134" fmla="*/ 6455574 h 6858000"/>
              <a:gd name="connsiteX135" fmla="*/ 764222 w 8040688"/>
              <a:gd name="connsiteY135" fmla="*/ 6407948 h 6858000"/>
              <a:gd name="connsiteX136" fmla="*/ 646112 w 8040688"/>
              <a:gd name="connsiteY136" fmla="*/ 6339367 h 6858000"/>
              <a:gd name="connsiteX137" fmla="*/ 0 w 8040688"/>
              <a:gd name="connsiteY137" fmla="*/ 0 h 6858000"/>
              <a:gd name="connsiteX138" fmla="*/ 8040688 w 8040688"/>
              <a:gd name="connsiteY138" fmla="*/ 0 h 6858000"/>
              <a:gd name="connsiteX139" fmla="*/ 8040688 w 8040688"/>
              <a:gd name="connsiteY139" fmla="*/ 6858000 h 6858000"/>
              <a:gd name="connsiteX140" fmla="*/ 0 w 8040688"/>
              <a:gd name="connsiteY14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8040688" h="6858000">
                <a:moveTo>
                  <a:pt x="1579559" y="6496532"/>
                </a:moveTo>
                <a:lnTo>
                  <a:pt x="1579559" y="6505105"/>
                </a:lnTo>
                <a:cubicBezTo>
                  <a:pt x="1579559" y="6520345"/>
                  <a:pt x="1566224" y="6527013"/>
                  <a:pt x="1555747" y="6527013"/>
                </a:cubicBezTo>
                <a:cubicBezTo>
                  <a:pt x="1545269" y="6527013"/>
                  <a:pt x="1538602" y="6521298"/>
                  <a:pt x="1538602" y="6512725"/>
                </a:cubicBezTo>
                <a:cubicBezTo>
                  <a:pt x="1538602" y="6504152"/>
                  <a:pt x="1545269" y="6499390"/>
                  <a:pt x="1555747" y="6499390"/>
                </a:cubicBezTo>
                <a:lnTo>
                  <a:pt x="1569082" y="6499390"/>
                </a:lnTo>
                <a:cubicBezTo>
                  <a:pt x="1573844" y="6499390"/>
                  <a:pt x="1577654" y="6498437"/>
                  <a:pt x="1579559" y="6496532"/>
                </a:cubicBezTo>
                <a:close/>
                <a:moveTo>
                  <a:pt x="1162365" y="6496532"/>
                </a:moveTo>
                <a:lnTo>
                  <a:pt x="1162365" y="6505105"/>
                </a:lnTo>
                <a:cubicBezTo>
                  <a:pt x="1162365" y="6520345"/>
                  <a:pt x="1149030" y="6527013"/>
                  <a:pt x="1138553" y="6527013"/>
                </a:cubicBezTo>
                <a:cubicBezTo>
                  <a:pt x="1128075" y="6527013"/>
                  <a:pt x="1121408" y="6521298"/>
                  <a:pt x="1121408" y="6512725"/>
                </a:cubicBezTo>
                <a:cubicBezTo>
                  <a:pt x="1121408" y="6504152"/>
                  <a:pt x="1128075" y="6499390"/>
                  <a:pt x="1138553" y="6499390"/>
                </a:cubicBezTo>
                <a:lnTo>
                  <a:pt x="1151888" y="6499390"/>
                </a:lnTo>
                <a:cubicBezTo>
                  <a:pt x="1156650" y="6499390"/>
                  <a:pt x="1160460" y="6498437"/>
                  <a:pt x="1162365" y="6496532"/>
                </a:cubicBezTo>
                <a:close/>
                <a:moveTo>
                  <a:pt x="736599" y="6455574"/>
                </a:moveTo>
                <a:cubicBezTo>
                  <a:pt x="707072" y="6490817"/>
                  <a:pt x="666114" y="6515582"/>
                  <a:pt x="619442" y="6523203"/>
                </a:cubicBezTo>
                <a:cubicBezTo>
                  <a:pt x="623252" y="6532728"/>
                  <a:pt x="628014" y="6543205"/>
                  <a:pt x="632777" y="6552731"/>
                </a:cubicBezTo>
                <a:cubicBezTo>
                  <a:pt x="636587" y="6559398"/>
                  <a:pt x="641349" y="6566066"/>
                  <a:pt x="646112" y="6571781"/>
                </a:cubicBezTo>
                <a:cubicBezTo>
                  <a:pt x="691832" y="6560351"/>
                  <a:pt x="732789" y="6536538"/>
                  <a:pt x="765174" y="6503200"/>
                </a:cubicBezTo>
                <a:cubicBezTo>
                  <a:pt x="757554" y="6486054"/>
                  <a:pt x="748029" y="6469862"/>
                  <a:pt x="736599" y="6455574"/>
                </a:cubicBezTo>
                <a:close/>
                <a:moveTo>
                  <a:pt x="1781490" y="6452716"/>
                </a:moveTo>
                <a:cubicBezTo>
                  <a:pt x="1795777" y="6452716"/>
                  <a:pt x="1806255" y="6462241"/>
                  <a:pt x="1808160" y="6474624"/>
                </a:cubicBezTo>
                <a:lnTo>
                  <a:pt x="1753867" y="6474624"/>
                </a:lnTo>
                <a:cubicBezTo>
                  <a:pt x="1756725" y="6461289"/>
                  <a:pt x="1767202" y="6452716"/>
                  <a:pt x="1781490" y="6452716"/>
                </a:cubicBezTo>
                <a:close/>
                <a:moveTo>
                  <a:pt x="1309050" y="6426999"/>
                </a:moveTo>
                <a:lnTo>
                  <a:pt x="1309050" y="6456526"/>
                </a:lnTo>
                <a:lnTo>
                  <a:pt x="1326195" y="6456526"/>
                </a:lnTo>
                <a:lnTo>
                  <a:pt x="1326195" y="6548920"/>
                </a:lnTo>
                <a:lnTo>
                  <a:pt x="1360485" y="6548920"/>
                </a:lnTo>
                <a:lnTo>
                  <a:pt x="1360485" y="6426999"/>
                </a:lnTo>
                <a:close/>
                <a:moveTo>
                  <a:pt x="1372868" y="6426998"/>
                </a:moveTo>
                <a:lnTo>
                  <a:pt x="1414778" y="6548920"/>
                </a:lnTo>
                <a:lnTo>
                  <a:pt x="1457640" y="6548920"/>
                </a:lnTo>
                <a:lnTo>
                  <a:pt x="1501455" y="6426998"/>
                </a:lnTo>
                <a:lnTo>
                  <a:pt x="1465260" y="6426998"/>
                </a:lnTo>
                <a:lnTo>
                  <a:pt x="1437638" y="6511772"/>
                </a:lnTo>
                <a:lnTo>
                  <a:pt x="1410015" y="6426998"/>
                </a:lnTo>
                <a:close/>
                <a:moveTo>
                  <a:pt x="1781490" y="6425093"/>
                </a:moveTo>
                <a:cubicBezTo>
                  <a:pt x="1745295" y="6425093"/>
                  <a:pt x="1718625" y="6451763"/>
                  <a:pt x="1718625" y="6488912"/>
                </a:cubicBezTo>
                <a:cubicBezTo>
                  <a:pt x="1718625" y="6526060"/>
                  <a:pt x="1754820" y="6552730"/>
                  <a:pt x="1782442" y="6552730"/>
                </a:cubicBezTo>
                <a:cubicBezTo>
                  <a:pt x="1810065" y="6552730"/>
                  <a:pt x="1832925" y="6540347"/>
                  <a:pt x="1843402" y="6514629"/>
                </a:cubicBezTo>
                <a:lnTo>
                  <a:pt x="1807207" y="6510819"/>
                </a:lnTo>
                <a:cubicBezTo>
                  <a:pt x="1802445" y="6518439"/>
                  <a:pt x="1797682" y="6523202"/>
                  <a:pt x="1782442" y="6523202"/>
                </a:cubicBezTo>
                <a:cubicBezTo>
                  <a:pt x="1767202" y="6523202"/>
                  <a:pt x="1756725" y="6511772"/>
                  <a:pt x="1754820" y="6498437"/>
                </a:cubicBezTo>
                <a:lnTo>
                  <a:pt x="1845307" y="6498437"/>
                </a:lnTo>
                <a:lnTo>
                  <a:pt x="1845307" y="6497484"/>
                </a:lnTo>
                <a:cubicBezTo>
                  <a:pt x="1845307" y="6447001"/>
                  <a:pt x="1817685" y="6425093"/>
                  <a:pt x="1781490" y="6425093"/>
                </a:cubicBezTo>
                <a:close/>
                <a:moveTo>
                  <a:pt x="1282380" y="6425093"/>
                </a:moveTo>
                <a:cubicBezTo>
                  <a:pt x="1267140" y="6425093"/>
                  <a:pt x="1255710" y="6432713"/>
                  <a:pt x="1250947" y="6446048"/>
                </a:cubicBezTo>
                <a:lnTo>
                  <a:pt x="1250947" y="6426998"/>
                </a:lnTo>
                <a:lnTo>
                  <a:pt x="1217610" y="6426998"/>
                </a:lnTo>
                <a:lnTo>
                  <a:pt x="1217610" y="6548920"/>
                </a:lnTo>
                <a:lnTo>
                  <a:pt x="1251900" y="6548920"/>
                </a:lnTo>
                <a:lnTo>
                  <a:pt x="1251900" y="6490817"/>
                </a:lnTo>
                <a:cubicBezTo>
                  <a:pt x="1251900" y="6469861"/>
                  <a:pt x="1260472" y="6461289"/>
                  <a:pt x="1277617" y="6461289"/>
                </a:cubicBezTo>
                <a:lnTo>
                  <a:pt x="1291905" y="6461289"/>
                </a:lnTo>
                <a:cubicBezTo>
                  <a:pt x="1291905" y="6461289"/>
                  <a:pt x="1291905" y="6426046"/>
                  <a:pt x="1291905" y="6426046"/>
                </a:cubicBezTo>
                <a:cubicBezTo>
                  <a:pt x="1289047" y="6425093"/>
                  <a:pt x="1297620" y="6425093"/>
                  <a:pt x="1282380" y="6425093"/>
                </a:cubicBezTo>
                <a:close/>
                <a:moveTo>
                  <a:pt x="1562414" y="6424141"/>
                </a:moveTo>
                <a:cubicBezTo>
                  <a:pt x="1532887" y="6424141"/>
                  <a:pt x="1510027" y="6439381"/>
                  <a:pt x="1510027" y="6439381"/>
                </a:cubicBezTo>
                <a:lnTo>
                  <a:pt x="1523362" y="6465099"/>
                </a:lnTo>
                <a:cubicBezTo>
                  <a:pt x="1531934" y="6459384"/>
                  <a:pt x="1546222" y="6453669"/>
                  <a:pt x="1559557" y="6453669"/>
                </a:cubicBezTo>
                <a:cubicBezTo>
                  <a:pt x="1572892" y="6453669"/>
                  <a:pt x="1579559" y="6459384"/>
                  <a:pt x="1579559" y="6467957"/>
                </a:cubicBezTo>
                <a:lnTo>
                  <a:pt x="1580512" y="6468909"/>
                </a:lnTo>
                <a:cubicBezTo>
                  <a:pt x="1580512" y="6473672"/>
                  <a:pt x="1577654" y="6476529"/>
                  <a:pt x="1571939" y="6476529"/>
                </a:cubicBezTo>
                <a:lnTo>
                  <a:pt x="1548127" y="6476529"/>
                </a:lnTo>
                <a:cubicBezTo>
                  <a:pt x="1521457" y="6476529"/>
                  <a:pt x="1504312" y="6493675"/>
                  <a:pt x="1504312" y="6513677"/>
                </a:cubicBezTo>
                <a:cubicBezTo>
                  <a:pt x="1504312" y="6533680"/>
                  <a:pt x="1521457" y="6551778"/>
                  <a:pt x="1547174" y="6551778"/>
                </a:cubicBezTo>
                <a:cubicBezTo>
                  <a:pt x="1561462" y="6551778"/>
                  <a:pt x="1574797" y="6547015"/>
                  <a:pt x="1581464" y="6537490"/>
                </a:cubicBezTo>
                <a:lnTo>
                  <a:pt x="1581464" y="6548920"/>
                </a:lnTo>
                <a:lnTo>
                  <a:pt x="1615754" y="6548920"/>
                </a:lnTo>
                <a:lnTo>
                  <a:pt x="1615754" y="6468909"/>
                </a:lnTo>
                <a:cubicBezTo>
                  <a:pt x="1615754" y="6436524"/>
                  <a:pt x="1591942" y="6424141"/>
                  <a:pt x="1562414" y="6424141"/>
                </a:cubicBezTo>
                <a:close/>
                <a:moveTo>
                  <a:pt x="1145220" y="6424141"/>
                </a:moveTo>
                <a:cubicBezTo>
                  <a:pt x="1115693" y="6424141"/>
                  <a:pt x="1092833" y="6439381"/>
                  <a:pt x="1092833" y="6439381"/>
                </a:cubicBezTo>
                <a:lnTo>
                  <a:pt x="1106168" y="6465099"/>
                </a:lnTo>
                <a:cubicBezTo>
                  <a:pt x="1114740" y="6459384"/>
                  <a:pt x="1129028" y="6453669"/>
                  <a:pt x="1142363" y="6453669"/>
                </a:cubicBezTo>
                <a:cubicBezTo>
                  <a:pt x="1155698" y="6453669"/>
                  <a:pt x="1162365" y="6459384"/>
                  <a:pt x="1162365" y="6467957"/>
                </a:cubicBezTo>
                <a:lnTo>
                  <a:pt x="1163318" y="6468909"/>
                </a:lnTo>
                <a:cubicBezTo>
                  <a:pt x="1163318" y="6473672"/>
                  <a:pt x="1160460" y="6476529"/>
                  <a:pt x="1154745" y="6476529"/>
                </a:cubicBezTo>
                <a:lnTo>
                  <a:pt x="1130933" y="6476529"/>
                </a:lnTo>
                <a:cubicBezTo>
                  <a:pt x="1104263" y="6476529"/>
                  <a:pt x="1087118" y="6493675"/>
                  <a:pt x="1087118" y="6513677"/>
                </a:cubicBezTo>
                <a:cubicBezTo>
                  <a:pt x="1087118" y="6533680"/>
                  <a:pt x="1104263" y="6551778"/>
                  <a:pt x="1129980" y="6551778"/>
                </a:cubicBezTo>
                <a:cubicBezTo>
                  <a:pt x="1144268" y="6551778"/>
                  <a:pt x="1157603" y="6547015"/>
                  <a:pt x="1164270" y="6537490"/>
                </a:cubicBezTo>
                <a:lnTo>
                  <a:pt x="1164270" y="6548920"/>
                </a:lnTo>
                <a:lnTo>
                  <a:pt x="1198560" y="6548920"/>
                </a:lnTo>
                <a:lnTo>
                  <a:pt x="1198560" y="6468909"/>
                </a:lnTo>
                <a:cubicBezTo>
                  <a:pt x="1198560" y="6436524"/>
                  <a:pt x="1174748" y="6424141"/>
                  <a:pt x="1145220" y="6424141"/>
                </a:cubicBezTo>
                <a:close/>
                <a:moveTo>
                  <a:pt x="587056" y="6386040"/>
                </a:moveTo>
                <a:cubicBezTo>
                  <a:pt x="575626" y="6386040"/>
                  <a:pt x="571816" y="6386040"/>
                  <a:pt x="564196" y="6386993"/>
                </a:cubicBezTo>
                <a:cubicBezTo>
                  <a:pt x="551814" y="6430808"/>
                  <a:pt x="550861" y="6478434"/>
                  <a:pt x="564196" y="6524155"/>
                </a:cubicBezTo>
                <a:cubicBezTo>
                  <a:pt x="571816" y="6524155"/>
                  <a:pt x="579436" y="6526060"/>
                  <a:pt x="587056" y="6526060"/>
                </a:cubicBezTo>
                <a:cubicBezTo>
                  <a:pt x="598486" y="6526060"/>
                  <a:pt x="608964" y="6525107"/>
                  <a:pt x="619441" y="6523202"/>
                </a:cubicBezTo>
                <a:cubicBezTo>
                  <a:pt x="605154" y="6486054"/>
                  <a:pt x="603249" y="6445096"/>
                  <a:pt x="613726" y="6406043"/>
                </a:cubicBezTo>
                <a:cubicBezTo>
                  <a:pt x="615631" y="6400328"/>
                  <a:pt x="617536" y="6394613"/>
                  <a:pt x="619441" y="6388898"/>
                </a:cubicBezTo>
                <a:cubicBezTo>
                  <a:pt x="608964" y="6386993"/>
                  <a:pt x="598486" y="6386040"/>
                  <a:pt x="587056" y="6386040"/>
                </a:cubicBezTo>
                <a:close/>
                <a:moveTo>
                  <a:pt x="1647187" y="6381278"/>
                </a:moveTo>
                <a:lnTo>
                  <a:pt x="1647187" y="6427951"/>
                </a:lnTo>
                <a:lnTo>
                  <a:pt x="1628137" y="6427951"/>
                </a:lnTo>
                <a:lnTo>
                  <a:pt x="1628137" y="6457479"/>
                </a:lnTo>
                <a:lnTo>
                  <a:pt x="1647187" y="6457479"/>
                </a:lnTo>
                <a:lnTo>
                  <a:pt x="1647187" y="6524155"/>
                </a:lnTo>
                <a:cubicBezTo>
                  <a:pt x="1647187" y="6548920"/>
                  <a:pt x="1665284" y="6551778"/>
                  <a:pt x="1682429" y="6551778"/>
                </a:cubicBezTo>
                <a:cubicBezTo>
                  <a:pt x="1691954" y="6551778"/>
                  <a:pt x="1709099" y="6549873"/>
                  <a:pt x="1709099" y="6549873"/>
                </a:cubicBezTo>
                <a:lnTo>
                  <a:pt x="1709099" y="6520345"/>
                </a:lnTo>
                <a:cubicBezTo>
                  <a:pt x="1709099" y="6520345"/>
                  <a:pt x="1701479" y="6520345"/>
                  <a:pt x="1692907" y="6520345"/>
                </a:cubicBezTo>
                <a:cubicBezTo>
                  <a:pt x="1687192" y="6520345"/>
                  <a:pt x="1681477" y="6519392"/>
                  <a:pt x="1681477" y="6511772"/>
                </a:cubicBezTo>
                <a:lnTo>
                  <a:pt x="1681477" y="6456526"/>
                </a:lnTo>
                <a:lnTo>
                  <a:pt x="1708147" y="6456526"/>
                </a:lnTo>
                <a:lnTo>
                  <a:pt x="1708147" y="6426998"/>
                </a:lnTo>
                <a:lnTo>
                  <a:pt x="1681477" y="6426998"/>
                </a:lnTo>
                <a:lnTo>
                  <a:pt x="1681477" y="6381278"/>
                </a:lnTo>
                <a:close/>
                <a:moveTo>
                  <a:pt x="1341435" y="6363180"/>
                </a:moveTo>
                <a:cubicBezTo>
                  <a:pt x="1329052" y="6363180"/>
                  <a:pt x="1319527" y="6372705"/>
                  <a:pt x="1319527" y="6385088"/>
                </a:cubicBezTo>
                <a:cubicBezTo>
                  <a:pt x="1319527" y="6397471"/>
                  <a:pt x="1329052" y="6406996"/>
                  <a:pt x="1341435" y="6406996"/>
                </a:cubicBezTo>
                <a:cubicBezTo>
                  <a:pt x="1353817" y="6406996"/>
                  <a:pt x="1363342" y="6396518"/>
                  <a:pt x="1363342" y="6385088"/>
                </a:cubicBezTo>
                <a:cubicBezTo>
                  <a:pt x="1363342" y="6373658"/>
                  <a:pt x="1353817" y="6363180"/>
                  <a:pt x="1341435" y="6363180"/>
                </a:cubicBezTo>
                <a:close/>
                <a:moveTo>
                  <a:pt x="1032826" y="6363180"/>
                </a:moveTo>
                <a:lnTo>
                  <a:pt x="1032826" y="6548920"/>
                </a:lnTo>
                <a:lnTo>
                  <a:pt x="1067116" y="6548920"/>
                </a:lnTo>
                <a:lnTo>
                  <a:pt x="1067116" y="6363180"/>
                </a:lnTo>
                <a:close/>
                <a:moveTo>
                  <a:pt x="922336" y="6359370"/>
                </a:moveTo>
                <a:cubicBezTo>
                  <a:pt x="867091" y="6359370"/>
                  <a:pt x="825181" y="6399376"/>
                  <a:pt x="825181" y="6455574"/>
                </a:cubicBezTo>
                <a:cubicBezTo>
                  <a:pt x="825181" y="6511772"/>
                  <a:pt x="880426" y="6551778"/>
                  <a:pt x="922336" y="6551778"/>
                </a:cubicBezTo>
                <a:cubicBezTo>
                  <a:pt x="964246" y="6551778"/>
                  <a:pt x="1003298" y="6526060"/>
                  <a:pt x="1013776" y="6482244"/>
                </a:cubicBezTo>
                <a:lnTo>
                  <a:pt x="973771" y="6482244"/>
                </a:lnTo>
                <a:cubicBezTo>
                  <a:pt x="967103" y="6504152"/>
                  <a:pt x="948053" y="6517488"/>
                  <a:pt x="923288" y="6517488"/>
                </a:cubicBezTo>
                <a:cubicBezTo>
                  <a:pt x="888046" y="6517488"/>
                  <a:pt x="865186" y="6490817"/>
                  <a:pt x="865186" y="6455574"/>
                </a:cubicBezTo>
                <a:cubicBezTo>
                  <a:pt x="865186" y="6420331"/>
                  <a:pt x="888046" y="6393661"/>
                  <a:pt x="923288" y="6393661"/>
                </a:cubicBezTo>
                <a:cubicBezTo>
                  <a:pt x="947101" y="6393661"/>
                  <a:pt x="966151" y="6406996"/>
                  <a:pt x="972818" y="6428904"/>
                </a:cubicBezTo>
                <a:lnTo>
                  <a:pt x="1013776" y="6428904"/>
                </a:lnTo>
                <a:cubicBezTo>
                  <a:pt x="1002346" y="6385088"/>
                  <a:pt x="977581" y="6359370"/>
                  <a:pt x="922336" y="6359370"/>
                </a:cubicBezTo>
                <a:close/>
                <a:moveTo>
                  <a:pt x="646112" y="6339367"/>
                </a:moveTo>
                <a:cubicBezTo>
                  <a:pt x="634682" y="6354607"/>
                  <a:pt x="626109" y="6370800"/>
                  <a:pt x="619442" y="6387945"/>
                </a:cubicBezTo>
                <a:cubicBezTo>
                  <a:pt x="666114" y="6395565"/>
                  <a:pt x="707072" y="6420331"/>
                  <a:pt x="735647" y="6455574"/>
                </a:cubicBezTo>
                <a:cubicBezTo>
                  <a:pt x="747077" y="6441286"/>
                  <a:pt x="757554" y="6425093"/>
                  <a:pt x="764222" y="6407948"/>
                </a:cubicBezTo>
                <a:cubicBezTo>
                  <a:pt x="732789" y="6375563"/>
                  <a:pt x="691832" y="6350797"/>
                  <a:pt x="646112" y="6339367"/>
                </a:cubicBezTo>
                <a:close/>
                <a:moveTo>
                  <a:pt x="0" y="0"/>
                </a:moveTo>
                <a:lnTo>
                  <a:pt x="8040688" y="0"/>
                </a:lnTo>
                <a:lnTo>
                  <a:pt x="8040688" y="6858000"/>
                </a:lnTo>
                <a:lnTo>
                  <a:pt x="0" y="6858000"/>
                </a:lnTo>
                <a:close/>
              </a:path>
            </a:pathLst>
          </a:custGeom>
          <a:solidFill>
            <a:schemeClr val="bg1">
              <a:lumMod val="95000"/>
            </a:schemeClr>
          </a:solidFill>
          <a:ln>
            <a:noFill/>
          </a:ln>
        </p:spPr>
        <p:txBody>
          <a:bodyPr wrap="square" tIns="180000" anchor="t" anchorCtr="0">
            <a:noAutofit/>
          </a:bodyPr>
          <a:lstStyle>
            <a:lvl1pPr marL="0" indent="0" algn="ctr">
              <a:buNone/>
              <a:defRPr sz="1000">
                <a:solidFill>
                  <a:schemeClr val="accent2"/>
                </a:solidFill>
                <a:latin typeface="+mn-lt"/>
              </a:defRPr>
            </a:lvl1pPr>
          </a:lstStyle>
          <a:p>
            <a:pPr lvl="0"/>
            <a:r>
              <a:rPr lang="en-US"/>
              <a:t>Drag picture file here or click </a:t>
            </a:r>
            <a:r>
              <a:rPr lang="en-GB" noProof="0"/>
              <a:t>center</a:t>
            </a:r>
            <a:r>
              <a:rPr lang="en-US"/>
              <a:t> icon to insert light image</a:t>
            </a:r>
          </a:p>
        </p:txBody>
      </p:sp>
      <p:pic>
        <p:nvPicPr>
          <p:cNvPr id="5" name="Picture 4">
            <a:extLst>
              <a:ext uri="{FF2B5EF4-FFF2-40B4-BE49-F238E27FC236}">
                <a16:creationId xmlns:a16="http://schemas.microsoft.com/office/drawing/2014/main" id="{F3AC6818-4D80-7C27-6F3D-8D1DFA9EF1C8}"/>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040689" y="1"/>
            <a:ext cx="4151312" cy="6858000"/>
          </a:xfrm>
          <a:prstGeom prst="rect">
            <a:avLst/>
          </a:prstGeom>
        </p:spPr>
      </p:pic>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2168525"/>
            <a:ext cx="3024000" cy="1620837"/>
          </a:xfrm>
        </p:spPr>
        <p:txBody>
          <a:bodyPr anchor="b" anchorCtr="0"/>
          <a:lstStyle>
            <a:lvl1pPr marL="0" indent="0" algn="ctr">
              <a:buNone/>
              <a:defRPr sz="12000" spc="-300" baseline="0">
                <a:solidFill>
                  <a:schemeClr val="accent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0%</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3608388"/>
            <a:ext cx="3024000"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Tree>
    <p:extLst>
      <p:ext uri="{BB962C8B-B14F-4D97-AF65-F5344CB8AC3E}">
        <p14:creationId xmlns:p14="http://schemas.microsoft.com/office/powerpoint/2010/main" val="239660802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ext / 2x Big Sta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7C9D9F7-ED91-D58F-4B8A-75E79F808FE3}"/>
              </a:ext>
              <a:ext uri="{C183D7F6-B498-43B3-948B-1728B52AA6E4}">
                <adec:decorative xmlns:adec="http://schemas.microsoft.com/office/drawing/2017/decorative" val="1"/>
              </a:ext>
            </a:extLst>
          </p:cNvPr>
          <p:cNvSpPr/>
          <p:nvPr userDrawn="1"/>
        </p:nvSpPr>
        <p:spPr>
          <a:xfrm rot="10800000">
            <a:off x="8040683" y="0"/>
            <a:ext cx="4151314" cy="3428999"/>
          </a:xfrm>
          <a:prstGeom prst="rect">
            <a:avLst/>
          </a:prstGeom>
          <a:gradFill>
            <a:gsLst>
              <a:gs pos="85000">
                <a:schemeClr val="accent1"/>
              </a:gs>
              <a:gs pos="15000">
                <a:schemeClr val="accent3"/>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a:extLst>
              <a:ext uri="{FF2B5EF4-FFF2-40B4-BE49-F238E27FC236}">
                <a16:creationId xmlns:a16="http://schemas.microsoft.com/office/drawing/2014/main" id="{0986F515-904D-A198-71ED-870E64DDB4CE}"/>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15951" r="15951"/>
          <a:stretch/>
        </p:blipFill>
        <p:spPr>
          <a:xfrm>
            <a:off x="8040689" y="3428999"/>
            <a:ext cx="4151312" cy="3429001"/>
          </a:xfrm>
          <a:prstGeom prst="rect">
            <a:avLst/>
          </a:prstGeom>
        </p:spPr>
      </p:pic>
      <p:sp>
        <p:nvSpPr>
          <p:cNvPr id="11" name="Title 1">
            <a:extLst>
              <a:ext uri="{FF2B5EF4-FFF2-40B4-BE49-F238E27FC236}">
                <a16:creationId xmlns:a16="http://schemas.microsoft.com/office/drawing/2014/main" id="{5F4A0393-5E31-B1D7-44B4-0AE64D41191E}"/>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12" name="Text Placeholder 9">
            <a:extLst>
              <a:ext uri="{FF2B5EF4-FFF2-40B4-BE49-F238E27FC236}">
                <a16:creationId xmlns:a16="http://schemas.microsoft.com/office/drawing/2014/main" id="{3EF12EEA-B717-A2D4-DD8A-8AD5480E07F4}"/>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2" name="Text Placeholder 12">
            <a:extLst>
              <a:ext uri="{FF2B5EF4-FFF2-40B4-BE49-F238E27FC236}">
                <a16:creationId xmlns:a16="http://schemas.microsoft.com/office/drawing/2014/main" id="{2C9B01AB-F676-3FF4-AEAE-E94065157406}"/>
              </a:ext>
            </a:extLst>
          </p:cNvPr>
          <p:cNvSpPr>
            <a:spLocks noGrp="1"/>
          </p:cNvSpPr>
          <p:nvPr>
            <p:ph type="body" sz="quarter" idx="14"/>
          </p:nvPr>
        </p:nvSpPr>
        <p:spPr>
          <a:xfrm>
            <a:off x="550861" y="1808163"/>
            <a:ext cx="6966375" cy="4321175"/>
          </a:xfrm>
        </p:spPr>
        <p:txBody>
          <a:bodyPr/>
          <a:lstStyle/>
          <a:p>
            <a:pPr lvl="0"/>
            <a:r>
              <a:rPr lang="en-US"/>
              <a:t>Click to edit Master text styles</a:t>
            </a:r>
          </a:p>
          <a:p>
            <a:pPr lvl="1"/>
            <a:r>
              <a:rPr lang="en-US"/>
              <a:t>Second level</a:t>
            </a:r>
          </a:p>
          <a:p>
            <a:pPr lvl="2"/>
            <a:r>
              <a:rPr lang="en-US"/>
              <a:t>Third level</a:t>
            </a:r>
          </a:p>
          <a:p>
            <a:pPr lvl="3"/>
            <a:endParaRPr lang="en-GB"/>
          </a:p>
        </p:txBody>
      </p:sp>
      <p:sp>
        <p:nvSpPr>
          <p:cNvPr id="14" name="Text Placeholder 12">
            <a:extLst>
              <a:ext uri="{FF2B5EF4-FFF2-40B4-BE49-F238E27FC236}">
                <a16:creationId xmlns:a16="http://schemas.microsoft.com/office/drawing/2014/main" id="{71A5382E-8AB3-355B-234A-708ABEDECE8B}"/>
              </a:ext>
            </a:extLst>
          </p:cNvPr>
          <p:cNvSpPr>
            <a:spLocks noGrp="1"/>
          </p:cNvSpPr>
          <p:nvPr>
            <p:ph type="body" sz="quarter" idx="22" hasCustomPrompt="1"/>
          </p:nvPr>
        </p:nvSpPr>
        <p:spPr>
          <a:xfrm>
            <a:off x="8615421" y="627124"/>
            <a:ext cx="3024000" cy="1620837"/>
          </a:xfrm>
        </p:spPr>
        <p:txBody>
          <a:bodyPr anchor="b" anchorCtr="0"/>
          <a:lstStyle>
            <a:lvl1pPr marL="0" indent="0" algn="ctr">
              <a:buNone/>
              <a:defRPr sz="12000" spc="-300" baseline="0">
                <a:solidFill>
                  <a:schemeClr val="tx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0%</a:t>
            </a:r>
          </a:p>
        </p:txBody>
      </p:sp>
      <p:sp>
        <p:nvSpPr>
          <p:cNvPr id="15" name="Text Placeholder 12">
            <a:extLst>
              <a:ext uri="{FF2B5EF4-FFF2-40B4-BE49-F238E27FC236}">
                <a16:creationId xmlns:a16="http://schemas.microsoft.com/office/drawing/2014/main" id="{911B869A-ED46-587C-E1E8-2D7DE72DA99A}"/>
              </a:ext>
            </a:extLst>
          </p:cNvPr>
          <p:cNvSpPr>
            <a:spLocks noGrp="1"/>
          </p:cNvSpPr>
          <p:nvPr>
            <p:ph type="body" sz="quarter" idx="23"/>
          </p:nvPr>
        </p:nvSpPr>
        <p:spPr>
          <a:xfrm>
            <a:off x="8615421" y="2066987"/>
            <a:ext cx="3024000" cy="781200"/>
          </a:xfrm>
        </p:spPr>
        <p:txBody>
          <a:bodyPr/>
          <a:lstStyle>
            <a:lvl1pPr marL="0" indent="0" algn="ctr">
              <a:buNone/>
              <a:defRPr sz="1800">
                <a:solidFill>
                  <a:schemeClr val="tx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7" name="Text Placeholder 12">
            <a:extLst>
              <a:ext uri="{FF2B5EF4-FFF2-40B4-BE49-F238E27FC236}">
                <a16:creationId xmlns:a16="http://schemas.microsoft.com/office/drawing/2014/main" id="{3177569F-28AA-9243-A576-B7391466851E}"/>
              </a:ext>
            </a:extLst>
          </p:cNvPr>
          <p:cNvSpPr>
            <a:spLocks noGrp="1"/>
          </p:cNvSpPr>
          <p:nvPr>
            <p:ph type="body" sz="quarter" idx="21" hasCustomPrompt="1"/>
          </p:nvPr>
        </p:nvSpPr>
        <p:spPr>
          <a:xfrm>
            <a:off x="8615421" y="3906838"/>
            <a:ext cx="3024000" cy="1620837"/>
          </a:xfrm>
        </p:spPr>
        <p:txBody>
          <a:bodyPr anchor="b" anchorCtr="0"/>
          <a:lstStyle>
            <a:lvl1pPr marL="0" indent="0" algn="ctr">
              <a:buNone/>
              <a:defRPr sz="12000" spc="-300" baseline="0">
                <a:solidFill>
                  <a:schemeClr val="accent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0%</a:t>
            </a:r>
          </a:p>
        </p:txBody>
      </p:sp>
      <p:sp>
        <p:nvSpPr>
          <p:cNvPr id="10" name="Text Placeholder 12">
            <a:extLst>
              <a:ext uri="{FF2B5EF4-FFF2-40B4-BE49-F238E27FC236}">
                <a16:creationId xmlns:a16="http://schemas.microsoft.com/office/drawing/2014/main" id="{B0ABFDE5-ACBC-EA3C-F170-8930EE49A99B}"/>
              </a:ext>
            </a:extLst>
          </p:cNvPr>
          <p:cNvSpPr>
            <a:spLocks noGrp="1"/>
          </p:cNvSpPr>
          <p:nvPr>
            <p:ph type="body" sz="quarter" idx="16"/>
          </p:nvPr>
        </p:nvSpPr>
        <p:spPr>
          <a:xfrm>
            <a:off x="8615421" y="5346701"/>
            <a:ext cx="3024000" cy="782637"/>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Tree>
    <p:extLst>
      <p:ext uri="{BB962C8B-B14F-4D97-AF65-F5344CB8AC3E}">
        <p14:creationId xmlns:p14="http://schemas.microsoft.com/office/powerpoint/2010/main" val="360967910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x Columns / 2x Big Sta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E98E49A-5FC1-C240-F8BE-AC453CAF0766}"/>
              </a:ext>
              <a:ext uri="{C183D7F6-B498-43B3-948B-1728B52AA6E4}">
                <adec:decorative xmlns:adec="http://schemas.microsoft.com/office/drawing/2017/decorative" val="1"/>
              </a:ext>
            </a:extLst>
          </p:cNvPr>
          <p:cNvSpPr/>
          <p:nvPr userDrawn="1"/>
        </p:nvSpPr>
        <p:spPr>
          <a:xfrm rot="10800000">
            <a:off x="8040683" y="0"/>
            <a:ext cx="4151314" cy="3428999"/>
          </a:xfrm>
          <a:prstGeom prst="rect">
            <a:avLst/>
          </a:prstGeom>
          <a:gradFill>
            <a:gsLst>
              <a:gs pos="85000">
                <a:schemeClr val="accent1"/>
              </a:gs>
              <a:gs pos="15000">
                <a:schemeClr val="accent3"/>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5" name="Picture 14">
            <a:extLst>
              <a:ext uri="{FF2B5EF4-FFF2-40B4-BE49-F238E27FC236}">
                <a16:creationId xmlns:a16="http://schemas.microsoft.com/office/drawing/2014/main" id="{6EA90A8E-21EE-B1AB-3E54-90DA5E7A3E20}"/>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15951" r="15951"/>
          <a:stretch/>
        </p:blipFill>
        <p:spPr>
          <a:xfrm>
            <a:off x="8040689" y="3428999"/>
            <a:ext cx="4151312" cy="3429001"/>
          </a:xfrm>
          <a:prstGeom prst="rect">
            <a:avLst/>
          </a:prstGeom>
        </p:spPr>
      </p:pic>
      <p:sp>
        <p:nvSpPr>
          <p:cNvPr id="11" name="Title 1">
            <a:extLst>
              <a:ext uri="{FF2B5EF4-FFF2-40B4-BE49-F238E27FC236}">
                <a16:creationId xmlns:a16="http://schemas.microsoft.com/office/drawing/2014/main" id="{5F4A0393-5E31-B1D7-44B4-0AE64D41191E}"/>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12" name="Text Placeholder 9">
            <a:extLst>
              <a:ext uri="{FF2B5EF4-FFF2-40B4-BE49-F238E27FC236}">
                <a16:creationId xmlns:a16="http://schemas.microsoft.com/office/drawing/2014/main" id="{3EF12EEA-B717-A2D4-DD8A-8AD5480E07F4}"/>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E85E9EA0-2A22-199D-48CF-03EB94ECF487}"/>
              </a:ext>
            </a:extLst>
          </p:cNvPr>
          <p:cNvSpPr>
            <a:spLocks noGrp="1"/>
          </p:cNvSpPr>
          <p:nvPr>
            <p:ph type="body" sz="quarter" idx="14"/>
          </p:nvPr>
        </p:nvSpPr>
        <p:spPr>
          <a:xfrm>
            <a:off x="550864" y="1808163"/>
            <a:ext cx="3204000" cy="4321175"/>
          </a:xfrm>
        </p:spPr>
        <p:txBody>
          <a:bodyPr/>
          <a:lstStyle/>
          <a:p>
            <a:pPr lvl="0"/>
            <a:r>
              <a:rPr lang="en-US"/>
              <a:t>Click to 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269DCDE0-20E2-91A9-6591-26711B40C6C3}"/>
              </a:ext>
            </a:extLst>
          </p:cNvPr>
          <p:cNvSpPr>
            <a:spLocks noGrp="1"/>
          </p:cNvSpPr>
          <p:nvPr>
            <p:ph type="body" sz="quarter" idx="15"/>
          </p:nvPr>
        </p:nvSpPr>
        <p:spPr>
          <a:xfrm>
            <a:off x="4295774" y="1808163"/>
            <a:ext cx="3204000" cy="4321175"/>
          </a:xfrm>
        </p:spPr>
        <p:txBody>
          <a:bodyPr/>
          <a:lstStyle/>
          <a:p>
            <a:pPr lvl="0"/>
            <a:r>
              <a:rPr lang="en-US"/>
              <a:t>Click to edit Master text styles</a:t>
            </a:r>
          </a:p>
          <a:p>
            <a:pPr lvl="1"/>
            <a:r>
              <a:rPr lang="en-US"/>
              <a:t>Second level</a:t>
            </a:r>
          </a:p>
          <a:p>
            <a:pPr lvl="2"/>
            <a:r>
              <a:rPr lang="en-US"/>
              <a:t>Third level</a:t>
            </a:r>
          </a:p>
        </p:txBody>
      </p:sp>
      <p:sp>
        <p:nvSpPr>
          <p:cNvPr id="6" name="Text Placeholder 12">
            <a:extLst>
              <a:ext uri="{FF2B5EF4-FFF2-40B4-BE49-F238E27FC236}">
                <a16:creationId xmlns:a16="http://schemas.microsoft.com/office/drawing/2014/main" id="{1B23EB47-EA6A-4201-980F-A29FAC028C02}"/>
              </a:ext>
            </a:extLst>
          </p:cNvPr>
          <p:cNvSpPr>
            <a:spLocks noGrp="1"/>
          </p:cNvSpPr>
          <p:nvPr>
            <p:ph type="body" sz="quarter" idx="22" hasCustomPrompt="1"/>
          </p:nvPr>
        </p:nvSpPr>
        <p:spPr>
          <a:xfrm>
            <a:off x="8615421" y="627124"/>
            <a:ext cx="3024000" cy="1620837"/>
          </a:xfrm>
        </p:spPr>
        <p:txBody>
          <a:bodyPr anchor="b" anchorCtr="0"/>
          <a:lstStyle>
            <a:lvl1pPr marL="0" indent="0" algn="ctr">
              <a:buNone/>
              <a:defRPr sz="12000" spc="-300" baseline="0">
                <a:solidFill>
                  <a:schemeClr val="tx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0%</a:t>
            </a:r>
          </a:p>
        </p:txBody>
      </p:sp>
      <p:sp>
        <p:nvSpPr>
          <p:cNvPr id="7" name="Text Placeholder 12">
            <a:extLst>
              <a:ext uri="{FF2B5EF4-FFF2-40B4-BE49-F238E27FC236}">
                <a16:creationId xmlns:a16="http://schemas.microsoft.com/office/drawing/2014/main" id="{ADB540FA-D322-473E-8258-CEDC558D4B93}"/>
              </a:ext>
            </a:extLst>
          </p:cNvPr>
          <p:cNvSpPr>
            <a:spLocks noGrp="1"/>
          </p:cNvSpPr>
          <p:nvPr>
            <p:ph type="body" sz="quarter" idx="23"/>
          </p:nvPr>
        </p:nvSpPr>
        <p:spPr>
          <a:xfrm>
            <a:off x="8615421" y="2066987"/>
            <a:ext cx="3024000" cy="781200"/>
          </a:xfrm>
        </p:spPr>
        <p:txBody>
          <a:bodyPr/>
          <a:lstStyle>
            <a:lvl1pPr marL="0" indent="0" algn="ctr">
              <a:buNone/>
              <a:defRPr sz="1800">
                <a:solidFill>
                  <a:schemeClr val="tx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3906838"/>
            <a:ext cx="3024000" cy="1620837"/>
          </a:xfrm>
        </p:spPr>
        <p:txBody>
          <a:bodyPr anchor="b" anchorCtr="0"/>
          <a:lstStyle>
            <a:lvl1pPr marL="0" indent="0" algn="ctr">
              <a:buNone/>
              <a:defRPr sz="12000" spc="-300" baseline="0">
                <a:solidFill>
                  <a:schemeClr val="accent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0%</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5346701"/>
            <a:ext cx="3024000" cy="782637"/>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Tree>
    <p:extLst>
      <p:ext uri="{BB962C8B-B14F-4D97-AF65-F5344CB8AC3E}">
        <p14:creationId xmlns:p14="http://schemas.microsoft.com/office/powerpoint/2010/main" val="316882455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1 Light Image / 2x Big Sta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1AA0871-DF4F-3D16-30B1-C25E0C64F490}"/>
              </a:ext>
              <a:ext uri="{C183D7F6-B498-43B3-948B-1728B52AA6E4}">
                <adec:decorative xmlns:adec="http://schemas.microsoft.com/office/drawing/2017/decorative" val="1"/>
              </a:ext>
            </a:extLst>
          </p:cNvPr>
          <p:cNvSpPr/>
          <p:nvPr userDrawn="1"/>
        </p:nvSpPr>
        <p:spPr>
          <a:xfrm>
            <a:off x="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Picture Placeholder 13">
            <a:extLst>
              <a:ext uri="{FF2B5EF4-FFF2-40B4-BE49-F238E27FC236}">
                <a16:creationId xmlns:a16="http://schemas.microsoft.com/office/drawing/2014/main" id="{FEF45F75-B1CC-0822-712D-8D92F35698A9}"/>
              </a:ext>
              <a:ext uri="{C183D7F6-B498-43B3-948B-1728B52AA6E4}">
                <adec:decorative xmlns:adec="http://schemas.microsoft.com/office/drawing/2017/decorative" val="1"/>
              </a:ext>
            </a:extLst>
          </p:cNvPr>
          <p:cNvSpPr>
            <a:spLocks noGrp="1"/>
          </p:cNvSpPr>
          <p:nvPr>
            <p:ph type="pic" sz="quarter" idx="20" hasCustomPrompt="1"/>
          </p:nvPr>
        </p:nvSpPr>
        <p:spPr>
          <a:xfrm>
            <a:off x="0" y="0"/>
            <a:ext cx="8040688" cy="6858000"/>
          </a:xfrm>
          <a:custGeom>
            <a:avLst/>
            <a:gdLst>
              <a:gd name="connsiteX0" fmla="*/ 1579559 w 8040688"/>
              <a:gd name="connsiteY0" fmla="*/ 6496532 h 6858000"/>
              <a:gd name="connsiteX1" fmla="*/ 1579559 w 8040688"/>
              <a:gd name="connsiteY1" fmla="*/ 6505105 h 6858000"/>
              <a:gd name="connsiteX2" fmla="*/ 1555747 w 8040688"/>
              <a:gd name="connsiteY2" fmla="*/ 6527013 h 6858000"/>
              <a:gd name="connsiteX3" fmla="*/ 1538602 w 8040688"/>
              <a:gd name="connsiteY3" fmla="*/ 6512725 h 6858000"/>
              <a:gd name="connsiteX4" fmla="*/ 1555747 w 8040688"/>
              <a:gd name="connsiteY4" fmla="*/ 6499390 h 6858000"/>
              <a:gd name="connsiteX5" fmla="*/ 1569082 w 8040688"/>
              <a:gd name="connsiteY5" fmla="*/ 6499390 h 6858000"/>
              <a:gd name="connsiteX6" fmla="*/ 1579559 w 8040688"/>
              <a:gd name="connsiteY6" fmla="*/ 6496532 h 6858000"/>
              <a:gd name="connsiteX7" fmla="*/ 1162365 w 8040688"/>
              <a:gd name="connsiteY7" fmla="*/ 6496532 h 6858000"/>
              <a:gd name="connsiteX8" fmla="*/ 1162365 w 8040688"/>
              <a:gd name="connsiteY8" fmla="*/ 6505105 h 6858000"/>
              <a:gd name="connsiteX9" fmla="*/ 1138553 w 8040688"/>
              <a:gd name="connsiteY9" fmla="*/ 6527013 h 6858000"/>
              <a:gd name="connsiteX10" fmla="*/ 1121408 w 8040688"/>
              <a:gd name="connsiteY10" fmla="*/ 6512725 h 6858000"/>
              <a:gd name="connsiteX11" fmla="*/ 1138553 w 8040688"/>
              <a:gd name="connsiteY11" fmla="*/ 6499390 h 6858000"/>
              <a:gd name="connsiteX12" fmla="*/ 1151888 w 8040688"/>
              <a:gd name="connsiteY12" fmla="*/ 6499390 h 6858000"/>
              <a:gd name="connsiteX13" fmla="*/ 1162365 w 8040688"/>
              <a:gd name="connsiteY13" fmla="*/ 6496532 h 6858000"/>
              <a:gd name="connsiteX14" fmla="*/ 736599 w 8040688"/>
              <a:gd name="connsiteY14" fmla="*/ 6455574 h 6858000"/>
              <a:gd name="connsiteX15" fmla="*/ 619442 w 8040688"/>
              <a:gd name="connsiteY15" fmla="*/ 6523203 h 6858000"/>
              <a:gd name="connsiteX16" fmla="*/ 632777 w 8040688"/>
              <a:gd name="connsiteY16" fmla="*/ 6552731 h 6858000"/>
              <a:gd name="connsiteX17" fmla="*/ 646112 w 8040688"/>
              <a:gd name="connsiteY17" fmla="*/ 6571781 h 6858000"/>
              <a:gd name="connsiteX18" fmla="*/ 765174 w 8040688"/>
              <a:gd name="connsiteY18" fmla="*/ 6503200 h 6858000"/>
              <a:gd name="connsiteX19" fmla="*/ 736599 w 8040688"/>
              <a:gd name="connsiteY19" fmla="*/ 6455574 h 6858000"/>
              <a:gd name="connsiteX20" fmla="*/ 1781490 w 8040688"/>
              <a:gd name="connsiteY20" fmla="*/ 6452716 h 6858000"/>
              <a:gd name="connsiteX21" fmla="*/ 1808160 w 8040688"/>
              <a:gd name="connsiteY21" fmla="*/ 6474624 h 6858000"/>
              <a:gd name="connsiteX22" fmla="*/ 1753867 w 8040688"/>
              <a:gd name="connsiteY22" fmla="*/ 6474624 h 6858000"/>
              <a:gd name="connsiteX23" fmla="*/ 1781490 w 8040688"/>
              <a:gd name="connsiteY23" fmla="*/ 6452716 h 6858000"/>
              <a:gd name="connsiteX24" fmla="*/ 1309050 w 8040688"/>
              <a:gd name="connsiteY24" fmla="*/ 6426999 h 6858000"/>
              <a:gd name="connsiteX25" fmla="*/ 1309050 w 8040688"/>
              <a:gd name="connsiteY25" fmla="*/ 6456526 h 6858000"/>
              <a:gd name="connsiteX26" fmla="*/ 1326195 w 8040688"/>
              <a:gd name="connsiteY26" fmla="*/ 6456526 h 6858000"/>
              <a:gd name="connsiteX27" fmla="*/ 1326195 w 8040688"/>
              <a:gd name="connsiteY27" fmla="*/ 6548920 h 6858000"/>
              <a:gd name="connsiteX28" fmla="*/ 1360485 w 8040688"/>
              <a:gd name="connsiteY28" fmla="*/ 6548920 h 6858000"/>
              <a:gd name="connsiteX29" fmla="*/ 1360485 w 8040688"/>
              <a:gd name="connsiteY29" fmla="*/ 6426999 h 6858000"/>
              <a:gd name="connsiteX30" fmla="*/ 1372868 w 8040688"/>
              <a:gd name="connsiteY30" fmla="*/ 6426998 h 6858000"/>
              <a:gd name="connsiteX31" fmla="*/ 1414778 w 8040688"/>
              <a:gd name="connsiteY31" fmla="*/ 6548920 h 6858000"/>
              <a:gd name="connsiteX32" fmla="*/ 1457640 w 8040688"/>
              <a:gd name="connsiteY32" fmla="*/ 6548920 h 6858000"/>
              <a:gd name="connsiteX33" fmla="*/ 1501455 w 8040688"/>
              <a:gd name="connsiteY33" fmla="*/ 6426998 h 6858000"/>
              <a:gd name="connsiteX34" fmla="*/ 1465260 w 8040688"/>
              <a:gd name="connsiteY34" fmla="*/ 6426998 h 6858000"/>
              <a:gd name="connsiteX35" fmla="*/ 1437638 w 8040688"/>
              <a:gd name="connsiteY35" fmla="*/ 6511772 h 6858000"/>
              <a:gd name="connsiteX36" fmla="*/ 1410015 w 8040688"/>
              <a:gd name="connsiteY36" fmla="*/ 6426998 h 6858000"/>
              <a:gd name="connsiteX37" fmla="*/ 1781490 w 8040688"/>
              <a:gd name="connsiteY37" fmla="*/ 6425093 h 6858000"/>
              <a:gd name="connsiteX38" fmla="*/ 1718625 w 8040688"/>
              <a:gd name="connsiteY38" fmla="*/ 6488912 h 6858000"/>
              <a:gd name="connsiteX39" fmla="*/ 1782442 w 8040688"/>
              <a:gd name="connsiteY39" fmla="*/ 6552730 h 6858000"/>
              <a:gd name="connsiteX40" fmla="*/ 1843402 w 8040688"/>
              <a:gd name="connsiteY40" fmla="*/ 6514629 h 6858000"/>
              <a:gd name="connsiteX41" fmla="*/ 1807207 w 8040688"/>
              <a:gd name="connsiteY41" fmla="*/ 6510819 h 6858000"/>
              <a:gd name="connsiteX42" fmla="*/ 1782442 w 8040688"/>
              <a:gd name="connsiteY42" fmla="*/ 6523202 h 6858000"/>
              <a:gd name="connsiteX43" fmla="*/ 1754820 w 8040688"/>
              <a:gd name="connsiteY43" fmla="*/ 6498437 h 6858000"/>
              <a:gd name="connsiteX44" fmla="*/ 1845307 w 8040688"/>
              <a:gd name="connsiteY44" fmla="*/ 6498437 h 6858000"/>
              <a:gd name="connsiteX45" fmla="*/ 1845307 w 8040688"/>
              <a:gd name="connsiteY45" fmla="*/ 6497484 h 6858000"/>
              <a:gd name="connsiteX46" fmla="*/ 1781490 w 8040688"/>
              <a:gd name="connsiteY46" fmla="*/ 6425093 h 6858000"/>
              <a:gd name="connsiteX47" fmla="*/ 1282380 w 8040688"/>
              <a:gd name="connsiteY47" fmla="*/ 6425093 h 6858000"/>
              <a:gd name="connsiteX48" fmla="*/ 1250947 w 8040688"/>
              <a:gd name="connsiteY48" fmla="*/ 6446048 h 6858000"/>
              <a:gd name="connsiteX49" fmla="*/ 1250947 w 8040688"/>
              <a:gd name="connsiteY49" fmla="*/ 6426998 h 6858000"/>
              <a:gd name="connsiteX50" fmla="*/ 1217610 w 8040688"/>
              <a:gd name="connsiteY50" fmla="*/ 6426998 h 6858000"/>
              <a:gd name="connsiteX51" fmla="*/ 1217610 w 8040688"/>
              <a:gd name="connsiteY51" fmla="*/ 6548920 h 6858000"/>
              <a:gd name="connsiteX52" fmla="*/ 1251900 w 8040688"/>
              <a:gd name="connsiteY52" fmla="*/ 6548920 h 6858000"/>
              <a:gd name="connsiteX53" fmla="*/ 1251900 w 8040688"/>
              <a:gd name="connsiteY53" fmla="*/ 6490817 h 6858000"/>
              <a:gd name="connsiteX54" fmla="*/ 1277617 w 8040688"/>
              <a:gd name="connsiteY54" fmla="*/ 6461289 h 6858000"/>
              <a:gd name="connsiteX55" fmla="*/ 1291905 w 8040688"/>
              <a:gd name="connsiteY55" fmla="*/ 6461289 h 6858000"/>
              <a:gd name="connsiteX56" fmla="*/ 1291905 w 8040688"/>
              <a:gd name="connsiteY56" fmla="*/ 6426046 h 6858000"/>
              <a:gd name="connsiteX57" fmla="*/ 1282380 w 8040688"/>
              <a:gd name="connsiteY57" fmla="*/ 6425093 h 6858000"/>
              <a:gd name="connsiteX58" fmla="*/ 1562414 w 8040688"/>
              <a:gd name="connsiteY58" fmla="*/ 6424141 h 6858000"/>
              <a:gd name="connsiteX59" fmla="*/ 1510027 w 8040688"/>
              <a:gd name="connsiteY59" fmla="*/ 6439381 h 6858000"/>
              <a:gd name="connsiteX60" fmla="*/ 1523362 w 8040688"/>
              <a:gd name="connsiteY60" fmla="*/ 6465099 h 6858000"/>
              <a:gd name="connsiteX61" fmla="*/ 1559557 w 8040688"/>
              <a:gd name="connsiteY61" fmla="*/ 6453669 h 6858000"/>
              <a:gd name="connsiteX62" fmla="*/ 1579559 w 8040688"/>
              <a:gd name="connsiteY62" fmla="*/ 6467957 h 6858000"/>
              <a:gd name="connsiteX63" fmla="*/ 1580512 w 8040688"/>
              <a:gd name="connsiteY63" fmla="*/ 6468909 h 6858000"/>
              <a:gd name="connsiteX64" fmla="*/ 1571939 w 8040688"/>
              <a:gd name="connsiteY64" fmla="*/ 6476529 h 6858000"/>
              <a:gd name="connsiteX65" fmla="*/ 1548127 w 8040688"/>
              <a:gd name="connsiteY65" fmla="*/ 6476529 h 6858000"/>
              <a:gd name="connsiteX66" fmla="*/ 1504312 w 8040688"/>
              <a:gd name="connsiteY66" fmla="*/ 6513677 h 6858000"/>
              <a:gd name="connsiteX67" fmla="*/ 1547174 w 8040688"/>
              <a:gd name="connsiteY67" fmla="*/ 6551778 h 6858000"/>
              <a:gd name="connsiteX68" fmla="*/ 1581464 w 8040688"/>
              <a:gd name="connsiteY68" fmla="*/ 6537490 h 6858000"/>
              <a:gd name="connsiteX69" fmla="*/ 1581464 w 8040688"/>
              <a:gd name="connsiteY69" fmla="*/ 6548920 h 6858000"/>
              <a:gd name="connsiteX70" fmla="*/ 1615754 w 8040688"/>
              <a:gd name="connsiteY70" fmla="*/ 6548920 h 6858000"/>
              <a:gd name="connsiteX71" fmla="*/ 1615754 w 8040688"/>
              <a:gd name="connsiteY71" fmla="*/ 6468909 h 6858000"/>
              <a:gd name="connsiteX72" fmla="*/ 1562414 w 8040688"/>
              <a:gd name="connsiteY72" fmla="*/ 6424141 h 6858000"/>
              <a:gd name="connsiteX73" fmla="*/ 1145220 w 8040688"/>
              <a:gd name="connsiteY73" fmla="*/ 6424141 h 6858000"/>
              <a:gd name="connsiteX74" fmla="*/ 1092833 w 8040688"/>
              <a:gd name="connsiteY74" fmla="*/ 6439381 h 6858000"/>
              <a:gd name="connsiteX75" fmla="*/ 1106168 w 8040688"/>
              <a:gd name="connsiteY75" fmla="*/ 6465099 h 6858000"/>
              <a:gd name="connsiteX76" fmla="*/ 1142363 w 8040688"/>
              <a:gd name="connsiteY76" fmla="*/ 6453669 h 6858000"/>
              <a:gd name="connsiteX77" fmla="*/ 1162365 w 8040688"/>
              <a:gd name="connsiteY77" fmla="*/ 6467957 h 6858000"/>
              <a:gd name="connsiteX78" fmla="*/ 1163318 w 8040688"/>
              <a:gd name="connsiteY78" fmla="*/ 6468909 h 6858000"/>
              <a:gd name="connsiteX79" fmla="*/ 1154745 w 8040688"/>
              <a:gd name="connsiteY79" fmla="*/ 6476529 h 6858000"/>
              <a:gd name="connsiteX80" fmla="*/ 1130933 w 8040688"/>
              <a:gd name="connsiteY80" fmla="*/ 6476529 h 6858000"/>
              <a:gd name="connsiteX81" fmla="*/ 1087118 w 8040688"/>
              <a:gd name="connsiteY81" fmla="*/ 6513677 h 6858000"/>
              <a:gd name="connsiteX82" fmla="*/ 1129980 w 8040688"/>
              <a:gd name="connsiteY82" fmla="*/ 6551778 h 6858000"/>
              <a:gd name="connsiteX83" fmla="*/ 1164270 w 8040688"/>
              <a:gd name="connsiteY83" fmla="*/ 6537490 h 6858000"/>
              <a:gd name="connsiteX84" fmla="*/ 1164270 w 8040688"/>
              <a:gd name="connsiteY84" fmla="*/ 6548920 h 6858000"/>
              <a:gd name="connsiteX85" fmla="*/ 1198560 w 8040688"/>
              <a:gd name="connsiteY85" fmla="*/ 6548920 h 6858000"/>
              <a:gd name="connsiteX86" fmla="*/ 1198560 w 8040688"/>
              <a:gd name="connsiteY86" fmla="*/ 6468909 h 6858000"/>
              <a:gd name="connsiteX87" fmla="*/ 1145220 w 8040688"/>
              <a:gd name="connsiteY87" fmla="*/ 6424141 h 6858000"/>
              <a:gd name="connsiteX88" fmla="*/ 587056 w 8040688"/>
              <a:gd name="connsiteY88" fmla="*/ 6386040 h 6858000"/>
              <a:gd name="connsiteX89" fmla="*/ 564196 w 8040688"/>
              <a:gd name="connsiteY89" fmla="*/ 6386993 h 6858000"/>
              <a:gd name="connsiteX90" fmla="*/ 564196 w 8040688"/>
              <a:gd name="connsiteY90" fmla="*/ 6524155 h 6858000"/>
              <a:gd name="connsiteX91" fmla="*/ 587056 w 8040688"/>
              <a:gd name="connsiteY91" fmla="*/ 6526060 h 6858000"/>
              <a:gd name="connsiteX92" fmla="*/ 619441 w 8040688"/>
              <a:gd name="connsiteY92" fmla="*/ 6523202 h 6858000"/>
              <a:gd name="connsiteX93" fmla="*/ 613726 w 8040688"/>
              <a:gd name="connsiteY93" fmla="*/ 6406043 h 6858000"/>
              <a:gd name="connsiteX94" fmla="*/ 619441 w 8040688"/>
              <a:gd name="connsiteY94" fmla="*/ 6388898 h 6858000"/>
              <a:gd name="connsiteX95" fmla="*/ 587056 w 8040688"/>
              <a:gd name="connsiteY95" fmla="*/ 6386040 h 6858000"/>
              <a:gd name="connsiteX96" fmla="*/ 1647187 w 8040688"/>
              <a:gd name="connsiteY96" fmla="*/ 6381278 h 6858000"/>
              <a:gd name="connsiteX97" fmla="*/ 1647187 w 8040688"/>
              <a:gd name="connsiteY97" fmla="*/ 6427951 h 6858000"/>
              <a:gd name="connsiteX98" fmla="*/ 1628137 w 8040688"/>
              <a:gd name="connsiteY98" fmla="*/ 6427951 h 6858000"/>
              <a:gd name="connsiteX99" fmla="*/ 1628137 w 8040688"/>
              <a:gd name="connsiteY99" fmla="*/ 6457479 h 6858000"/>
              <a:gd name="connsiteX100" fmla="*/ 1647187 w 8040688"/>
              <a:gd name="connsiteY100" fmla="*/ 6457479 h 6858000"/>
              <a:gd name="connsiteX101" fmla="*/ 1647187 w 8040688"/>
              <a:gd name="connsiteY101" fmla="*/ 6524155 h 6858000"/>
              <a:gd name="connsiteX102" fmla="*/ 1682429 w 8040688"/>
              <a:gd name="connsiteY102" fmla="*/ 6551778 h 6858000"/>
              <a:gd name="connsiteX103" fmla="*/ 1709099 w 8040688"/>
              <a:gd name="connsiteY103" fmla="*/ 6549873 h 6858000"/>
              <a:gd name="connsiteX104" fmla="*/ 1709099 w 8040688"/>
              <a:gd name="connsiteY104" fmla="*/ 6520345 h 6858000"/>
              <a:gd name="connsiteX105" fmla="*/ 1692907 w 8040688"/>
              <a:gd name="connsiteY105" fmla="*/ 6520345 h 6858000"/>
              <a:gd name="connsiteX106" fmla="*/ 1681477 w 8040688"/>
              <a:gd name="connsiteY106" fmla="*/ 6511772 h 6858000"/>
              <a:gd name="connsiteX107" fmla="*/ 1681477 w 8040688"/>
              <a:gd name="connsiteY107" fmla="*/ 6456526 h 6858000"/>
              <a:gd name="connsiteX108" fmla="*/ 1708147 w 8040688"/>
              <a:gd name="connsiteY108" fmla="*/ 6456526 h 6858000"/>
              <a:gd name="connsiteX109" fmla="*/ 1708147 w 8040688"/>
              <a:gd name="connsiteY109" fmla="*/ 6426998 h 6858000"/>
              <a:gd name="connsiteX110" fmla="*/ 1681477 w 8040688"/>
              <a:gd name="connsiteY110" fmla="*/ 6426998 h 6858000"/>
              <a:gd name="connsiteX111" fmla="*/ 1681477 w 8040688"/>
              <a:gd name="connsiteY111" fmla="*/ 6381278 h 6858000"/>
              <a:gd name="connsiteX112" fmla="*/ 1341435 w 8040688"/>
              <a:gd name="connsiteY112" fmla="*/ 6363180 h 6858000"/>
              <a:gd name="connsiteX113" fmla="*/ 1319527 w 8040688"/>
              <a:gd name="connsiteY113" fmla="*/ 6385088 h 6858000"/>
              <a:gd name="connsiteX114" fmla="*/ 1341435 w 8040688"/>
              <a:gd name="connsiteY114" fmla="*/ 6406996 h 6858000"/>
              <a:gd name="connsiteX115" fmla="*/ 1363342 w 8040688"/>
              <a:gd name="connsiteY115" fmla="*/ 6385088 h 6858000"/>
              <a:gd name="connsiteX116" fmla="*/ 1341435 w 8040688"/>
              <a:gd name="connsiteY116" fmla="*/ 6363180 h 6858000"/>
              <a:gd name="connsiteX117" fmla="*/ 1032826 w 8040688"/>
              <a:gd name="connsiteY117" fmla="*/ 6363180 h 6858000"/>
              <a:gd name="connsiteX118" fmla="*/ 1032826 w 8040688"/>
              <a:gd name="connsiteY118" fmla="*/ 6548920 h 6858000"/>
              <a:gd name="connsiteX119" fmla="*/ 1067116 w 8040688"/>
              <a:gd name="connsiteY119" fmla="*/ 6548920 h 6858000"/>
              <a:gd name="connsiteX120" fmla="*/ 1067116 w 8040688"/>
              <a:gd name="connsiteY120" fmla="*/ 6363180 h 6858000"/>
              <a:gd name="connsiteX121" fmla="*/ 922336 w 8040688"/>
              <a:gd name="connsiteY121" fmla="*/ 6359370 h 6858000"/>
              <a:gd name="connsiteX122" fmla="*/ 825181 w 8040688"/>
              <a:gd name="connsiteY122" fmla="*/ 6455574 h 6858000"/>
              <a:gd name="connsiteX123" fmla="*/ 922336 w 8040688"/>
              <a:gd name="connsiteY123" fmla="*/ 6551778 h 6858000"/>
              <a:gd name="connsiteX124" fmla="*/ 1013776 w 8040688"/>
              <a:gd name="connsiteY124" fmla="*/ 6482244 h 6858000"/>
              <a:gd name="connsiteX125" fmla="*/ 973771 w 8040688"/>
              <a:gd name="connsiteY125" fmla="*/ 6482244 h 6858000"/>
              <a:gd name="connsiteX126" fmla="*/ 923288 w 8040688"/>
              <a:gd name="connsiteY126" fmla="*/ 6517488 h 6858000"/>
              <a:gd name="connsiteX127" fmla="*/ 865186 w 8040688"/>
              <a:gd name="connsiteY127" fmla="*/ 6455574 h 6858000"/>
              <a:gd name="connsiteX128" fmla="*/ 923288 w 8040688"/>
              <a:gd name="connsiteY128" fmla="*/ 6393661 h 6858000"/>
              <a:gd name="connsiteX129" fmla="*/ 972818 w 8040688"/>
              <a:gd name="connsiteY129" fmla="*/ 6428904 h 6858000"/>
              <a:gd name="connsiteX130" fmla="*/ 1013776 w 8040688"/>
              <a:gd name="connsiteY130" fmla="*/ 6428904 h 6858000"/>
              <a:gd name="connsiteX131" fmla="*/ 922336 w 8040688"/>
              <a:gd name="connsiteY131" fmla="*/ 6359370 h 6858000"/>
              <a:gd name="connsiteX132" fmla="*/ 646112 w 8040688"/>
              <a:gd name="connsiteY132" fmla="*/ 6339367 h 6858000"/>
              <a:gd name="connsiteX133" fmla="*/ 619442 w 8040688"/>
              <a:gd name="connsiteY133" fmla="*/ 6387945 h 6858000"/>
              <a:gd name="connsiteX134" fmla="*/ 735647 w 8040688"/>
              <a:gd name="connsiteY134" fmla="*/ 6455574 h 6858000"/>
              <a:gd name="connsiteX135" fmla="*/ 764222 w 8040688"/>
              <a:gd name="connsiteY135" fmla="*/ 6407948 h 6858000"/>
              <a:gd name="connsiteX136" fmla="*/ 646112 w 8040688"/>
              <a:gd name="connsiteY136" fmla="*/ 6339367 h 6858000"/>
              <a:gd name="connsiteX137" fmla="*/ 0 w 8040688"/>
              <a:gd name="connsiteY137" fmla="*/ 0 h 6858000"/>
              <a:gd name="connsiteX138" fmla="*/ 8040688 w 8040688"/>
              <a:gd name="connsiteY138" fmla="*/ 0 h 6858000"/>
              <a:gd name="connsiteX139" fmla="*/ 8040688 w 8040688"/>
              <a:gd name="connsiteY139" fmla="*/ 6858000 h 6858000"/>
              <a:gd name="connsiteX140" fmla="*/ 0 w 8040688"/>
              <a:gd name="connsiteY14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8040688" h="6858000">
                <a:moveTo>
                  <a:pt x="1579559" y="6496532"/>
                </a:moveTo>
                <a:lnTo>
                  <a:pt x="1579559" y="6505105"/>
                </a:lnTo>
                <a:cubicBezTo>
                  <a:pt x="1579559" y="6520345"/>
                  <a:pt x="1566224" y="6527013"/>
                  <a:pt x="1555747" y="6527013"/>
                </a:cubicBezTo>
                <a:cubicBezTo>
                  <a:pt x="1545269" y="6527013"/>
                  <a:pt x="1538602" y="6521298"/>
                  <a:pt x="1538602" y="6512725"/>
                </a:cubicBezTo>
                <a:cubicBezTo>
                  <a:pt x="1538602" y="6504152"/>
                  <a:pt x="1545269" y="6499390"/>
                  <a:pt x="1555747" y="6499390"/>
                </a:cubicBezTo>
                <a:lnTo>
                  <a:pt x="1569082" y="6499390"/>
                </a:lnTo>
                <a:cubicBezTo>
                  <a:pt x="1573844" y="6499390"/>
                  <a:pt x="1577654" y="6498437"/>
                  <a:pt x="1579559" y="6496532"/>
                </a:cubicBezTo>
                <a:close/>
                <a:moveTo>
                  <a:pt x="1162365" y="6496532"/>
                </a:moveTo>
                <a:lnTo>
                  <a:pt x="1162365" y="6505105"/>
                </a:lnTo>
                <a:cubicBezTo>
                  <a:pt x="1162365" y="6520345"/>
                  <a:pt x="1149030" y="6527013"/>
                  <a:pt x="1138553" y="6527013"/>
                </a:cubicBezTo>
                <a:cubicBezTo>
                  <a:pt x="1128075" y="6527013"/>
                  <a:pt x="1121408" y="6521298"/>
                  <a:pt x="1121408" y="6512725"/>
                </a:cubicBezTo>
                <a:cubicBezTo>
                  <a:pt x="1121408" y="6504152"/>
                  <a:pt x="1128075" y="6499390"/>
                  <a:pt x="1138553" y="6499390"/>
                </a:cubicBezTo>
                <a:lnTo>
                  <a:pt x="1151888" y="6499390"/>
                </a:lnTo>
                <a:cubicBezTo>
                  <a:pt x="1156650" y="6499390"/>
                  <a:pt x="1160460" y="6498437"/>
                  <a:pt x="1162365" y="6496532"/>
                </a:cubicBezTo>
                <a:close/>
                <a:moveTo>
                  <a:pt x="736599" y="6455574"/>
                </a:moveTo>
                <a:cubicBezTo>
                  <a:pt x="707072" y="6490817"/>
                  <a:pt x="666114" y="6515582"/>
                  <a:pt x="619442" y="6523203"/>
                </a:cubicBezTo>
                <a:cubicBezTo>
                  <a:pt x="623252" y="6532728"/>
                  <a:pt x="628014" y="6543205"/>
                  <a:pt x="632777" y="6552731"/>
                </a:cubicBezTo>
                <a:cubicBezTo>
                  <a:pt x="636587" y="6559398"/>
                  <a:pt x="641349" y="6566066"/>
                  <a:pt x="646112" y="6571781"/>
                </a:cubicBezTo>
                <a:cubicBezTo>
                  <a:pt x="691832" y="6560351"/>
                  <a:pt x="732789" y="6536538"/>
                  <a:pt x="765174" y="6503200"/>
                </a:cubicBezTo>
                <a:cubicBezTo>
                  <a:pt x="757554" y="6486054"/>
                  <a:pt x="748029" y="6469862"/>
                  <a:pt x="736599" y="6455574"/>
                </a:cubicBezTo>
                <a:close/>
                <a:moveTo>
                  <a:pt x="1781490" y="6452716"/>
                </a:moveTo>
                <a:cubicBezTo>
                  <a:pt x="1795777" y="6452716"/>
                  <a:pt x="1806255" y="6462241"/>
                  <a:pt x="1808160" y="6474624"/>
                </a:cubicBezTo>
                <a:lnTo>
                  <a:pt x="1753867" y="6474624"/>
                </a:lnTo>
                <a:cubicBezTo>
                  <a:pt x="1756725" y="6461289"/>
                  <a:pt x="1767202" y="6452716"/>
                  <a:pt x="1781490" y="6452716"/>
                </a:cubicBezTo>
                <a:close/>
                <a:moveTo>
                  <a:pt x="1309050" y="6426999"/>
                </a:moveTo>
                <a:lnTo>
                  <a:pt x="1309050" y="6456526"/>
                </a:lnTo>
                <a:lnTo>
                  <a:pt x="1326195" y="6456526"/>
                </a:lnTo>
                <a:lnTo>
                  <a:pt x="1326195" y="6548920"/>
                </a:lnTo>
                <a:lnTo>
                  <a:pt x="1360485" y="6548920"/>
                </a:lnTo>
                <a:lnTo>
                  <a:pt x="1360485" y="6426999"/>
                </a:lnTo>
                <a:close/>
                <a:moveTo>
                  <a:pt x="1372868" y="6426998"/>
                </a:moveTo>
                <a:lnTo>
                  <a:pt x="1414778" y="6548920"/>
                </a:lnTo>
                <a:lnTo>
                  <a:pt x="1457640" y="6548920"/>
                </a:lnTo>
                <a:lnTo>
                  <a:pt x="1501455" y="6426998"/>
                </a:lnTo>
                <a:lnTo>
                  <a:pt x="1465260" y="6426998"/>
                </a:lnTo>
                <a:lnTo>
                  <a:pt x="1437638" y="6511772"/>
                </a:lnTo>
                <a:lnTo>
                  <a:pt x="1410015" y="6426998"/>
                </a:lnTo>
                <a:close/>
                <a:moveTo>
                  <a:pt x="1781490" y="6425093"/>
                </a:moveTo>
                <a:cubicBezTo>
                  <a:pt x="1745295" y="6425093"/>
                  <a:pt x="1718625" y="6451763"/>
                  <a:pt x="1718625" y="6488912"/>
                </a:cubicBezTo>
                <a:cubicBezTo>
                  <a:pt x="1718625" y="6526060"/>
                  <a:pt x="1754820" y="6552730"/>
                  <a:pt x="1782442" y="6552730"/>
                </a:cubicBezTo>
                <a:cubicBezTo>
                  <a:pt x="1810065" y="6552730"/>
                  <a:pt x="1832925" y="6540347"/>
                  <a:pt x="1843402" y="6514629"/>
                </a:cubicBezTo>
                <a:lnTo>
                  <a:pt x="1807207" y="6510819"/>
                </a:lnTo>
                <a:cubicBezTo>
                  <a:pt x="1802445" y="6518439"/>
                  <a:pt x="1797682" y="6523202"/>
                  <a:pt x="1782442" y="6523202"/>
                </a:cubicBezTo>
                <a:cubicBezTo>
                  <a:pt x="1767202" y="6523202"/>
                  <a:pt x="1756725" y="6511772"/>
                  <a:pt x="1754820" y="6498437"/>
                </a:cubicBezTo>
                <a:lnTo>
                  <a:pt x="1845307" y="6498437"/>
                </a:lnTo>
                <a:lnTo>
                  <a:pt x="1845307" y="6497484"/>
                </a:lnTo>
                <a:cubicBezTo>
                  <a:pt x="1845307" y="6447001"/>
                  <a:pt x="1817685" y="6425093"/>
                  <a:pt x="1781490" y="6425093"/>
                </a:cubicBezTo>
                <a:close/>
                <a:moveTo>
                  <a:pt x="1282380" y="6425093"/>
                </a:moveTo>
                <a:cubicBezTo>
                  <a:pt x="1267140" y="6425093"/>
                  <a:pt x="1255710" y="6432713"/>
                  <a:pt x="1250947" y="6446048"/>
                </a:cubicBezTo>
                <a:lnTo>
                  <a:pt x="1250947" y="6426998"/>
                </a:lnTo>
                <a:lnTo>
                  <a:pt x="1217610" y="6426998"/>
                </a:lnTo>
                <a:lnTo>
                  <a:pt x="1217610" y="6548920"/>
                </a:lnTo>
                <a:lnTo>
                  <a:pt x="1251900" y="6548920"/>
                </a:lnTo>
                <a:lnTo>
                  <a:pt x="1251900" y="6490817"/>
                </a:lnTo>
                <a:cubicBezTo>
                  <a:pt x="1251900" y="6469861"/>
                  <a:pt x="1260472" y="6461289"/>
                  <a:pt x="1277617" y="6461289"/>
                </a:cubicBezTo>
                <a:lnTo>
                  <a:pt x="1291905" y="6461289"/>
                </a:lnTo>
                <a:cubicBezTo>
                  <a:pt x="1291905" y="6461289"/>
                  <a:pt x="1291905" y="6426046"/>
                  <a:pt x="1291905" y="6426046"/>
                </a:cubicBezTo>
                <a:cubicBezTo>
                  <a:pt x="1289047" y="6425093"/>
                  <a:pt x="1297620" y="6425093"/>
                  <a:pt x="1282380" y="6425093"/>
                </a:cubicBezTo>
                <a:close/>
                <a:moveTo>
                  <a:pt x="1562414" y="6424141"/>
                </a:moveTo>
                <a:cubicBezTo>
                  <a:pt x="1532887" y="6424141"/>
                  <a:pt x="1510027" y="6439381"/>
                  <a:pt x="1510027" y="6439381"/>
                </a:cubicBezTo>
                <a:lnTo>
                  <a:pt x="1523362" y="6465099"/>
                </a:lnTo>
                <a:cubicBezTo>
                  <a:pt x="1531934" y="6459384"/>
                  <a:pt x="1546222" y="6453669"/>
                  <a:pt x="1559557" y="6453669"/>
                </a:cubicBezTo>
                <a:cubicBezTo>
                  <a:pt x="1572892" y="6453669"/>
                  <a:pt x="1579559" y="6459384"/>
                  <a:pt x="1579559" y="6467957"/>
                </a:cubicBezTo>
                <a:lnTo>
                  <a:pt x="1580512" y="6468909"/>
                </a:lnTo>
                <a:cubicBezTo>
                  <a:pt x="1580512" y="6473672"/>
                  <a:pt x="1577654" y="6476529"/>
                  <a:pt x="1571939" y="6476529"/>
                </a:cubicBezTo>
                <a:lnTo>
                  <a:pt x="1548127" y="6476529"/>
                </a:lnTo>
                <a:cubicBezTo>
                  <a:pt x="1521457" y="6476529"/>
                  <a:pt x="1504312" y="6493675"/>
                  <a:pt x="1504312" y="6513677"/>
                </a:cubicBezTo>
                <a:cubicBezTo>
                  <a:pt x="1504312" y="6533680"/>
                  <a:pt x="1521457" y="6551778"/>
                  <a:pt x="1547174" y="6551778"/>
                </a:cubicBezTo>
                <a:cubicBezTo>
                  <a:pt x="1561462" y="6551778"/>
                  <a:pt x="1574797" y="6547015"/>
                  <a:pt x="1581464" y="6537490"/>
                </a:cubicBezTo>
                <a:lnTo>
                  <a:pt x="1581464" y="6548920"/>
                </a:lnTo>
                <a:lnTo>
                  <a:pt x="1615754" y="6548920"/>
                </a:lnTo>
                <a:lnTo>
                  <a:pt x="1615754" y="6468909"/>
                </a:lnTo>
                <a:cubicBezTo>
                  <a:pt x="1615754" y="6436524"/>
                  <a:pt x="1591942" y="6424141"/>
                  <a:pt x="1562414" y="6424141"/>
                </a:cubicBezTo>
                <a:close/>
                <a:moveTo>
                  <a:pt x="1145220" y="6424141"/>
                </a:moveTo>
                <a:cubicBezTo>
                  <a:pt x="1115693" y="6424141"/>
                  <a:pt x="1092833" y="6439381"/>
                  <a:pt x="1092833" y="6439381"/>
                </a:cubicBezTo>
                <a:lnTo>
                  <a:pt x="1106168" y="6465099"/>
                </a:lnTo>
                <a:cubicBezTo>
                  <a:pt x="1114740" y="6459384"/>
                  <a:pt x="1129028" y="6453669"/>
                  <a:pt x="1142363" y="6453669"/>
                </a:cubicBezTo>
                <a:cubicBezTo>
                  <a:pt x="1155698" y="6453669"/>
                  <a:pt x="1162365" y="6459384"/>
                  <a:pt x="1162365" y="6467957"/>
                </a:cubicBezTo>
                <a:lnTo>
                  <a:pt x="1163318" y="6468909"/>
                </a:lnTo>
                <a:cubicBezTo>
                  <a:pt x="1163318" y="6473672"/>
                  <a:pt x="1160460" y="6476529"/>
                  <a:pt x="1154745" y="6476529"/>
                </a:cubicBezTo>
                <a:lnTo>
                  <a:pt x="1130933" y="6476529"/>
                </a:lnTo>
                <a:cubicBezTo>
                  <a:pt x="1104263" y="6476529"/>
                  <a:pt x="1087118" y="6493675"/>
                  <a:pt x="1087118" y="6513677"/>
                </a:cubicBezTo>
                <a:cubicBezTo>
                  <a:pt x="1087118" y="6533680"/>
                  <a:pt x="1104263" y="6551778"/>
                  <a:pt x="1129980" y="6551778"/>
                </a:cubicBezTo>
                <a:cubicBezTo>
                  <a:pt x="1144268" y="6551778"/>
                  <a:pt x="1157603" y="6547015"/>
                  <a:pt x="1164270" y="6537490"/>
                </a:cubicBezTo>
                <a:lnTo>
                  <a:pt x="1164270" y="6548920"/>
                </a:lnTo>
                <a:lnTo>
                  <a:pt x="1198560" y="6548920"/>
                </a:lnTo>
                <a:lnTo>
                  <a:pt x="1198560" y="6468909"/>
                </a:lnTo>
                <a:cubicBezTo>
                  <a:pt x="1198560" y="6436524"/>
                  <a:pt x="1174748" y="6424141"/>
                  <a:pt x="1145220" y="6424141"/>
                </a:cubicBezTo>
                <a:close/>
                <a:moveTo>
                  <a:pt x="587056" y="6386040"/>
                </a:moveTo>
                <a:cubicBezTo>
                  <a:pt x="575626" y="6386040"/>
                  <a:pt x="571816" y="6386040"/>
                  <a:pt x="564196" y="6386993"/>
                </a:cubicBezTo>
                <a:cubicBezTo>
                  <a:pt x="551814" y="6430808"/>
                  <a:pt x="550861" y="6478434"/>
                  <a:pt x="564196" y="6524155"/>
                </a:cubicBezTo>
                <a:cubicBezTo>
                  <a:pt x="571816" y="6524155"/>
                  <a:pt x="579436" y="6526060"/>
                  <a:pt x="587056" y="6526060"/>
                </a:cubicBezTo>
                <a:cubicBezTo>
                  <a:pt x="598486" y="6526060"/>
                  <a:pt x="608964" y="6525107"/>
                  <a:pt x="619441" y="6523202"/>
                </a:cubicBezTo>
                <a:cubicBezTo>
                  <a:pt x="605154" y="6486054"/>
                  <a:pt x="603249" y="6445096"/>
                  <a:pt x="613726" y="6406043"/>
                </a:cubicBezTo>
                <a:cubicBezTo>
                  <a:pt x="615631" y="6400328"/>
                  <a:pt x="617536" y="6394613"/>
                  <a:pt x="619441" y="6388898"/>
                </a:cubicBezTo>
                <a:cubicBezTo>
                  <a:pt x="608964" y="6386993"/>
                  <a:pt x="598486" y="6386040"/>
                  <a:pt x="587056" y="6386040"/>
                </a:cubicBezTo>
                <a:close/>
                <a:moveTo>
                  <a:pt x="1647187" y="6381278"/>
                </a:moveTo>
                <a:lnTo>
                  <a:pt x="1647187" y="6427951"/>
                </a:lnTo>
                <a:lnTo>
                  <a:pt x="1628137" y="6427951"/>
                </a:lnTo>
                <a:lnTo>
                  <a:pt x="1628137" y="6457479"/>
                </a:lnTo>
                <a:lnTo>
                  <a:pt x="1647187" y="6457479"/>
                </a:lnTo>
                <a:lnTo>
                  <a:pt x="1647187" y="6524155"/>
                </a:lnTo>
                <a:cubicBezTo>
                  <a:pt x="1647187" y="6548920"/>
                  <a:pt x="1665284" y="6551778"/>
                  <a:pt x="1682429" y="6551778"/>
                </a:cubicBezTo>
                <a:cubicBezTo>
                  <a:pt x="1691954" y="6551778"/>
                  <a:pt x="1709099" y="6549873"/>
                  <a:pt x="1709099" y="6549873"/>
                </a:cubicBezTo>
                <a:lnTo>
                  <a:pt x="1709099" y="6520345"/>
                </a:lnTo>
                <a:cubicBezTo>
                  <a:pt x="1709099" y="6520345"/>
                  <a:pt x="1701479" y="6520345"/>
                  <a:pt x="1692907" y="6520345"/>
                </a:cubicBezTo>
                <a:cubicBezTo>
                  <a:pt x="1687192" y="6520345"/>
                  <a:pt x="1681477" y="6519392"/>
                  <a:pt x="1681477" y="6511772"/>
                </a:cubicBezTo>
                <a:lnTo>
                  <a:pt x="1681477" y="6456526"/>
                </a:lnTo>
                <a:lnTo>
                  <a:pt x="1708147" y="6456526"/>
                </a:lnTo>
                <a:lnTo>
                  <a:pt x="1708147" y="6426998"/>
                </a:lnTo>
                <a:lnTo>
                  <a:pt x="1681477" y="6426998"/>
                </a:lnTo>
                <a:lnTo>
                  <a:pt x="1681477" y="6381278"/>
                </a:lnTo>
                <a:close/>
                <a:moveTo>
                  <a:pt x="1341435" y="6363180"/>
                </a:moveTo>
                <a:cubicBezTo>
                  <a:pt x="1329052" y="6363180"/>
                  <a:pt x="1319527" y="6372705"/>
                  <a:pt x="1319527" y="6385088"/>
                </a:cubicBezTo>
                <a:cubicBezTo>
                  <a:pt x="1319527" y="6397471"/>
                  <a:pt x="1329052" y="6406996"/>
                  <a:pt x="1341435" y="6406996"/>
                </a:cubicBezTo>
                <a:cubicBezTo>
                  <a:pt x="1353817" y="6406996"/>
                  <a:pt x="1363342" y="6396518"/>
                  <a:pt x="1363342" y="6385088"/>
                </a:cubicBezTo>
                <a:cubicBezTo>
                  <a:pt x="1363342" y="6373658"/>
                  <a:pt x="1353817" y="6363180"/>
                  <a:pt x="1341435" y="6363180"/>
                </a:cubicBezTo>
                <a:close/>
                <a:moveTo>
                  <a:pt x="1032826" y="6363180"/>
                </a:moveTo>
                <a:lnTo>
                  <a:pt x="1032826" y="6548920"/>
                </a:lnTo>
                <a:lnTo>
                  <a:pt x="1067116" y="6548920"/>
                </a:lnTo>
                <a:lnTo>
                  <a:pt x="1067116" y="6363180"/>
                </a:lnTo>
                <a:close/>
                <a:moveTo>
                  <a:pt x="922336" y="6359370"/>
                </a:moveTo>
                <a:cubicBezTo>
                  <a:pt x="867091" y="6359370"/>
                  <a:pt x="825181" y="6399376"/>
                  <a:pt x="825181" y="6455574"/>
                </a:cubicBezTo>
                <a:cubicBezTo>
                  <a:pt x="825181" y="6511772"/>
                  <a:pt x="880426" y="6551778"/>
                  <a:pt x="922336" y="6551778"/>
                </a:cubicBezTo>
                <a:cubicBezTo>
                  <a:pt x="964246" y="6551778"/>
                  <a:pt x="1003298" y="6526060"/>
                  <a:pt x="1013776" y="6482244"/>
                </a:cubicBezTo>
                <a:lnTo>
                  <a:pt x="973771" y="6482244"/>
                </a:lnTo>
                <a:cubicBezTo>
                  <a:pt x="967103" y="6504152"/>
                  <a:pt x="948053" y="6517488"/>
                  <a:pt x="923288" y="6517488"/>
                </a:cubicBezTo>
                <a:cubicBezTo>
                  <a:pt x="888046" y="6517488"/>
                  <a:pt x="865186" y="6490817"/>
                  <a:pt x="865186" y="6455574"/>
                </a:cubicBezTo>
                <a:cubicBezTo>
                  <a:pt x="865186" y="6420331"/>
                  <a:pt x="888046" y="6393661"/>
                  <a:pt x="923288" y="6393661"/>
                </a:cubicBezTo>
                <a:cubicBezTo>
                  <a:pt x="947101" y="6393661"/>
                  <a:pt x="966151" y="6406996"/>
                  <a:pt x="972818" y="6428904"/>
                </a:cubicBezTo>
                <a:lnTo>
                  <a:pt x="1013776" y="6428904"/>
                </a:lnTo>
                <a:cubicBezTo>
                  <a:pt x="1002346" y="6385088"/>
                  <a:pt x="977581" y="6359370"/>
                  <a:pt x="922336" y="6359370"/>
                </a:cubicBezTo>
                <a:close/>
                <a:moveTo>
                  <a:pt x="646112" y="6339367"/>
                </a:moveTo>
                <a:cubicBezTo>
                  <a:pt x="634682" y="6354607"/>
                  <a:pt x="626109" y="6370800"/>
                  <a:pt x="619442" y="6387945"/>
                </a:cubicBezTo>
                <a:cubicBezTo>
                  <a:pt x="666114" y="6395565"/>
                  <a:pt x="707072" y="6420331"/>
                  <a:pt x="735647" y="6455574"/>
                </a:cubicBezTo>
                <a:cubicBezTo>
                  <a:pt x="747077" y="6441286"/>
                  <a:pt x="757554" y="6425093"/>
                  <a:pt x="764222" y="6407948"/>
                </a:cubicBezTo>
                <a:cubicBezTo>
                  <a:pt x="732789" y="6375563"/>
                  <a:pt x="691832" y="6350797"/>
                  <a:pt x="646112" y="6339367"/>
                </a:cubicBezTo>
                <a:close/>
                <a:moveTo>
                  <a:pt x="0" y="0"/>
                </a:moveTo>
                <a:lnTo>
                  <a:pt x="8040688" y="0"/>
                </a:lnTo>
                <a:lnTo>
                  <a:pt x="8040688" y="6858000"/>
                </a:lnTo>
                <a:lnTo>
                  <a:pt x="0" y="6858000"/>
                </a:lnTo>
                <a:close/>
              </a:path>
            </a:pathLst>
          </a:custGeom>
          <a:solidFill>
            <a:schemeClr val="bg1">
              <a:lumMod val="95000"/>
            </a:schemeClr>
          </a:solidFill>
          <a:ln>
            <a:noFill/>
          </a:ln>
        </p:spPr>
        <p:txBody>
          <a:bodyPr wrap="square" tIns="180000" anchor="t" anchorCtr="0">
            <a:noAutofit/>
          </a:bodyPr>
          <a:lstStyle>
            <a:lvl1pPr marL="0" indent="0" algn="ctr">
              <a:buNone/>
              <a:defRPr sz="1000">
                <a:solidFill>
                  <a:schemeClr val="accent2"/>
                </a:solidFill>
                <a:latin typeface="+mn-lt"/>
              </a:defRPr>
            </a:lvl1pPr>
          </a:lstStyle>
          <a:p>
            <a:pPr lvl="0"/>
            <a:r>
              <a:rPr lang="en-US"/>
              <a:t>Drag picture file here or click </a:t>
            </a:r>
            <a:r>
              <a:rPr lang="en-GB" noProof="0"/>
              <a:t>center</a:t>
            </a:r>
            <a:r>
              <a:rPr lang="en-US"/>
              <a:t> icon to insert light image</a:t>
            </a:r>
          </a:p>
        </p:txBody>
      </p:sp>
      <p:sp>
        <p:nvSpPr>
          <p:cNvPr id="6" name="Rectangle 5">
            <a:extLst>
              <a:ext uri="{FF2B5EF4-FFF2-40B4-BE49-F238E27FC236}">
                <a16:creationId xmlns:a16="http://schemas.microsoft.com/office/drawing/2014/main" id="{FADCDF42-4795-B9BB-A09E-30C7785EE34D}"/>
              </a:ext>
              <a:ext uri="{C183D7F6-B498-43B3-948B-1728B52AA6E4}">
                <adec:decorative xmlns:adec="http://schemas.microsoft.com/office/drawing/2017/decorative" val="1"/>
              </a:ext>
            </a:extLst>
          </p:cNvPr>
          <p:cNvSpPr/>
          <p:nvPr userDrawn="1"/>
        </p:nvSpPr>
        <p:spPr>
          <a:xfrm rot="10800000">
            <a:off x="8040683" y="0"/>
            <a:ext cx="4151314" cy="3428999"/>
          </a:xfrm>
          <a:prstGeom prst="rect">
            <a:avLst/>
          </a:prstGeom>
          <a:gradFill>
            <a:gsLst>
              <a:gs pos="85000">
                <a:schemeClr val="accent1"/>
              </a:gs>
              <a:gs pos="15000">
                <a:schemeClr val="accent3"/>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 name="Picture 7">
            <a:extLst>
              <a:ext uri="{FF2B5EF4-FFF2-40B4-BE49-F238E27FC236}">
                <a16:creationId xmlns:a16="http://schemas.microsoft.com/office/drawing/2014/main" id="{1FF2E5A3-55A9-35F4-3B8B-B4FDDD908EF8}"/>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15951" r="15951"/>
          <a:stretch/>
        </p:blipFill>
        <p:spPr>
          <a:xfrm>
            <a:off x="8040689" y="3428999"/>
            <a:ext cx="4151312" cy="3429001"/>
          </a:xfrm>
          <a:prstGeom prst="rect">
            <a:avLst/>
          </a:prstGeom>
        </p:spPr>
      </p:pic>
      <p:sp>
        <p:nvSpPr>
          <p:cNvPr id="12" name="Text Placeholder 12">
            <a:extLst>
              <a:ext uri="{FF2B5EF4-FFF2-40B4-BE49-F238E27FC236}">
                <a16:creationId xmlns:a16="http://schemas.microsoft.com/office/drawing/2014/main" id="{294BFB3D-8653-F8BB-E3B2-7D7BFC091DBB}"/>
              </a:ext>
            </a:extLst>
          </p:cNvPr>
          <p:cNvSpPr>
            <a:spLocks noGrp="1"/>
          </p:cNvSpPr>
          <p:nvPr>
            <p:ph type="body" sz="quarter" idx="22" hasCustomPrompt="1"/>
          </p:nvPr>
        </p:nvSpPr>
        <p:spPr>
          <a:xfrm>
            <a:off x="8615421" y="627124"/>
            <a:ext cx="3024000" cy="1620837"/>
          </a:xfrm>
        </p:spPr>
        <p:txBody>
          <a:bodyPr anchor="b" anchorCtr="0"/>
          <a:lstStyle>
            <a:lvl1pPr marL="0" indent="0" algn="ctr">
              <a:buNone/>
              <a:defRPr sz="12000" spc="-300" baseline="0">
                <a:solidFill>
                  <a:schemeClr val="tx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0%</a:t>
            </a:r>
          </a:p>
        </p:txBody>
      </p:sp>
      <p:sp>
        <p:nvSpPr>
          <p:cNvPr id="13" name="Text Placeholder 12">
            <a:extLst>
              <a:ext uri="{FF2B5EF4-FFF2-40B4-BE49-F238E27FC236}">
                <a16:creationId xmlns:a16="http://schemas.microsoft.com/office/drawing/2014/main" id="{2415A28B-D58E-716B-17B3-97619E7F95AB}"/>
              </a:ext>
            </a:extLst>
          </p:cNvPr>
          <p:cNvSpPr>
            <a:spLocks noGrp="1"/>
          </p:cNvSpPr>
          <p:nvPr>
            <p:ph type="body" sz="quarter" idx="23"/>
          </p:nvPr>
        </p:nvSpPr>
        <p:spPr>
          <a:xfrm>
            <a:off x="8615421" y="2066987"/>
            <a:ext cx="3024000" cy="781200"/>
          </a:xfrm>
        </p:spPr>
        <p:txBody>
          <a:bodyPr/>
          <a:lstStyle>
            <a:lvl1pPr marL="0" indent="0" algn="ctr">
              <a:buNone/>
              <a:defRPr sz="1800">
                <a:solidFill>
                  <a:schemeClr val="tx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7" name="Text Placeholder 12">
            <a:extLst>
              <a:ext uri="{FF2B5EF4-FFF2-40B4-BE49-F238E27FC236}">
                <a16:creationId xmlns:a16="http://schemas.microsoft.com/office/drawing/2014/main" id="{1C7CE8EE-CC8D-2E5F-9BEA-0C8DABDDFC8D}"/>
              </a:ext>
            </a:extLst>
          </p:cNvPr>
          <p:cNvSpPr>
            <a:spLocks noGrp="1"/>
          </p:cNvSpPr>
          <p:nvPr>
            <p:ph type="body" sz="quarter" idx="21" hasCustomPrompt="1"/>
          </p:nvPr>
        </p:nvSpPr>
        <p:spPr>
          <a:xfrm>
            <a:off x="8615421" y="3906838"/>
            <a:ext cx="3024000" cy="1620837"/>
          </a:xfrm>
        </p:spPr>
        <p:txBody>
          <a:bodyPr anchor="b" anchorCtr="0"/>
          <a:lstStyle>
            <a:lvl1pPr marL="0" indent="0" algn="ctr">
              <a:buNone/>
              <a:defRPr sz="12000" spc="-300" baseline="0">
                <a:solidFill>
                  <a:schemeClr val="accent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0%</a:t>
            </a:r>
          </a:p>
        </p:txBody>
      </p:sp>
      <p:sp>
        <p:nvSpPr>
          <p:cNvPr id="10" name="Text Placeholder 12">
            <a:extLst>
              <a:ext uri="{FF2B5EF4-FFF2-40B4-BE49-F238E27FC236}">
                <a16:creationId xmlns:a16="http://schemas.microsoft.com/office/drawing/2014/main" id="{8B54CE3D-7DB3-3908-6F56-2737E451B052}"/>
              </a:ext>
            </a:extLst>
          </p:cNvPr>
          <p:cNvSpPr>
            <a:spLocks noGrp="1"/>
          </p:cNvSpPr>
          <p:nvPr>
            <p:ph type="body" sz="quarter" idx="16"/>
          </p:nvPr>
        </p:nvSpPr>
        <p:spPr>
          <a:xfrm>
            <a:off x="8615421" y="5346701"/>
            <a:ext cx="3024000" cy="782637"/>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Tree>
    <p:extLst>
      <p:ext uri="{BB962C8B-B14F-4D97-AF65-F5344CB8AC3E}">
        <p14:creationId xmlns:p14="http://schemas.microsoft.com/office/powerpoint/2010/main" val="109090041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1 Text/Image">
    <p:spTree>
      <p:nvGrpSpPr>
        <p:cNvPr id="1" name=""/>
        <p:cNvGrpSpPr/>
        <p:nvPr/>
      </p:nvGrpSpPr>
      <p:grpSpPr>
        <a:xfrm>
          <a:off x="0" y="0"/>
          <a:ext cx="0" cy="0"/>
          <a:chOff x="0" y="0"/>
          <a:chExt cx="0" cy="0"/>
        </a:xfrm>
      </p:grpSpPr>
      <p:sp>
        <p:nvSpPr>
          <p:cNvPr id="6" name="Picture Placeholder 15">
            <a:extLst>
              <a:ext uri="{FF2B5EF4-FFF2-40B4-BE49-F238E27FC236}">
                <a16:creationId xmlns:a16="http://schemas.microsoft.com/office/drawing/2014/main" id="{911CF731-2F05-DD7D-AA0C-2C0C2EA9256F}"/>
              </a:ext>
              <a:ext uri="{C183D7F6-B498-43B3-948B-1728B52AA6E4}">
                <adec:decorative xmlns:adec="http://schemas.microsoft.com/office/drawing/2017/decorative" val="1"/>
              </a:ext>
            </a:extLst>
          </p:cNvPr>
          <p:cNvSpPr>
            <a:spLocks noGrp="1"/>
          </p:cNvSpPr>
          <p:nvPr>
            <p:ph type="pic" sz="quarter" idx="20" hasCustomPrompt="1"/>
          </p:nvPr>
        </p:nvSpPr>
        <p:spPr>
          <a:xfrm>
            <a:off x="8040687" y="0"/>
            <a:ext cx="4151314" cy="6858000"/>
          </a:xfrm>
          <a:solidFill>
            <a:schemeClr val="bg1">
              <a:lumMod val="95000"/>
            </a:schemeClr>
          </a:solidFill>
          <a:ln>
            <a:noFill/>
          </a:ln>
        </p:spPr>
        <p:txBody>
          <a:bodyPr tIns="108000" anchor="t" anchorCtr="0"/>
          <a:lstStyle>
            <a:lvl1pPr marL="0" indent="0" algn="ctr">
              <a:buNone/>
              <a:defRPr sz="1000">
                <a:solidFill>
                  <a:schemeClr val="accent2"/>
                </a:solidFill>
                <a:latin typeface="+mn-lt"/>
              </a:defRPr>
            </a:lvl1pPr>
          </a:lstStyle>
          <a:p>
            <a:pPr lvl="0"/>
            <a:r>
              <a:rPr lang="en-US"/>
              <a:t>Drag picture file here or click icon to insert top image</a:t>
            </a:r>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3" y="368828"/>
            <a:ext cx="6954797" cy="251885"/>
          </a:xfrm>
        </p:spPr>
        <p:txBody>
          <a:bodyPr/>
          <a:lstStyle>
            <a:lvl1pPr>
              <a:defRPr/>
            </a:lvl1pPr>
          </a:lstStyle>
          <a:p>
            <a:r>
              <a:rPr lang="en-US"/>
              <a:t>Header avenir demi 24pt</a:t>
            </a:r>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3" y="753852"/>
            <a:ext cx="695479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6954794" cy="4321175"/>
          </a:xfrm>
        </p:spPr>
        <p:txBody>
          <a:body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Tree>
    <p:extLst>
      <p:ext uri="{BB962C8B-B14F-4D97-AF65-F5344CB8AC3E}">
        <p14:creationId xmlns:p14="http://schemas.microsoft.com/office/powerpoint/2010/main" val="199059856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50:50 Text/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3" y="368828"/>
            <a:ext cx="5076001" cy="251885"/>
          </a:xfrm>
        </p:spPr>
        <p:txBody>
          <a:bodyPr/>
          <a:lstStyle>
            <a:lvl1pPr>
              <a:defRPr/>
            </a:lvl1pPr>
          </a:lstStyle>
          <a:p>
            <a:r>
              <a:rPr lang="en-US"/>
              <a:t>Header avenir demi 24pt</a:t>
            </a:r>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3" y="753852"/>
            <a:ext cx="5076001"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5076000" cy="4321175"/>
          </a:xfrm>
        </p:spPr>
        <p:txBody>
          <a:bodyPr/>
          <a:lstStyle/>
          <a:p>
            <a:pPr lvl="0"/>
            <a:r>
              <a:rPr lang="en-US"/>
              <a:t>Click to edit Master text styles</a:t>
            </a:r>
          </a:p>
          <a:p>
            <a:pPr lvl="1"/>
            <a:r>
              <a:rPr lang="en-US"/>
              <a:t>Second level</a:t>
            </a:r>
          </a:p>
          <a:p>
            <a:pPr lvl="2"/>
            <a:r>
              <a:rPr lang="en-US"/>
              <a:t>Third level</a:t>
            </a:r>
          </a:p>
        </p:txBody>
      </p:sp>
      <p:sp>
        <p:nvSpPr>
          <p:cNvPr id="6" name="Picture Placeholder 15">
            <a:extLst>
              <a:ext uri="{FF2B5EF4-FFF2-40B4-BE49-F238E27FC236}">
                <a16:creationId xmlns:a16="http://schemas.microsoft.com/office/drawing/2014/main" id="{911CF731-2F05-DD7D-AA0C-2C0C2EA9256F}"/>
              </a:ext>
              <a:ext uri="{C183D7F6-B498-43B3-948B-1728B52AA6E4}">
                <adec:decorative xmlns:adec="http://schemas.microsoft.com/office/drawing/2017/decorative" val="1"/>
              </a:ext>
            </a:extLst>
          </p:cNvPr>
          <p:cNvSpPr>
            <a:spLocks noGrp="1"/>
          </p:cNvSpPr>
          <p:nvPr>
            <p:ph type="pic" sz="quarter" idx="20" hasCustomPrompt="1"/>
          </p:nvPr>
        </p:nvSpPr>
        <p:spPr>
          <a:xfrm>
            <a:off x="6096000" y="0"/>
            <a:ext cx="6096001" cy="6858000"/>
          </a:xfrm>
          <a:solidFill>
            <a:schemeClr val="bg1">
              <a:lumMod val="95000"/>
            </a:schemeClr>
          </a:solidFill>
          <a:ln>
            <a:noFill/>
          </a:ln>
        </p:spPr>
        <p:txBody>
          <a:bodyPr tIns="108000" anchor="t" anchorCtr="0"/>
          <a:lstStyle>
            <a:lvl1pPr marL="0" indent="0" algn="ctr">
              <a:buNone/>
              <a:defRPr sz="1000">
                <a:solidFill>
                  <a:schemeClr val="accent2"/>
                </a:solidFill>
                <a:latin typeface="+mn-lt"/>
              </a:defRPr>
            </a:lvl1pPr>
          </a:lstStyle>
          <a:p>
            <a:pPr lvl="0"/>
            <a:r>
              <a:rPr lang="en-US"/>
              <a:t>Drag picture file here or click icon to insert top image</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Tree>
    <p:extLst>
      <p:ext uri="{BB962C8B-B14F-4D97-AF65-F5344CB8AC3E}">
        <p14:creationId xmlns:p14="http://schemas.microsoft.com/office/powerpoint/2010/main" val="202961402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50:50 - 6x Icons Text/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3" y="368828"/>
            <a:ext cx="5076001" cy="251885"/>
          </a:xfrm>
        </p:spPr>
        <p:txBody>
          <a:bodyPr/>
          <a:lstStyle>
            <a:lvl1pPr>
              <a:defRPr/>
            </a:lvl1pPr>
          </a:lstStyle>
          <a:p>
            <a:r>
              <a:rPr lang="en-US"/>
              <a:t>Header avenir demi 24pt</a:t>
            </a:r>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3" y="753852"/>
            <a:ext cx="5076001"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5" name="Picture Placeholder 15">
            <a:extLst>
              <a:ext uri="{FF2B5EF4-FFF2-40B4-BE49-F238E27FC236}">
                <a16:creationId xmlns:a16="http://schemas.microsoft.com/office/drawing/2014/main" id="{19F5F05A-E26E-D735-DE2E-A8CB3F133941}"/>
              </a:ext>
              <a:ext uri="{C183D7F6-B498-43B3-948B-1728B52AA6E4}">
                <adec:decorative xmlns:adec="http://schemas.microsoft.com/office/drawing/2017/decorative" val="1"/>
              </a:ext>
            </a:extLst>
          </p:cNvPr>
          <p:cNvSpPr>
            <a:spLocks noGrp="1"/>
          </p:cNvSpPr>
          <p:nvPr>
            <p:ph type="pic" sz="quarter" idx="21" hasCustomPrompt="1"/>
          </p:nvPr>
        </p:nvSpPr>
        <p:spPr>
          <a:xfrm>
            <a:off x="551231" y="1815304"/>
            <a:ext cx="432000" cy="432000"/>
          </a:xfrm>
          <a:noFill/>
        </p:spPr>
        <p:txBody>
          <a:bodyPr anchor="ctr" anchorCtr="0"/>
          <a:lstStyle>
            <a:lvl1pPr marL="0" indent="0" algn="ctr">
              <a:spcBef>
                <a:spcPts val="0"/>
              </a:spcBef>
              <a:buNone/>
              <a:defRPr sz="1000">
                <a:solidFill>
                  <a:schemeClr val="accent2"/>
                </a:solidFill>
                <a:latin typeface="+mn-lt"/>
              </a:defRPr>
            </a:lvl1pPr>
          </a:lstStyle>
          <a:p>
            <a:pPr lvl="0"/>
            <a:r>
              <a:rPr lang="en-GB"/>
              <a:t>icon</a:t>
            </a:r>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1343025" y="1808162"/>
            <a:ext cx="4283839" cy="439142"/>
          </a:xfrm>
        </p:spPr>
        <p:txBody>
          <a:bodyPr anchor="ctr" anchorCtr="0"/>
          <a:lstStyle>
            <a:lvl1pPr>
              <a:defRPr/>
            </a:lvl1pPr>
          </a:lstStyle>
          <a:p>
            <a:pPr lvl="0"/>
            <a:r>
              <a:rPr lang="en-US"/>
              <a:t>Click to edit Master text styles</a:t>
            </a:r>
          </a:p>
        </p:txBody>
      </p:sp>
      <p:sp>
        <p:nvSpPr>
          <p:cNvPr id="9" name="Picture Placeholder 15">
            <a:extLst>
              <a:ext uri="{FF2B5EF4-FFF2-40B4-BE49-F238E27FC236}">
                <a16:creationId xmlns:a16="http://schemas.microsoft.com/office/drawing/2014/main" id="{B96A6EDC-6954-7A0D-52AF-14FED0F9A672}"/>
              </a:ext>
              <a:ext uri="{C183D7F6-B498-43B3-948B-1728B52AA6E4}">
                <adec:decorative xmlns:adec="http://schemas.microsoft.com/office/drawing/2017/decorative" val="1"/>
              </a:ext>
            </a:extLst>
          </p:cNvPr>
          <p:cNvSpPr>
            <a:spLocks noGrp="1"/>
          </p:cNvSpPr>
          <p:nvPr>
            <p:ph type="pic" sz="quarter" idx="23" hasCustomPrompt="1"/>
          </p:nvPr>
        </p:nvSpPr>
        <p:spPr>
          <a:xfrm>
            <a:off x="551231" y="2532854"/>
            <a:ext cx="432000" cy="432000"/>
          </a:xfrm>
          <a:noFill/>
        </p:spPr>
        <p:txBody>
          <a:bodyPr anchor="ctr" anchorCtr="0"/>
          <a:lstStyle>
            <a:lvl1pPr marL="0" indent="0" algn="ctr">
              <a:spcBef>
                <a:spcPts val="0"/>
              </a:spcBef>
              <a:buNone/>
              <a:defRPr sz="1000">
                <a:solidFill>
                  <a:schemeClr val="accent2"/>
                </a:solidFill>
                <a:latin typeface="+mn-lt"/>
              </a:defRPr>
            </a:lvl1pPr>
          </a:lstStyle>
          <a:p>
            <a:pPr lvl="0"/>
            <a:r>
              <a:rPr lang="en-GB"/>
              <a:t>icon</a:t>
            </a:r>
          </a:p>
        </p:txBody>
      </p:sp>
      <p:sp>
        <p:nvSpPr>
          <p:cNvPr id="8" name="Text Placeholder 12">
            <a:extLst>
              <a:ext uri="{FF2B5EF4-FFF2-40B4-BE49-F238E27FC236}">
                <a16:creationId xmlns:a16="http://schemas.microsoft.com/office/drawing/2014/main" id="{DA67A720-734C-2B92-0CA8-59D525029FC7}"/>
              </a:ext>
            </a:extLst>
          </p:cNvPr>
          <p:cNvSpPr>
            <a:spLocks noGrp="1"/>
          </p:cNvSpPr>
          <p:nvPr>
            <p:ph type="body" sz="quarter" idx="22"/>
          </p:nvPr>
        </p:nvSpPr>
        <p:spPr>
          <a:xfrm>
            <a:off x="1343025" y="2525712"/>
            <a:ext cx="4283839" cy="438929"/>
          </a:xfrm>
        </p:spPr>
        <p:txBody>
          <a:bodyPr anchor="ctr" anchorCtr="0"/>
          <a:lstStyle>
            <a:lvl1pPr>
              <a:defRPr/>
            </a:lvl1pPr>
          </a:lstStyle>
          <a:p>
            <a:pPr lvl="0"/>
            <a:r>
              <a:rPr lang="en-US"/>
              <a:t>Click to edit Master text styles</a:t>
            </a:r>
          </a:p>
        </p:txBody>
      </p:sp>
      <p:sp>
        <p:nvSpPr>
          <p:cNvPr id="12" name="Picture Placeholder 15">
            <a:extLst>
              <a:ext uri="{FF2B5EF4-FFF2-40B4-BE49-F238E27FC236}">
                <a16:creationId xmlns:a16="http://schemas.microsoft.com/office/drawing/2014/main" id="{0CEAB8BF-9110-618D-A8D5-EED4A7C1D2F1}"/>
              </a:ext>
              <a:ext uri="{C183D7F6-B498-43B3-948B-1728B52AA6E4}">
                <adec:decorative xmlns:adec="http://schemas.microsoft.com/office/drawing/2017/decorative" val="1"/>
              </a:ext>
            </a:extLst>
          </p:cNvPr>
          <p:cNvSpPr>
            <a:spLocks noGrp="1"/>
          </p:cNvSpPr>
          <p:nvPr>
            <p:ph type="pic" sz="quarter" idx="25" hasCustomPrompt="1"/>
          </p:nvPr>
        </p:nvSpPr>
        <p:spPr>
          <a:xfrm>
            <a:off x="551231" y="3263104"/>
            <a:ext cx="432000" cy="432000"/>
          </a:xfrm>
          <a:noFill/>
        </p:spPr>
        <p:txBody>
          <a:bodyPr anchor="ctr" anchorCtr="0"/>
          <a:lstStyle>
            <a:lvl1pPr marL="0" indent="0" algn="ctr">
              <a:spcBef>
                <a:spcPts val="0"/>
              </a:spcBef>
              <a:buNone/>
              <a:defRPr sz="1000">
                <a:solidFill>
                  <a:schemeClr val="accent2"/>
                </a:solidFill>
                <a:latin typeface="+mn-lt"/>
              </a:defRPr>
            </a:lvl1pPr>
          </a:lstStyle>
          <a:p>
            <a:pPr lvl="0"/>
            <a:r>
              <a:rPr lang="en-GB"/>
              <a:t>icon</a:t>
            </a:r>
          </a:p>
        </p:txBody>
      </p:sp>
      <p:sp>
        <p:nvSpPr>
          <p:cNvPr id="11" name="Text Placeholder 12">
            <a:extLst>
              <a:ext uri="{FF2B5EF4-FFF2-40B4-BE49-F238E27FC236}">
                <a16:creationId xmlns:a16="http://schemas.microsoft.com/office/drawing/2014/main" id="{039B214F-5488-B94D-C0F4-7C315CF9768C}"/>
              </a:ext>
            </a:extLst>
          </p:cNvPr>
          <p:cNvSpPr>
            <a:spLocks noGrp="1"/>
          </p:cNvSpPr>
          <p:nvPr>
            <p:ph type="body" sz="quarter" idx="24"/>
          </p:nvPr>
        </p:nvSpPr>
        <p:spPr>
          <a:xfrm>
            <a:off x="1343025" y="3255962"/>
            <a:ext cx="4283839" cy="438929"/>
          </a:xfrm>
        </p:spPr>
        <p:txBody>
          <a:bodyPr anchor="ctr" anchorCtr="0"/>
          <a:lstStyle>
            <a:lvl1pPr>
              <a:defRPr/>
            </a:lvl1pPr>
          </a:lstStyle>
          <a:p>
            <a:pPr lvl="0"/>
            <a:r>
              <a:rPr lang="en-US"/>
              <a:t>Click to edit Master text styles</a:t>
            </a:r>
          </a:p>
        </p:txBody>
      </p:sp>
      <p:sp>
        <p:nvSpPr>
          <p:cNvPr id="15" name="Picture Placeholder 15">
            <a:extLst>
              <a:ext uri="{FF2B5EF4-FFF2-40B4-BE49-F238E27FC236}">
                <a16:creationId xmlns:a16="http://schemas.microsoft.com/office/drawing/2014/main" id="{8A83B0FC-4056-C030-A859-FCB25E7D36DF}"/>
              </a:ext>
              <a:ext uri="{C183D7F6-B498-43B3-948B-1728B52AA6E4}">
                <adec:decorative xmlns:adec="http://schemas.microsoft.com/office/drawing/2017/decorative" val="1"/>
              </a:ext>
            </a:extLst>
          </p:cNvPr>
          <p:cNvSpPr>
            <a:spLocks noGrp="1"/>
          </p:cNvSpPr>
          <p:nvPr>
            <p:ph type="pic" sz="quarter" idx="27" hasCustomPrompt="1"/>
          </p:nvPr>
        </p:nvSpPr>
        <p:spPr>
          <a:xfrm>
            <a:off x="551231" y="4018754"/>
            <a:ext cx="432000" cy="432000"/>
          </a:xfrm>
          <a:noFill/>
        </p:spPr>
        <p:txBody>
          <a:bodyPr anchor="ctr" anchorCtr="0"/>
          <a:lstStyle>
            <a:lvl1pPr marL="0" indent="0" algn="ctr">
              <a:spcBef>
                <a:spcPts val="0"/>
              </a:spcBef>
              <a:buNone/>
              <a:defRPr sz="1000">
                <a:solidFill>
                  <a:schemeClr val="accent2"/>
                </a:solidFill>
                <a:latin typeface="+mn-lt"/>
              </a:defRPr>
            </a:lvl1pPr>
          </a:lstStyle>
          <a:p>
            <a:pPr lvl="0"/>
            <a:r>
              <a:rPr lang="en-GB"/>
              <a:t>icon</a:t>
            </a:r>
          </a:p>
        </p:txBody>
      </p:sp>
      <p:sp>
        <p:nvSpPr>
          <p:cNvPr id="14" name="Text Placeholder 12">
            <a:extLst>
              <a:ext uri="{FF2B5EF4-FFF2-40B4-BE49-F238E27FC236}">
                <a16:creationId xmlns:a16="http://schemas.microsoft.com/office/drawing/2014/main" id="{023EB7C1-8B92-179C-F19B-7F4FA8CC3981}"/>
              </a:ext>
            </a:extLst>
          </p:cNvPr>
          <p:cNvSpPr>
            <a:spLocks noGrp="1"/>
          </p:cNvSpPr>
          <p:nvPr>
            <p:ph type="body" sz="quarter" idx="26"/>
          </p:nvPr>
        </p:nvSpPr>
        <p:spPr>
          <a:xfrm>
            <a:off x="1343025" y="4011612"/>
            <a:ext cx="4283839" cy="438929"/>
          </a:xfrm>
        </p:spPr>
        <p:txBody>
          <a:bodyPr anchor="ctr" anchorCtr="0"/>
          <a:lstStyle>
            <a:lvl1pPr>
              <a:defRPr/>
            </a:lvl1pPr>
          </a:lstStyle>
          <a:p>
            <a:pPr lvl="0"/>
            <a:r>
              <a:rPr lang="en-US"/>
              <a:t>Click to edit Master text styles</a:t>
            </a:r>
          </a:p>
        </p:txBody>
      </p:sp>
      <p:sp>
        <p:nvSpPr>
          <p:cNvPr id="17" name="Picture Placeholder 15">
            <a:extLst>
              <a:ext uri="{FF2B5EF4-FFF2-40B4-BE49-F238E27FC236}">
                <a16:creationId xmlns:a16="http://schemas.microsoft.com/office/drawing/2014/main" id="{73CE4A28-B543-9BE0-9AFD-E95B509441BA}"/>
              </a:ext>
              <a:ext uri="{C183D7F6-B498-43B3-948B-1728B52AA6E4}">
                <adec:decorative xmlns:adec="http://schemas.microsoft.com/office/drawing/2017/decorative" val="1"/>
              </a:ext>
            </a:extLst>
          </p:cNvPr>
          <p:cNvSpPr>
            <a:spLocks noGrp="1"/>
          </p:cNvSpPr>
          <p:nvPr>
            <p:ph type="pic" sz="quarter" idx="29" hasCustomPrompt="1"/>
          </p:nvPr>
        </p:nvSpPr>
        <p:spPr>
          <a:xfrm>
            <a:off x="551231" y="4780754"/>
            <a:ext cx="432000" cy="432000"/>
          </a:xfrm>
          <a:noFill/>
        </p:spPr>
        <p:txBody>
          <a:bodyPr anchor="ctr" anchorCtr="0"/>
          <a:lstStyle>
            <a:lvl1pPr marL="0" indent="0" algn="ctr">
              <a:spcBef>
                <a:spcPts val="0"/>
              </a:spcBef>
              <a:buNone/>
              <a:defRPr sz="1000">
                <a:solidFill>
                  <a:schemeClr val="accent2"/>
                </a:solidFill>
                <a:latin typeface="+mn-lt"/>
              </a:defRPr>
            </a:lvl1pPr>
          </a:lstStyle>
          <a:p>
            <a:pPr lvl="0"/>
            <a:r>
              <a:rPr lang="en-GB"/>
              <a:t>icon</a:t>
            </a:r>
          </a:p>
        </p:txBody>
      </p:sp>
      <p:sp>
        <p:nvSpPr>
          <p:cNvPr id="16" name="Text Placeholder 12">
            <a:extLst>
              <a:ext uri="{FF2B5EF4-FFF2-40B4-BE49-F238E27FC236}">
                <a16:creationId xmlns:a16="http://schemas.microsoft.com/office/drawing/2014/main" id="{EC84A1A6-E190-A689-DEB3-2524677C090D}"/>
              </a:ext>
            </a:extLst>
          </p:cNvPr>
          <p:cNvSpPr>
            <a:spLocks noGrp="1"/>
          </p:cNvSpPr>
          <p:nvPr>
            <p:ph type="body" sz="quarter" idx="28"/>
          </p:nvPr>
        </p:nvSpPr>
        <p:spPr>
          <a:xfrm>
            <a:off x="1343025" y="4773612"/>
            <a:ext cx="4283839" cy="438929"/>
          </a:xfrm>
        </p:spPr>
        <p:txBody>
          <a:bodyPr anchor="ctr" anchorCtr="0"/>
          <a:lstStyle>
            <a:lvl1pPr>
              <a:defRPr/>
            </a:lvl1pPr>
          </a:lstStyle>
          <a:p>
            <a:pPr lvl="0"/>
            <a:r>
              <a:rPr lang="en-US"/>
              <a:t>Click to edit Master text styles</a:t>
            </a:r>
          </a:p>
        </p:txBody>
      </p:sp>
      <p:sp>
        <p:nvSpPr>
          <p:cNvPr id="19" name="Picture Placeholder 15">
            <a:extLst>
              <a:ext uri="{FF2B5EF4-FFF2-40B4-BE49-F238E27FC236}">
                <a16:creationId xmlns:a16="http://schemas.microsoft.com/office/drawing/2014/main" id="{36E2DA8B-BE76-042E-D6E2-36C4A15B5982}"/>
              </a:ext>
              <a:ext uri="{C183D7F6-B498-43B3-948B-1728B52AA6E4}">
                <adec:decorative xmlns:adec="http://schemas.microsoft.com/office/drawing/2017/decorative" val="1"/>
              </a:ext>
            </a:extLst>
          </p:cNvPr>
          <p:cNvSpPr>
            <a:spLocks noGrp="1"/>
          </p:cNvSpPr>
          <p:nvPr>
            <p:ph type="pic" sz="quarter" idx="31" hasCustomPrompt="1"/>
          </p:nvPr>
        </p:nvSpPr>
        <p:spPr>
          <a:xfrm>
            <a:off x="551231" y="5517354"/>
            <a:ext cx="432000" cy="432000"/>
          </a:xfrm>
          <a:noFill/>
        </p:spPr>
        <p:txBody>
          <a:bodyPr anchor="ctr" anchorCtr="0"/>
          <a:lstStyle>
            <a:lvl1pPr marL="0" indent="0" algn="ctr">
              <a:spcBef>
                <a:spcPts val="0"/>
              </a:spcBef>
              <a:buNone/>
              <a:defRPr sz="1000">
                <a:solidFill>
                  <a:schemeClr val="accent2"/>
                </a:solidFill>
                <a:latin typeface="+mn-lt"/>
              </a:defRPr>
            </a:lvl1pPr>
          </a:lstStyle>
          <a:p>
            <a:pPr lvl="0"/>
            <a:r>
              <a:rPr lang="en-GB"/>
              <a:t>icon</a:t>
            </a:r>
          </a:p>
        </p:txBody>
      </p:sp>
      <p:sp>
        <p:nvSpPr>
          <p:cNvPr id="18" name="Text Placeholder 12">
            <a:extLst>
              <a:ext uri="{FF2B5EF4-FFF2-40B4-BE49-F238E27FC236}">
                <a16:creationId xmlns:a16="http://schemas.microsoft.com/office/drawing/2014/main" id="{1E8E143E-9160-2E46-E449-29D95FAB479D}"/>
              </a:ext>
            </a:extLst>
          </p:cNvPr>
          <p:cNvSpPr>
            <a:spLocks noGrp="1"/>
          </p:cNvSpPr>
          <p:nvPr>
            <p:ph type="body" sz="quarter" idx="30"/>
          </p:nvPr>
        </p:nvSpPr>
        <p:spPr>
          <a:xfrm>
            <a:off x="1343025" y="5510212"/>
            <a:ext cx="4283839" cy="438928"/>
          </a:xfrm>
        </p:spPr>
        <p:txBody>
          <a:bodyPr anchor="ctr" anchorCtr="0"/>
          <a:lstStyle>
            <a:lvl1pPr>
              <a:defRPr/>
            </a:lvl1pPr>
          </a:lstStyle>
          <a:p>
            <a:pPr lvl="0"/>
            <a:r>
              <a:rPr lang="en-US"/>
              <a:t>Click to edit Master text styles</a:t>
            </a:r>
          </a:p>
        </p:txBody>
      </p:sp>
      <p:sp>
        <p:nvSpPr>
          <p:cNvPr id="6" name="Picture Placeholder 15">
            <a:extLst>
              <a:ext uri="{FF2B5EF4-FFF2-40B4-BE49-F238E27FC236}">
                <a16:creationId xmlns:a16="http://schemas.microsoft.com/office/drawing/2014/main" id="{911CF731-2F05-DD7D-AA0C-2C0C2EA9256F}"/>
              </a:ext>
              <a:ext uri="{C183D7F6-B498-43B3-948B-1728B52AA6E4}">
                <adec:decorative xmlns:adec="http://schemas.microsoft.com/office/drawing/2017/decorative" val="1"/>
              </a:ext>
            </a:extLst>
          </p:cNvPr>
          <p:cNvSpPr>
            <a:spLocks noGrp="1"/>
          </p:cNvSpPr>
          <p:nvPr>
            <p:ph type="pic" sz="quarter" idx="20" hasCustomPrompt="1"/>
          </p:nvPr>
        </p:nvSpPr>
        <p:spPr>
          <a:xfrm>
            <a:off x="6096000" y="0"/>
            <a:ext cx="6096001" cy="6858000"/>
          </a:xfrm>
          <a:solidFill>
            <a:schemeClr val="bg1">
              <a:lumMod val="95000"/>
            </a:schemeClr>
          </a:solidFill>
          <a:ln>
            <a:noFill/>
          </a:ln>
        </p:spPr>
        <p:txBody>
          <a:bodyPr tIns="108000" anchor="t" anchorCtr="0"/>
          <a:lstStyle>
            <a:lvl1pPr marL="0" indent="0" algn="ctr">
              <a:buNone/>
              <a:defRPr sz="1000">
                <a:solidFill>
                  <a:schemeClr val="accent2"/>
                </a:solidFill>
                <a:latin typeface="+mn-lt"/>
              </a:defRPr>
            </a:lvl1pPr>
          </a:lstStyle>
          <a:p>
            <a:pPr lvl="0"/>
            <a:r>
              <a:rPr lang="en-US"/>
              <a:t>Drag picture file here or click icon to insert top image</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Tree>
    <p:extLst>
      <p:ext uri="{BB962C8B-B14F-4D97-AF65-F5344CB8AC3E}">
        <p14:creationId xmlns:p14="http://schemas.microsoft.com/office/powerpoint/2010/main" val="34165991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x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10692574"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10692574"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6" name="Text Placeholder 12">
            <a:extLst>
              <a:ext uri="{FF2B5EF4-FFF2-40B4-BE49-F238E27FC236}">
                <a16:creationId xmlns:a16="http://schemas.microsoft.com/office/drawing/2014/main" id="{E79289D7-5C2E-68CE-3B90-A9A8960FA82B}"/>
              </a:ext>
            </a:extLst>
          </p:cNvPr>
          <p:cNvSpPr>
            <a:spLocks noGrp="1"/>
          </p:cNvSpPr>
          <p:nvPr>
            <p:ph type="body" sz="quarter" idx="16"/>
          </p:nvPr>
        </p:nvSpPr>
        <p:spPr>
          <a:xfrm>
            <a:off x="4295151"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8" name="Text Placeholder 12">
            <a:extLst>
              <a:ext uri="{FF2B5EF4-FFF2-40B4-BE49-F238E27FC236}">
                <a16:creationId xmlns:a16="http://schemas.microsoft.com/office/drawing/2014/main" id="{49E19914-A73D-36ED-F704-267D2EE80CB7}"/>
              </a:ext>
            </a:extLst>
          </p:cNvPr>
          <p:cNvSpPr>
            <a:spLocks noGrp="1"/>
          </p:cNvSpPr>
          <p:nvPr>
            <p:ph type="body" sz="quarter" idx="17"/>
          </p:nvPr>
        </p:nvSpPr>
        <p:spPr>
          <a:xfrm>
            <a:off x="8039438"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3021101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ext &amp; 2x Image stac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E521FEA4-99B7-D7D2-C66A-489E89D4E18C}"/>
              </a:ext>
              <a:ext uri="{C183D7F6-B498-43B3-948B-1728B52AA6E4}">
                <adec:decorative xmlns:adec="http://schemas.microsoft.com/office/drawing/2017/decorative" val="1"/>
              </a:ext>
            </a:extLst>
          </p:cNvPr>
          <p:cNvSpPr>
            <a:spLocks noGrp="1"/>
          </p:cNvSpPr>
          <p:nvPr>
            <p:ph type="pic" sz="quarter" idx="21" hasCustomPrompt="1"/>
          </p:nvPr>
        </p:nvSpPr>
        <p:spPr>
          <a:xfrm>
            <a:off x="6096001" y="3429000"/>
            <a:ext cx="6096000"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a:solidFill>
            <a:schemeClr val="bg1">
              <a:lumMod val="85000"/>
            </a:schemeClr>
          </a:solidFill>
          <a:ln>
            <a:noFill/>
          </a:ln>
        </p:spPr>
        <p:txBody>
          <a:bodyPr wrap="square" tIns="108000" anchor="t" anchorCtr="0">
            <a:noAutofit/>
          </a:bodyPr>
          <a:lstStyle>
            <a:lvl1pPr marL="0" indent="0" algn="ctr">
              <a:buNone/>
              <a:defRPr sz="1000">
                <a:solidFill>
                  <a:schemeClr val="accent2"/>
                </a:solidFill>
                <a:latin typeface="+mn-lt"/>
              </a:defRPr>
            </a:lvl1pPr>
          </a:lstStyle>
          <a:p>
            <a:pPr lvl="0"/>
            <a:r>
              <a:rPr lang="en-US"/>
              <a:t>Drag picture file here or click icon to insert bottom image</a:t>
            </a:r>
          </a:p>
        </p:txBody>
      </p:sp>
      <p:sp>
        <p:nvSpPr>
          <p:cNvPr id="6" name="Picture Placeholder 15">
            <a:extLst>
              <a:ext uri="{FF2B5EF4-FFF2-40B4-BE49-F238E27FC236}">
                <a16:creationId xmlns:a16="http://schemas.microsoft.com/office/drawing/2014/main" id="{911CF731-2F05-DD7D-AA0C-2C0C2EA9256F}"/>
              </a:ext>
              <a:ext uri="{C183D7F6-B498-43B3-948B-1728B52AA6E4}">
                <adec:decorative xmlns:adec="http://schemas.microsoft.com/office/drawing/2017/decorative" val="1"/>
              </a:ext>
            </a:extLst>
          </p:cNvPr>
          <p:cNvSpPr>
            <a:spLocks noGrp="1"/>
          </p:cNvSpPr>
          <p:nvPr>
            <p:ph type="pic" sz="quarter" idx="20" hasCustomPrompt="1"/>
          </p:nvPr>
        </p:nvSpPr>
        <p:spPr>
          <a:xfrm>
            <a:off x="6096001" y="0"/>
            <a:ext cx="6096000" cy="3429000"/>
          </a:xfrm>
          <a:solidFill>
            <a:schemeClr val="bg1">
              <a:lumMod val="95000"/>
            </a:schemeClr>
          </a:solidFill>
          <a:ln>
            <a:noFill/>
          </a:ln>
        </p:spPr>
        <p:txBody>
          <a:bodyPr tIns="108000" anchor="t" anchorCtr="0"/>
          <a:lstStyle>
            <a:lvl1pPr marL="0" indent="0" algn="ctr">
              <a:buNone/>
              <a:defRPr sz="1000">
                <a:solidFill>
                  <a:schemeClr val="accent2"/>
                </a:solidFill>
                <a:latin typeface="+mn-lt"/>
              </a:defRPr>
            </a:lvl1pPr>
          </a:lstStyle>
          <a:p>
            <a:pPr lvl="0"/>
            <a:r>
              <a:rPr lang="en-US"/>
              <a:t>Drag picture file here or click icon to insert top image</a:t>
            </a:r>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5076000" cy="251885"/>
          </a:xfrm>
        </p:spPr>
        <p:txBody>
          <a:bodyPr/>
          <a:lstStyle>
            <a:lvl1pPr>
              <a:defRPr/>
            </a:lvl1pPr>
          </a:lstStyle>
          <a:p>
            <a:r>
              <a:rPr lang="en-US"/>
              <a:t>Header avenir demi 24pt</a:t>
            </a:r>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5076000"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5076000" cy="4321175"/>
          </a:xfrm>
        </p:spPr>
        <p:txBody>
          <a:body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Tree>
    <p:extLst>
      <p:ext uri="{BB962C8B-B14F-4D97-AF65-F5344CB8AC3E}">
        <p14:creationId xmlns:p14="http://schemas.microsoft.com/office/powerpoint/2010/main" val="228018950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Horizontal Split - 3x Col / Light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58867A9-9407-75CF-0561-28134BDEED22}"/>
              </a:ext>
              <a:ext uri="{C183D7F6-B498-43B3-948B-1728B52AA6E4}">
                <adec:decorative xmlns:adec="http://schemas.microsoft.com/office/drawing/2017/decorative" val="1"/>
              </a:ext>
            </a:extLst>
          </p:cNvPr>
          <p:cNvSpPr/>
          <p:nvPr userDrawn="1"/>
        </p:nvSpPr>
        <p:spPr>
          <a:xfrm>
            <a:off x="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Picture Placeholder 13">
            <a:extLst>
              <a:ext uri="{FF2B5EF4-FFF2-40B4-BE49-F238E27FC236}">
                <a16:creationId xmlns:a16="http://schemas.microsoft.com/office/drawing/2014/main" id="{BB4BC472-7597-C294-BE60-B55F1AB97D5D}"/>
              </a:ext>
              <a:ext uri="{C183D7F6-B498-43B3-948B-1728B52AA6E4}">
                <adec:decorative xmlns:adec="http://schemas.microsoft.com/office/drawing/2017/decorative" val="1"/>
              </a:ext>
            </a:extLst>
          </p:cNvPr>
          <p:cNvSpPr>
            <a:spLocks noGrp="1"/>
          </p:cNvSpPr>
          <p:nvPr>
            <p:ph type="pic" sz="quarter" idx="20" hasCustomPrompt="1"/>
          </p:nvPr>
        </p:nvSpPr>
        <p:spPr>
          <a:xfrm>
            <a:off x="0" y="3429000"/>
            <a:ext cx="12192000" cy="3429000"/>
          </a:xfrm>
          <a:custGeom>
            <a:avLst/>
            <a:gdLst>
              <a:gd name="connsiteX0" fmla="*/ 1579559 w 12192000"/>
              <a:gd name="connsiteY0" fmla="*/ 3067532 h 3429000"/>
              <a:gd name="connsiteX1" fmla="*/ 1579559 w 12192000"/>
              <a:gd name="connsiteY1" fmla="*/ 3076105 h 3429000"/>
              <a:gd name="connsiteX2" fmla="*/ 1555747 w 12192000"/>
              <a:gd name="connsiteY2" fmla="*/ 3098013 h 3429000"/>
              <a:gd name="connsiteX3" fmla="*/ 1538602 w 12192000"/>
              <a:gd name="connsiteY3" fmla="*/ 3083725 h 3429000"/>
              <a:gd name="connsiteX4" fmla="*/ 1555747 w 12192000"/>
              <a:gd name="connsiteY4" fmla="*/ 3070390 h 3429000"/>
              <a:gd name="connsiteX5" fmla="*/ 1569082 w 12192000"/>
              <a:gd name="connsiteY5" fmla="*/ 3070390 h 3429000"/>
              <a:gd name="connsiteX6" fmla="*/ 1579559 w 12192000"/>
              <a:gd name="connsiteY6" fmla="*/ 3067532 h 3429000"/>
              <a:gd name="connsiteX7" fmla="*/ 1162365 w 12192000"/>
              <a:gd name="connsiteY7" fmla="*/ 3067532 h 3429000"/>
              <a:gd name="connsiteX8" fmla="*/ 1162365 w 12192000"/>
              <a:gd name="connsiteY8" fmla="*/ 3076105 h 3429000"/>
              <a:gd name="connsiteX9" fmla="*/ 1138553 w 12192000"/>
              <a:gd name="connsiteY9" fmla="*/ 3098013 h 3429000"/>
              <a:gd name="connsiteX10" fmla="*/ 1121408 w 12192000"/>
              <a:gd name="connsiteY10" fmla="*/ 3083725 h 3429000"/>
              <a:gd name="connsiteX11" fmla="*/ 1138553 w 12192000"/>
              <a:gd name="connsiteY11" fmla="*/ 3070390 h 3429000"/>
              <a:gd name="connsiteX12" fmla="*/ 1151888 w 12192000"/>
              <a:gd name="connsiteY12" fmla="*/ 3070390 h 3429000"/>
              <a:gd name="connsiteX13" fmla="*/ 1162365 w 12192000"/>
              <a:gd name="connsiteY13" fmla="*/ 3067532 h 3429000"/>
              <a:gd name="connsiteX14" fmla="*/ 736599 w 12192000"/>
              <a:gd name="connsiteY14" fmla="*/ 3026574 h 3429000"/>
              <a:gd name="connsiteX15" fmla="*/ 619442 w 12192000"/>
              <a:gd name="connsiteY15" fmla="*/ 3094203 h 3429000"/>
              <a:gd name="connsiteX16" fmla="*/ 632777 w 12192000"/>
              <a:gd name="connsiteY16" fmla="*/ 3123731 h 3429000"/>
              <a:gd name="connsiteX17" fmla="*/ 646112 w 12192000"/>
              <a:gd name="connsiteY17" fmla="*/ 3142781 h 3429000"/>
              <a:gd name="connsiteX18" fmla="*/ 765174 w 12192000"/>
              <a:gd name="connsiteY18" fmla="*/ 3074200 h 3429000"/>
              <a:gd name="connsiteX19" fmla="*/ 736599 w 12192000"/>
              <a:gd name="connsiteY19" fmla="*/ 3026574 h 3429000"/>
              <a:gd name="connsiteX20" fmla="*/ 1781490 w 12192000"/>
              <a:gd name="connsiteY20" fmla="*/ 3023716 h 3429000"/>
              <a:gd name="connsiteX21" fmla="*/ 1808160 w 12192000"/>
              <a:gd name="connsiteY21" fmla="*/ 3045624 h 3429000"/>
              <a:gd name="connsiteX22" fmla="*/ 1753867 w 12192000"/>
              <a:gd name="connsiteY22" fmla="*/ 3045624 h 3429000"/>
              <a:gd name="connsiteX23" fmla="*/ 1781490 w 12192000"/>
              <a:gd name="connsiteY23" fmla="*/ 3023716 h 3429000"/>
              <a:gd name="connsiteX24" fmla="*/ 1309050 w 12192000"/>
              <a:gd name="connsiteY24" fmla="*/ 2997999 h 3429000"/>
              <a:gd name="connsiteX25" fmla="*/ 1309050 w 12192000"/>
              <a:gd name="connsiteY25" fmla="*/ 3027526 h 3429000"/>
              <a:gd name="connsiteX26" fmla="*/ 1326195 w 12192000"/>
              <a:gd name="connsiteY26" fmla="*/ 3027526 h 3429000"/>
              <a:gd name="connsiteX27" fmla="*/ 1326195 w 12192000"/>
              <a:gd name="connsiteY27" fmla="*/ 3119920 h 3429000"/>
              <a:gd name="connsiteX28" fmla="*/ 1360485 w 12192000"/>
              <a:gd name="connsiteY28" fmla="*/ 3119920 h 3429000"/>
              <a:gd name="connsiteX29" fmla="*/ 1360485 w 12192000"/>
              <a:gd name="connsiteY29" fmla="*/ 2997999 h 3429000"/>
              <a:gd name="connsiteX30" fmla="*/ 1372868 w 12192000"/>
              <a:gd name="connsiteY30" fmla="*/ 2997998 h 3429000"/>
              <a:gd name="connsiteX31" fmla="*/ 1414778 w 12192000"/>
              <a:gd name="connsiteY31" fmla="*/ 3119920 h 3429000"/>
              <a:gd name="connsiteX32" fmla="*/ 1457640 w 12192000"/>
              <a:gd name="connsiteY32" fmla="*/ 3119920 h 3429000"/>
              <a:gd name="connsiteX33" fmla="*/ 1501455 w 12192000"/>
              <a:gd name="connsiteY33" fmla="*/ 2997998 h 3429000"/>
              <a:gd name="connsiteX34" fmla="*/ 1465260 w 12192000"/>
              <a:gd name="connsiteY34" fmla="*/ 2997998 h 3429000"/>
              <a:gd name="connsiteX35" fmla="*/ 1437638 w 12192000"/>
              <a:gd name="connsiteY35" fmla="*/ 3082772 h 3429000"/>
              <a:gd name="connsiteX36" fmla="*/ 1410015 w 12192000"/>
              <a:gd name="connsiteY36" fmla="*/ 2997998 h 3429000"/>
              <a:gd name="connsiteX37" fmla="*/ 1781490 w 12192000"/>
              <a:gd name="connsiteY37" fmla="*/ 2996093 h 3429000"/>
              <a:gd name="connsiteX38" fmla="*/ 1718625 w 12192000"/>
              <a:gd name="connsiteY38" fmla="*/ 3059912 h 3429000"/>
              <a:gd name="connsiteX39" fmla="*/ 1782442 w 12192000"/>
              <a:gd name="connsiteY39" fmla="*/ 3123730 h 3429000"/>
              <a:gd name="connsiteX40" fmla="*/ 1843402 w 12192000"/>
              <a:gd name="connsiteY40" fmla="*/ 3085629 h 3429000"/>
              <a:gd name="connsiteX41" fmla="*/ 1807207 w 12192000"/>
              <a:gd name="connsiteY41" fmla="*/ 3081819 h 3429000"/>
              <a:gd name="connsiteX42" fmla="*/ 1782442 w 12192000"/>
              <a:gd name="connsiteY42" fmla="*/ 3094202 h 3429000"/>
              <a:gd name="connsiteX43" fmla="*/ 1754820 w 12192000"/>
              <a:gd name="connsiteY43" fmla="*/ 3069437 h 3429000"/>
              <a:gd name="connsiteX44" fmla="*/ 1845307 w 12192000"/>
              <a:gd name="connsiteY44" fmla="*/ 3069437 h 3429000"/>
              <a:gd name="connsiteX45" fmla="*/ 1845307 w 12192000"/>
              <a:gd name="connsiteY45" fmla="*/ 3068484 h 3429000"/>
              <a:gd name="connsiteX46" fmla="*/ 1781490 w 12192000"/>
              <a:gd name="connsiteY46" fmla="*/ 2996093 h 3429000"/>
              <a:gd name="connsiteX47" fmla="*/ 1282380 w 12192000"/>
              <a:gd name="connsiteY47" fmla="*/ 2996093 h 3429000"/>
              <a:gd name="connsiteX48" fmla="*/ 1250947 w 12192000"/>
              <a:gd name="connsiteY48" fmla="*/ 3017048 h 3429000"/>
              <a:gd name="connsiteX49" fmla="*/ 1250947 w 12192000"/>
              <a:gd name="connsiteY49" fmla="*/ 2997998 h 3429000"/>
              <a:gd name="connsiteX50" fmla="*/ 1217610 w 12192000"/>
              <a:gd name="connsiteY50" fmla="*/ 2997998 h 3429000"/>
              <a:gd name="connsiteX51" fmla="*/ 1217610 w 12192000"/>
              <a:gd name="connsiteY51" fmla="*/ 3119920 h 3429000"/>
              <a:gd name="connsiteX52" fmla="*/ 1251900 w 12192000"/>
              <a:gd name="connsiteY52" fmla="*/ 3119920 h 3429000"/>
              <a:gd name="connsiteX53" fmla="*/ 1251900 w 12192000"/>
              <a:gd name="connsiteY53" fmla="*/ 3061817 h 3429000"/>
              <a:gd name="connsiteX54" fmla="*/ 1277617 w 12192000"/>
              <a:gd name="connsiteY54" fmla="*/ 3032289 h 3429000"/>
              <a:gd name="connsiteX55" fmla="*/ 1291905 w 12192000"/>
              <a:gd name="connsiteY55" fmla="*/ 3032289 h 3429000"/>
              <a:gd name="connsiteX56" fmla="*/ 1291905 w 12192000"/>
              <a:gd name="connsiteY56" fmla="*/ 2997046 h 3429000"/>
              <a:gd name="connsiteX57" fmla="*/ 1282380 w 12192000"/>
              <a:gd name="connsiteY57" fmla="*/ 2996093 h 3429000"/>
              <a:gd name="connsiteX58" fmla="*/ 1562414 w 12192000"/>
              <a:gd name="connsiteY58" fmla="*/ 2995141 h 3429000"/>
              <a:gd name="connsiteX59" fmla="*/ 1510027 w 12192000"/>
              <a:gd name="connsiteY59" fmla="*/ 3010381 h 3429000"/>
              <a:gd name="connsiteX60" fmla="*/ 1523362 w 12192000"/>
              <a:gd name="connsiteY60" fmla="*/ 3036099 h 3429000"/>
              <a:gd name="connsiteX61" fmla="*/ 1559557 w 12192000"/>
              <a:gd name="connsiteY61" fmla="*/ 3024669 h 3429000"/>
              <a:gd name="connsiteX62" fmla="*/ 1579559 w 12192000"/>
              <a:gd name="connsiteY62" fmla="*/ 3038957 h 3429000"/>
              <a:gd name="connsiteX63" fmla="*/ 1580512 w 12192000"/>
              <a:gd name="connsiteY63" fmla="*/ 3039909 h 3429000"/>
              <a:gd name="connsiteX64" fmla="*/ 1571939 w 12192000"/>
              <a:gd name="connsiteY64" fmla="*/ 3047529 h 3429000"/>
              <a:gd name="connsiteX65" fmla="*/ 1548127 w 12192000"/>
              <a:gd name="connsiteY65" fmla="*/ 3047529 h 3429000"/>
              <a:gd name="connsiteX66" fmla="*/ 1504312 w 12192000"/>
              <a:gd name="connsiteY66" fmla="*/ 3084677 h 3429000"/>
              <a:gd name="connsiteX67" fmla="*/ 1547174 w 12192000"/>
              <a:gd name="connsiteY67" fmla="*/ 3122778 h 3429000"/>
              <a:gd name="connsiteX68" fmla="*/ 1581464 w 12192000"/>
              <a:gd name="connsiteY68" fmla="*/ 3108490 h 3429000"/>
              <a:gd name="connsiteX69" fmla="*/ 1581464 w 12192000"/>
              <a:gd name="connsiteY69" fmla="*/ 3119920 h 3429000"/>
              <a:gd name="connsiteX70" fmla="*/ 1615754 w 12192000"/>
              <a:gd name="connsiteY70" fmla="*/ 3119920 h 3429000"/>
              <a:gd name="connsiteX71" fmla="*/ 1615754 w 12192000"/>
              <a:gd name="connsiteY71" fmla="*/ 3039909 h 3429000"/>
              <a:gd name="connsiteX72" fmla="*/ 1562414 w 12192000"/>
              <a:gd name="connsiteY72" fmla="*/ 2995141 h 3429000"/>
              <a:gd name="connsiteX73" fmla="*/ 1145220 w 12192000"/>
              <a:gd name="connsiteY73" fmla="*/ 2995141 h 3429000"/>
              <a:gd name="connsiteX74" fmla="*/ 1092833 w 12192000"/>
              <a:gd name="connsiteY74" fmla="*/ 3010381 h 3429000"/>
              <a:gd name="connsiteX75" fmla="*/ 1106168 w 12192000"/>
              <a:gd name="connsiteY75" fmla="*/ 3036099 h 3429000"/>
              <a:gd name="connsiteX76" fmla="*/ 1142363 w 12192000"/>
              <a:gd name="connsiteY76" fmla="*/ 3024669 h 3429000"/>
              <a:gd name="connsiteX77" fmla="*/ 1162365 w 12192000"/>
              <a:gd name="connsiteY77" fmla="*/ 3038957 h 3429000"/>
              <a:gd name="connsiteX78" fmla="*/ 1163318 w 12192000"/>
              <a:gd name="connsiteY78" fmla="*/ 3039909 h 3429000"/>
              <a:gd name="connsiteX79" fmla="*/ 1154745 w 12192000"/>
              <a:gd name="connsiteY79" fmla="*/ 3047529 h 3429000"/>
              <a:gd name="connsiteX80" fmla="*/ 1130933 w 12192000"/>
              <a:gd name="connsiteY80" fmla="*/ 3047529 h 3429000"/>
              <a:gd name="connsiteX81" fmla="*/ 1087118 w 12192000"/>
              <a:gd name="connsiteY81" fmla="*/ 3084677 h 3429000"/>
              <a:gd name="connsiteX82" fmla="*/ 1129980 w 12192000"/>
              <a:gd name="connsiteY82" fmla="*/ 3122778 h 3429000"/>
              <a:gd name="connsiteX83" fmla="*/ 1164270 w 12192000"/>
              <a:gd name="connsiteY83" fmla="*/ 3108490 h 3429000"/>
              <a:gd name="connsiteX84" fmla="*/ 1164270 w 12192000"/>
              <a:gd name="connsiteY84" fmla="*/ 3119920 h 3429000"/>
              <a:gd name="connsiteX85" fmla="*/ 1198560 w 12192000"/>
              <a:gd name="connsiteY85" fmla="*/ 3119920 h 3429000"/>
              <a:gd name="connsiteX86" fmla="*/ 1198560 w 12192000"/>
              <a:gd name="connsiteY86" fmla="*/ 3039909 h 3429000"/>
              <a:gd name="connsiteX87" fmla="*/ 1145220 w 12192000"/>
              <a:gd name="connsiteY87" fmla="*/ 2995141 h 3429000"/>
              <a:gd name="connsiteX88" fmla="*/ 587056 w 12192000"/>
              <a:gd name="connsiteY88" fmla="*/ 2957040 h 3429000"/>
              <a:gd name="connsiteX89" fmla="*/ 564196 w 12192000"/>
              <a:gd name="connsiteY89" fmla="*/ 2957993 h 3429000"/>
              <a:gd name="connsiteX90" fmla="*/ 564196 w 12192000"/>
              <a:gd name="connsiteY90" fmla="*/ 3095155 h 3429000"/>
              <a:gd name="connsiteX91" fmla="*/ 587056 w 12192000"/>
              <a:gd name="connsiteY91" fmla="*/ 3097060 h 3429000"/>
              <a:gd name="connsiteX92" fmla="*/ 619441 w 12192000"/>
              <a:gd name="connsiteY92" fmla="*/ 3094202 h 3429000"/>
              <a:gd name="connsiteX93" fmla="*/ 613726 w 12192000"/>
              <a:gd name="connsiteY93" fmla="*/ 2977043 h 3429000"/>
              <a:gd name="connsiteX94" fmla="*/ 619441 w 12192000"/>
              <a:gd name="connsiteY94" fmla="*/ 2959898 h 3429000"/>
              <a:gd name="connsiteX95" fmla="*/ 587056 w 12192000"/>
              <a:gd name="connsiteY95" fmla="*/ 2957040 h 3429000"/>
              <a:gd name="connsiteX96" fmla="*/ 1647187 w 12192000"/>
              <a:gd name="connsiteY96" fmla="*/ 2952278 h 3429000"/>
              <a:gd name="connsiteX97" fmla="*/ 1647187 w 12192000"/>
              <a:gd name="connsiteY97" fmla="*/ 2998951 h 3429000"/>
              <a:gd name="connsiteX98" fmla="*/ 1628137 w 12192000"/>
              <a:gd name="connsiteY98" fmla="*/ 2998951 h 3429000"/>
              <a:gd name="connsiteX99" fmla="*/ 1628137 w 12192000"/>
              <a:gd name="connsiteY99" fmla="*/ 3028479 h 3429000"/>
              <a:gd name="connsiteX100" fmla="*/ 1647187 w 12192000"/>
              <a:gd name="connsiteY100" fmla="*/ 3028479 h 3429000"/>
              <a:gd name="connsiteX101" fmla="*/ 1647187 w 12192000"/>
              <a:gd name="connsiteY101" fmla="*/ 3095155 h 3429000"/>
              <a:gd name="connsiteX102" fmla="*/ 1682429 w 12192000"/>
              <a:gd name="connsiteY102" fmla="*/ 3122778 h 3429000"/>
              <a:gd name="connsiteX103" fmla="*/ 1709099 w 12192000"/>
              <a:gd name="connsiteY103" fmla="*/ 3120873 h 3429000"/>
              <a:gd name="connsiteX104" fmla="*/ 1709099 w 12192000"/>
              <a:gd name="connsiteY104" fmla="*/ 3091345 h 3429000"/>
              <a:gd name="connsiteX105" fmla="*/ 1692907 w 12192000"/>
              <a:gd name="connsiteY105" fmla="*/ 3091345 h 3429000"/>
              <a:gd name="connsiteX106" fmla="*/ 1681477 w 12192000"/>
              <a:gd name="connsiteY106" fmla="*/ 3082772 h 3429000"/>
              <a:gd name="connsiteX107" fmla="*/ 1681477 w 12192000"/>
              <a:gd name="connsiteY107" fmla="*/ 3027526 h 3429000"/>
              <a:gd name="connsiteX108" fmla="*/ 1708147 w 12192000"/>
              <a:gd name="connsiteY108" fmla="*/ 3027526 h 3429000"/>
              <a:gd name="connsiteX109" fmla="*/ 1708147 w 12192000"/>
              <a:gd name="connsiteY109" fmla="*/ 2997998 h 3429000"/>
              <a:gd name="connsiteX110" fmla="*/ 1681477 w 12192000"/>
              <a:gd name="connsiteY110" fmla="*/ 2997998 h 3429000"/>
              <a:gd name="connsiteX111" fmla="*/ 1681477 w 12192000"/>
              <a:gd name="connsiteY111" fmla="*/ 2952278 h 3429000"/>
              <a:gd name="connsiteX112" fmla="*/ 1341435 w 12192000"/>
              <a:gd name="connsiteY112" fmla="*/ 2934180 h 3429000"/>
              <a:gd name="connsiteX113" fmla="*/ 1319527 w 12192000"/>
              <a:gd name="connsiteY113" fmla="*/ 2956088 h 3429000"/>
              <a:gd name="connsiteX114" fmla="*/ 1341435 w 12192000"/>
              <a:gd name="connsiteY114" fmla="*/ 2977996 h 3429000"/>
              <a:gd name="connsiteX115" fmla="*/ 1363342 w 12192000"/>
              <a:gd name="connsiteY115" fmla="*/ 2956088 h 3429000"/>
              <a:gd name="connsiteX116" fmla="*/ 1341435 w 12192000"/>
              <a:gd name="connsiteY116" fmla="*/ 2934180 h 3429000"/>
              <a:gd name="connsiteX117" fmla="*/ 1032826 w 12192000"/>
              <a:gd name="connsiteY117" fmla="*/ 2934180 h 3429000"/>
              <a:gd name="connsiteX118" fmla="*/ 1032826 w 12192000"/>
              <a:gd name="connsiteY118" fmla="*/ 3119920 h 3429000"/>
              <a:gd name="connsiteX119" fmla="*/ 1067116 w 12192000"/>
              <a:gd name="connsiteY119" fmla="*/ 3119920 h 3429000"/>
              <a:gd name="connsiteX120" fmla="*/ 1067116 w 12192000"/>
              <a:gd name="connsiteY120" fmla="*/ 2934180 h 3429000"/>
              <a:gd name="connsiteX121" fmla="*/ 922336 w 12192000"/>
              <a:gd name="connsiteY121" fmla="*/ 2930370 h 3429000"/>
              <a:gd name="connsiteX122" fmla="*/ 825181 w 12192000"/>
              <a:gd name="connsiteY122" fmla="*/ 3026574 h 3429000"/>
              <a:gd name="connsiteX123" fmla="*/ 922336 w 12192000"/>
              <a:gd name="connsiteY123" fmla="*/ 3122778 h 3429000"/>
              <a:gd name="connsiteX124" fmla="*/ 1013776 w 12192000"/>
              <a:gd name="connsiteY124" fmla="*/ 3053244 h 3429000"/>
              <a:gd name="connsiteX125" fmla="*/ 973771 w 12192000"/>
              <a:gd name="connsiteY125" fmla="*/ 3053244 h 3429000"/>
              <a:gd name="connsiteX126" fmla="*/ 923288 w 12192000"/>
              <a:gd name="connsiteY126" fmla="*/ 3088488 h 3429000"/>
              <a:gd name="connsiteX127" fmla="*/ 865186 w 12192000"/>
              <a:gd name="connsiteY127" fmla="*/ 3026574 h 3429000"/>
              <a:gd name="connsiteX128" fmla="*/ 923288 w 12192000"/>
              <a:gd name="connsiteY128" fmla="*/ 2964661 h 3429000"/>
              <a:gd name="connsiteX129" fmla="*/ 972818 w 12192000"/>
              <a:gd name="connsiteY129" fmla="*/ 2999904 h 3429000"/>
              <a:gd name="connsiteX130" fmla="*/ 1013776 w 12192000"/>
              <a:gd name="connsiteY130" fmla="*/ 2999904 h 3429000"/>
              <a:gd name="connsiteX131" fmla="*/ 922336 w 12192000"/>
              <a:gd name="connsiteY131" fmla="*/ 2930370 h 3429000"/>
              <a:gd name="connsiteX132" fmla="*/ 646112 w 12192000"/>
              <a:gd name="connsiteY132" fmla="*/ 2910367 h 3429000"/>
              <a:gd name="connsiteX133" fmla="*/ 619442 w 12192000"/>
              <a:gd name="connsiteY133" fmla="*/ 2958945 h 3429000"/>
              <a:gd name="connsiteX134" fmla="*/ 735647 w 12192000"/>
              <a:gd name="connsiteY134" fmla="*/ 3026574 h 3429000"/>
              <a:gd name="connsiteX135" fmla="*/ 764222 w 12192000"/>
              <a:gd name="connsiteY135" fmla="*/ 2978948 h 3429000"/>
              <a:gd name="connsiteX136" fmla="*/ 646112 w 12192000"/>
              <a:gd name="connsiteY136" fmla="*/ 2910367 h 3429000"/>
              <a:gd name="connsiteX137" fmla="*/ 0 w 12192000"/>
              <a:gd name="connsiteY137" fmla="*/ 0 h 3429000"/>
              <a:gd name="connsiteX138" fmla="*/ 12192000 w 12192000"/>
              <a:gd name="connsiteY138" fmla="*/ 0 h 3429000"/>
              <a:gd name="connsiteX139" fmla="*/ 12192000 w 12192000"/>
              <a:gd name="connsiteY139" fmla="*/ 3429000 h 3429000"/>
              <a:gd name="connsiteX140" fmla="*/ 8040688 w 12192000"/>
              <a:gd name="connsiteY140" fmla="*/ 3429000 h 3429000"/>
              <a:gd name="connsiteX141" fmla="*/ 7499776 w 12192000"/>
              <a:gd name="connsiteY141" fmla="*/ 3429000 h 3429000"/>
              <a:gd name="connsiteX142" fmla="*/ 0 w 12192000"/>
              <a:gd name="connsiteY142" fmla="*/ 3429000 h 34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2192000" h="3429000">
                <a:moveTo>
                  <a:pt x="1579559" y="3067532"/>
                </a:moveTo>
                <a:lnTo>
                  <a:pt x="1579559" y="3076105"/>
                </a:lnTo>
                <a:cubicBezTo>
                  <a:pt x="1579559" y="3091345"/>
                  <a:pt x="1566224" y="3098013"/>
                  <a:pt x="1555747" y="3098013"/>
                </a:cubicBezTo>
                <a:cubicBezTo>
                  <a:pt x="1545269" y="3098013"/>
                  <a:pt x="1538602" y="3092298"/>
                  <a:pt x="1538602" y="3083725"/>
                </a:cubicBezTo>
                <a:cubicBezTo>
                  <a:pt x="1538602" y="3075152"/>
                  <a:pt x="1545269" y="3070390"/>
                  <a:pt x="1555747" y="3070390"/>
                </a:cubicBezTo>
                <a:lnTo>
                  <a:pt x="1569082" y="3070390"/>
                </a:lnTo>
                <a:cubicBezTo>
                  <a:pt x="1573844" y="3070390"/>
                  <a:pt x="1577654" y="3069437"/>
                  <a:pt x="1579559" y="3067532"/>
                </a:cubicBezTo>
                <a:close/>
                <a:moveTo>
                  <a:pt x="1162365" y="3067532"/>
                </a:moveTo>
                <a:lnTo>
                  <a:pt x="1162365" y="3076105"/>
                </a:lnTo>
                <a:cubicBezTo>
                  <a:pt x="1162365" y="3091345"/>
                  <a:pt x="1149030" y="3098013"/>
                  <a:pt x="1138553" y="3098013"/>
                </a:cubicBezTo>
                <a:cubicBezTo>
                  <a:pt x="1128075" y="3098013"/>
                  <a:pt x="1121408" y="3092298"/>
                  <a:pt x="1121408" y="3083725"/>
                </a:cubicBezTo>
                <a:cubicBezTo>
                  <a:pt x="1121408" y="3075152"/>
                  <a:pt x="1128075" y="3070390"/>
                  <a:pt x="1138553" y="3070390"/>
                </a:cubicBezTo>
                <a:lnTo>
                  <a:pt x="1151888" y="3070390"/>
                </a:lnTo>
                <a:cubicBezTo>
                  <a:pt x="1156650" y="3070390"/>
                  <a:pt x="1160460" y="3069437"/>
                  <a:pt x="1162365" y="3067532"/>
                </a:cubicBezTo>
                <a:close/>
                <a:moveTo>
                  <a:pt x="736599" y="3026574"/>
                </a:moveTo>
                <a:cubicBezTo>
                  <a:pt x="707072" y="3061817"/>
                  <a:pt x="666114" y="3086582"/>
                  <a:pt x="619442" y="3094203"/>
                </a:cubicBezTo>
                <a:cubicBezTo>
                  <a:pt x="623252" y="3103728"/>
                  <a:pt x="628014" y="3114205"/>
                  <a:pt x="632777" y="3123731"/>
                </a:cubicBezTo>
                <a:cubicBezTo>
                  <a:pt x="636587" y="3130398"/>
                  <a:pt x="641349" y="3137066"/>
                  <a:pt x="646112" y="3142781"/>
                </a:cubicBezTo>
                <a:cubicBezTo>
                  <a:pt x="691832" y="3131351"/>
                  <a:pt x="732789" y="3107538"/>
                  <a:pt x="765174" y="3074200"/>
                </a:cubicBezTo>
                <a:cubicBezTo>
                  <a:pt x="757554" y="3057054"/>
                  <a:pt x="748029" y="3040862"/>
                  <a:pt x="736599" y="3026574"/>
                </a:cubicBezTo>
                <a:close/>
                <a:moveTo>
                  <a:pt x="1781490" y="3023716"/>
                </a:moveTo>
                <a:cubicBezTo>
                  <a:pt x="1795777" y="3023716"/>
                  <a:pt x="1806255" y="3033241"/>
                  <a:pt x="1808160" y="3045624"/>
                </a:cubicBezTo>
                <a:lnTo>
                  <a:pt x="1753867" y="3045624"/>
                </a:lnTo>
                <a:cubicBezTo>
                  <a:pt x="1756725" y="3032289"/>
                  <a:pt x="1767202" y="3023716"/>
                  <a:pt x="1781490" y="3023716"/>
                </a:cubicBezTo>
                <a:close/>
                <a:moveTo>
                  <a:pt x="1309050" y="2997999"/>
                </a:moveTo>
                <a:lnTo>
                  <a:pt x="1309050" y="3027526"/>
                </a:lnTo>
                <a:lnTo>
                  <a:pt x="1326195" y="3027526"/>
                </a:lnTo>
                <a:lnTo>
                  <a:pt x="1326195" y="3119920"/>
                </a:lnTo>
                <a:lnTo>
                  <a:pt x="1360485" y="3119920"/>
                </a:lnTo>
                <a:lnTo>
                  <a:pt x="1360485" y="2997999"/>
                </a:lnTo>
                <a:close/>
                <a:moveTo>
                  <a:pt x="1372868" y="2997998"/>
                </a:moveTo>
                <a:lnTo>
                  <a:pt x="1414778" y="3119920"/>
                </a:lnTo>
                <a:lnTo>
                  <a:pt x="1457640" y="3119920"/>
                </a:lnTo>
                <a:lnTo>
                  <a:pt x="1501455" y="2997998"/>
                </a:lnTo>
                <a:lnTo>
                  <a:pt x="1465260" y="2997998"/>
                </a:lnTo>
                <a:lnTo>
                  <a:pt x="1437638" y="3082772"/>
                </a:lnTo>
                <a:lnTo>
                  <a:pt x="1410015" y="2997998"/>
                </a:lnTo>
                <a:close/>
                <a:moveTo>
                  <a:pt x="1781490" y="2996093"/>
                </a:moveTo>
                <a:cubicBezTo>
                  <a:pt x="1745295" y="2996093"/>
                  <a:pt x="1718625" y="3022763"/>
                  <a:pt x="1718625" y="3059912"/>
                </a:cubicBezTo>
                <a:cubicBezTo>
                  <a:pt x="1718625" y="3097060"/>
                  <a:pt x="1754820" y="3123730"/>
                  <a:pt x="1782442" y="3123730"/>
                </a:cubicBezTo>
                <a:cubicBezTo>
                  <a:pt x="1810065" y="3123730"/>
                  <a:pt x="1832925" y="3111347"/>
                  <a:pt x="1843402" y="3085629"/>
                </a:cubicBezTo>
                <a:lnTo>
                  <a:pt x="1807207" y="3081819"/>
                </a:lnTo>
                <a:cubicBezTo>
                  <a:pt x="1802445" y="3089439"/>
                  <a:pt x="1797682" y="3094202"/>
                  <a:pt x="1782442" y="3094202"/>
                </a:cubicBezTo>
                <a:cubicBezTo>
                  <a:pt x="1767202" y="3094202"/>
                  <a:pt x="1756725" y="3082772"/>
                  <a:pt x="1754820" y="3069437"/>
                </a:cubicBezTo>
                <a:lnTo>
                  <a:pt x="1845307" y="3069437"/>
                </a:lnTo>
                <a:lnTo>
                  <a:pt x="1845307" y="3068484"/>
                </a:lnTo>
                <a:cubicBezTo>
                  <a:pt x="1845307" y="3018001"/>
                  <a:pt x="1817685" y="2996093"/>
                  <a:pt x="1781490" y="2996093"/>
                </a:cubicBezTo>
                <a:close/>
                <a:moveTo>
                  <a:pt x="1282380" y="2996093"/>
                </a:moveTo>
                <a:cubicBezTo>
                  <a:pt x="1267140" y="2996093"/>
                  <a:pt x="1255710" y="3003713"/>
                  <a:pt x="1250947" y="3017048"/>
                </a:cubicBezTo>
                <a:lnTo>
                  <a:pt x="1250947" y="2997998"/>
                </a:lnTo>
                <a:lnTo>
                  <a:pt x="1217610" y="2997998"/>
                </a:lnTo>
                <a:lnTo>
                  <a:pt x="1217610" y="3119920"/>
                </a:lnTo>
                <a:lnTo>
                  <a:pt x="1251900" y="3119920"/>
                </a:lnTo>
                <a:lnTo>
                  <a:pt x="1251900" y="3061817"/>
                </a:lnTo>
                <a:cubicBezTo>
                  <a:pt x="1251900" y="3040861"/>
                  <a:pt x="1260472" y="3032289"/>
                  <a:pt x="1277617" y="3032289"/>
                </a:cubicBezTo>
                <a:lnTo>
                  <a:pt x="1291905" y="3032289"/>
                </a:lnTo>
                <a:cubicBezTo>
                  <a:pt x="1291905" y="3032289"/>
                  <a:pt x="1291905" y="2997046"/>
                  <a:pt x="1291905" y="2997046"/>
                </a:cubicBezTo>
                <a:cubicBezTo>
                  <a:pt x="1289047" y="2996093"/>
                  <a:pt x="1297620" y="2996093"/>
                  <a:pt x="1282380" y="2996093"/>
                </a:cubicBezTo>
                <a:close/>
                <a:moveTo>
                  <a:pt x="1562414" y="2995141"/>
                </a:moveTo>
                <a:cubicBezTo>
                  <a:pt x="1532887" y="2995141"/>
                  <a:pt x="1510027" y="3010381"/>
                  <a:pt x="1510027" y="3010381"/>
                </a:cubicBezTo>
                <a:lnTo>
                  <a:pt x="1523362" y="3036099"/>
                </a:lnTo>
                <a:cubicBezTo>
                  <a:pt x="1531934" y="3030384"/>
                  <a:pt x="1546222" y="3024669"/>
                  <a:pt x="1559557" y="3024669"/>
                </a:cubicBezTo>
                <a:cubicBezTo>
                  <a:pt x="1572892" y="3024669"/>
                  <a:pt x="1579559" y="3030384"/>
                  <a:pt x="1579559" y="3038957"/>
                </a:cubicBezTo>
                <a:lnTo>
                  <a:pt x="1580512" y="3039909"/>
                </a:lnTo>
                <a:cubicBezTo>
                  <a:pt x="1580512" y="3044672"/>
                  <a:pt x="1577654" y="3047529"/>
                  <a:pt x="1571939" y="3047529"/>
                </a:cubicBezTo>
                <a:lnTo>
                  <a:pt x="1548127" y="3047529"/>
                </a:lnTo>
                <a:cubicBezTo>
                  <a:pt x="1521457" y="3047529"/>
                  <a:pt x="1504312" y="3064675"/>
                  <a:pt x="1504312" y="3084677"/>
                </a:cubicBezTo>
                <a:cubicBezTo>
                  <a:pt x="1504312" y="3104680"/>
                  <a:pt x="1521457" y="3122778"/>
                  <a:pt x="1547174" y="3122778"/>
                </a:cubicBezTo>
                <a:cubicBezTo>
                  <a:pt x="1561462" y="3122778"/>
                  <a:pt x="1574797" y="3118015"/>
                  <a:pt x="1581464" y="3108490"/>
                </a:cubicBezTo>
                <a:lnTo>
                  <a:pt x="1581464" y="3119920"/>
                </a:lnTo>
                <a:lnTo>
                  <a:pt x="1615754" y="3119920"/>
                </a:lnTo>
                <a:lnTo>
                  <a:pt x="1615754" y="3039909"/>
                </a:lnTo>
                <a:cubicBezTo>
                  <a:pt x="1615754" y="3007524"/>
                  <a:pt x="1591942" y="2995141"/>
                  <a:pt x="1562414" y="2995141"/>
                </a:cubicBezTo>
                <a:close/>
                <a:moveTo>
                  <a:pt x="1145220" y="2995141"/>
                </a:moveTo>
                <a:cubicBezTo>
                  <a:pt x="1115693" y="2995141"/>
                  <a:pt x="1092833" y="3010381"/>
                  <a:pt x="1092833" y="3010381"/>
                </a:cubicBezTo>
                <a:lnTo>
                  <a:pt x="1106168" y="3036099"/>
                </a:lnTo>
                <a:cubicBezTo>
                  <a:pt x="1114740" y="3030384"/>
                  <a:pt x="1129028" y="3024669"/>
                  <a:pt x="1142363" y="3024669"/>
                </a:cubicBezTo>
                <a:cubicBezTo>
                  <a:pt x="1155698" y="3024669"/>
                  <a:pt x="1162365" y="3030384"/>
                  <a:pt x="1162365" y="3038957"/>
                </a:cubicBezTo>
                <a:lnTo>
                  <a:pt x="1163318" y="3039909"/>
                </a:lnTo>
                <a:cubicBezTo>
                  <a:pt x="1163318" y="3044672"/>
                  <a:pt x="1160460" y="3047529"/>
                  <a:pt x="1154745" y="3047529"/>
                </a:cubicBezTo>
                <a:lnTo>
                  <a:pt x="1130933" y="3047529"/>
                </a:lnTo>
                <a:cubicBezTo>
                  <a:pt x="1104263" y="3047529"/>
                  <a:pt x="1087118" y="3064675"/>
                  <a:pt x="1087118" y="3084677"/>
                </a:cubicBezTo>
                <a:cubicBezTo>
                  <a:pt x="1087118" y="3104680"/>
                  <a:pt x="1104263" y="3122778"/>
                  <a:pt x="1129980" y="3122778"/>
                </a:cubicBezTo>
                <a:cubicBezTo>
                  <a:pt x="1144268" y="3122778"/>
                  <a:pt x="1157603" y="3118015"/>
                  <a:pt x="1164270" y="3108490"/>
                </a:cubicBezTo>
                <a:lnTo>
                  <a:pt x="1164270" y="3119920"/>
                </a:lnTo>
                <a:lnTo>
                  <a:pt x="1198560" y="3119920"/>
                </a:lnTo>
                <a:lnTo>
                  <a:pt x="1198560" y="3039909"/>
                </a:lnTo>
                <a:cubicBezTo>
                  <a:pt x="1198560" y="3007524"/>
                  <a:pt x="1174748" y="2995141"/>
                  <a:pt x="1145220" y="2995141"/>
                </a:cubicBezTo>
                <a:close/>
                <a:moveTo>
                  <a:pt x="587056" y="2957040"/>
                </a:moveTo>
                <a:cubicBezTo>
                  <a:pt x="575626" y="2957040"/>
                  <a:pt x="571816" y="2957040"/>
                  <a:pt x="564196" y="2957993"/>
                </a:cubicBezTo>
                <a:cubicBezTo>
                  <a:pt x="551814" y="3001808"/>
                  <a:pt x="550861" y="3049434"/>
                  <a:pt x="564196" y="3095155"/>
                </a:cubicBezTo>
                <a:cubicBezTo>
                  <a:pt x="571816" y="3095155"/>
                  <a:pt x="579436" y="3097060"/>
                  <a:pt x="587056" y="3097060"/>
                </a:cubicBezTo>
                <a:cubicBezTo>
                  <a:pt x="598486" y="3097060"/>
                  <a:pt x="608964" y="3096107"/>
                  <a:pt x="619441" y="3094202"/>
                </a:cubicBezTo>
                <a:cubicBezTo>
                  <a:pt x="605154" y="3057054"/>
                  <a:pt x="603249" y="3016096"/>
                  <a:pt x="613726" y="2977043"/>
                </a:cubicBezTo>
                <a:cubicBezTo>
                  <a:pt x="615631" y="2971328"/>
                  <a:pt x="617536" y="2965613"/>
                  <a:pt x="619441" y="2959898"/>
                </a:cubicBezTo>
                <a:cubicBezTo>
                  <a:pt x="608964" y="2957993"/>
                  <a:pt x="598486" y="2957040"/>
                  <a:pt x="587056" y="2957040"/>
                </a:cubicBezTo>
                <a:close/>
                <a:moveTo>
                  <a:pt x="1647187" y="2952278"/>
                </a:moveTo>
                <a:lnTo>
                  <a:pt x="1647187" y="2998951"/>
                </a:lnTo>
                <a:lnTo>
                  <a:pt x="1628137" y="2998951"/>
                </a:lnTo>
                <a:lnTo>
                  <a:pt x="1628137" y="3028479"/>
                </a:lnTo>
                <a:lnTo>
                  <a:pt x="1647187" y="3028479"/>
                </a:lnTo>
                <a:lnTo>
                  <a:pt x="1647187" y="3095155"/>
                </a:lnTo>
                <a:cubicBezTo>
                  <a:pt x="1647187" y="3119920"/>
                  <a:pt x="1665284" y="3122778"/>
                  <a:pt x="1682429" y="3122778"/>
                </a:cubicBezTo>
                <a:cubicBezTo>
                  <a:pt x="1691954" y="3122778"/>
                  <a:pt x="1709099" y="3120873"/>
                  <a:pt x="1709099" y="3120873"/>
                </a:cubicBezTo>
                <a:lnTo>
                  <a:pt x="1709099" y="3091345"/>
                </a:lnTo>
                <a:cubicBezTo>
                  <a:pt x="1709099" y="3091345"/>
                  <a:pt x="1701479" y="3091345"/>
                  <a:pt x="1692907" y="3091345"/>
                </a:cubicBezTo>
                <a:cubicBezTo>
                  <a:pt x="1687192" y="3091345"/>
                  <a:pt x="1681477" y="3090392"/>
                  <a:pt x="1681477" y="3082772"/>
                </a:cubicBezTo>
                <a:lnTo>
                  <a:pt x="1681477" y="3027526"/>
                </a:lnTo>
                <a:lnTo>
                  <a:pt x="1708147" y="3027526"/>
                </a:lnTo>
                <a:lnTo>
                  <a:pt x="1708147" y="2997998"/>
                </a:lnTo>
                <a:lnTo>
                  <a:pt x="1681477" y="2997998"/>
                </a:lnTo>
                <a:lnTo>
                  <a:pt x="1681477" y="2952278"/>
                </a:lnTo>
                <a:close/>
                <a:moveTo>
                  <a:pt x="1341435" y="2934180"/>
                </a:moveTo>
                <a:cubicBezTo>
                  <a:pt x="1329052" y="2934180"/>
                  <a:pt x="1319527" y="2943705"/>
                  <a:pt x="1319527" y="2956088"/>
                </a:cubicBezTo>
                <a:cubicBezTo>
                  <a:pt x="1319527" y="2968471"/>
                  <a:pt x="1329052" y="2977996"/>
                  <a:pt x="1341435" y="2977996"/>
                </a:cubicBezTo>
                <a:cubicBezTo>
                  <a:pt x="1353817" y="2977996"/>
                  <a:pt x="1363342" y="2967518"/>
                  <a:pt x="1363342" y="2956088"/>
                </a:cubicBezTo>
                <a:cubicBezTo>
                  <a:pt x="1363342" y="2944658"/>
                  <a:pt x="1353817" y="2934180"/>
                  <a:pt x="1341435" y="2934180"/>
                </a:cubicBezTo>
                <a:close/>
                <a:moveTo>
                  <a:pt x="1032826" y="2934180"/>
                </a:moveTo>
                <a:lnTo>
                  <a:pt x="1032826" y="3119920"/>
                </a:lnTo>
                <a:lnTo>
                  <a:pt x="1067116" y="3119920"/>
                </a:lnTo>
                <a:lnTo>
                  <a:pt x="1067116" y="2934180"/>
                </a:lnTo>
                <a:close/>
                <a:moveTo>
                  <a:pt x="922336" y="2930370"/>
                </a:moveTo>
                <a:cubicBezTo>
                  <a:pt x="867091" y="2930370"/>
                  <a:pt x="825181" y="2970376"/>
                  <a:pt x="825181" y="3026574"/>
                </a:cubicBezTo>
                <a:cubicBezTo>
                  <a:pt x="825181" y="3082772"/>
                  <a:pt x="880426" y="3122778"/>
                  <a:pt x="922336" y="3122778"/>
                </a:cubicBezTo>
                <a:cubicBezTo>
                  <a:pt x="964246" y="3122778"/>
                  <a:pt x="1003298" y="3097060"/>
                  <a:pt x="1013776" y="3053244"/>
                </a:cubicBezTo>
                <a:lnTo>
                  <a:pt x="973771" y="3053244"/>
                </a:lnTo>
                <a:cubicBezTo>
                  <a:pt x="967103" y="3075152"/>
                  <a:pt x="948053" y="3088488"/>
                  <a:pt x="923288" y="3088488"/>
                </a:cubicBezTo>
                <a:cubicBezTo>
                  <a:pt x="888046" y="3088488"/>
                  <a:pt x="865186" y="3061817"/>
                  <a:pt x="865186" y="3026574"/>
                </a:cubicBezTo>
                <a:cubicBezTo>
                  <a:pt x="865186" y="2991331"/>
                  <a:pt x="888046" y="2964661"/>
                  <a:pt x="923288" y="2964661"/>
                </a:cubicBezTo>
                <a:cubicBezTo>
                  <a:pt x="947101" y="2964661"/>
                  <a:pt x="966151" y="2977996"/>
                  <a:pt x="972818" y="2999904"/>
                </a:cubicBezTo>
                <a:lnTo>
                  <a:pt x="1013776" y="2999904"/>
                </a:lnTo>
                <a:cubicBezTo>
                  <a:pt x="1002346" y="2956088"/>
                  <a:pt x="977581" y="2930370"/>
                  <a:pt x="922336" y="2930370"/>
                </a:cubicBezTo>
                <a:close/>
                <a:moveTo>
                  <a:pt x="646112" y="2910367"/>
                </a:moveTo>
                <a:cubicBezTo>
                  <a:pt x="634682" y="2925607"/>
                  <a:pt x="626109" y="2941800"/>
                  <a:pt x="619442" y="2958945"/>
                </a:cubicBezTo>
                <a:cubicBezTo>
                  <a:pt x="666114" y="2966565"/>
                  <a:pt x="707072" y="2991331"/>
                  <a:pt x="735647" y="3026574"/>
                </a:cubicBezTo>
                <a:cubicBezTo>
                  <a:pt x="747077" y="3012286"/>
                  <a:pt x="757554" y="2996093"/>
                  <a:pt x="764222" y="2978948"/>
                </a:cubicBezTo>
                <a:cubicBezTo>
                  <a:pt x="732789" y="2946563"/>
                  <a:pt x="691832" y="2921797"/>
                  <a:pt x="646112" y="2910367"/>
                </a:cubicBezTo>
                <a:close/>
                <a:moveTo>
                  <a:pt x="0" y="0"/>
                </a:moveTo>
                <a:lnTo>
                  <a:pt x="12192000" y="0"/>
                </a:lnTo>
                <a:lnTo>
                  <a:pt x="12192000" y="3429000"/>
                </a:lnTo>
                <a:lnTo>
                  <a:pt x="8040688" y="3429000"/>
                </a:lnTo>
                <a:lnTo>
                  <a:pt x="7499776" y="3429000"/>
                </a:lnTo>
                <a:lnTo>
                  <a:pt x="0" y="3429000"/>
                </a:lnTo>
                <a:close/>
              </a:path>
            </a:pathLst>
          </a:custGeom>
          <a:solidFill>
            <a:schemeClr val="bg1">
              <a:lumMod val="95000"/>
            </a:schemeClr>
          </a:solidFill>
          <a:ln>
            <a:noFill/>
          </a:ln>
        </p:spPr>
        <p:txBody>
          <a:bodyPr wrap="square" tIns="108000" anchor="t" anchorCtr="0">
            <a:noAutofit/>
          </a:bodyPr>
          <a:lstStyle>
            <a:lvl1pPr marL="0" indent="0" algn="ctr">
              <a:buNone/>
              <a:defRPr sz="1000">
                <a:solidFill>
                  <a:schemeClr val="accent2"/>
                </a:solidFill>
                <a:latin typeface="+mn-lt"/>
              </a:defRPr>
            </a:lvl1pPr>
          </a:lstStyle>
          <a:p>
            <a:pPr lvl="0"/>
            <a:r>
              <a:rPr lang="en-US"/>
              <a:t>Drag picture file here or click </a:t>
            </a:r>
            <a:r>
              <a:rPr lang="en-US" noProof="0"/>
              <a:t>center</a:t>
            </a:r>
            <a:r>
              <a:rPr lang="en-US"/>
              <a:t> icon to insert light image</a:t>
            </a:r>
          </a:p>
        </p:txBody>
      </p:sp>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251885"/>
          </a:xfrm>
        </p:spPr>
        <p:txBody>
          <a:bodyPr/>
          <a:lstStyle>
            <a:lvl1pPr>
              <a:defRPr/>
            </a:lvl1pPr>
          </a:lstStyle>
          <a:p>
            <a:r>
              <a:rPr lang="en-US"/>
              <a:t>Header avenir demi</a:t>
            </a:r>
            <a:endParaRPr lang="en-GB"/>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7" name="Text Placeholder 12">
            <a:extLst>
              <a:ext uri="{FF2B5EF4-FFF2-40B4-BE49-F238E27FC236}">
                <a16:creationId xmlns:a16="http://schemas.microsoft.com/office/drawing/2014/main" id="{841E26EB-9911-0A6E-407B-8667159EEC13}"/>
              </a:ext>
            </a:extLst>
          </p:cNvPr>
          <p:cNvSpPr>
            <a:spLocks noGrp="1"/>
          </p:cNvSpPr>
          <p:nvPr>
            <p:ph type="body" sz="quarter" idx="14"/>
          </p:nvPr>
        </p:nvSpPr>
        <p:spPr>
          <a:xfrm>
            <a:off x="550863" y="1808164"/>
            <a:ext cx="3204000" cy="1441450"/>
          </a:xfrm>
        </p:spPr>
        <p:txBody>
          <a:bodyPr/>
          <a:lstStyle/>
          <a:p>
            <a:pPr lvl="0"/>
            <a:r>
              <a:rPr lang="en-US"/>
              <a:t>Click to edit Master text styles</a:t>
            </a:r>
          </a:p>
          <a:p>
            <a:pPr lvl="1"/>
            <a:r>
              <a:rPr lang="en-US"/>
              <a:t>Second level</a:t>
            </a:r>
          </a:p>
          <a:p>
            <a:pPr lvl="2"/>
            <a:r>
              <a:rPr lang="en-US"/>
              <a:t>Third level</a:t>
            </a:r>
          </a:p>
        </p:txBody>
      </p:sp>
      <p:sp>
        <p:nvSpPr>
          <p:cNvPr id="10" name="Text Placeholder 12">
            <a:extLst>
              <a:ext uri="{FF2B5EF4-FFF2-40B4-BE49-F238E27FC236}">
                <a16:creationId xmlns:a16="http://schemas.microsoft.com/office/drawing/2014/main" id="{45BEBC43-8186-4AEB-F4CF-271F011B0368}"/>
              </a:ext>
            </a:extLst>
          </p:cNvPr>
          <p:cNvSpPr>
            <a:spLocks noGrp="1"/>
          </p:cNvSpPr>
          <p:nvPr>
            <p:ph type="body" sz="quarter" idx="15"/>
          </p:nvPr>
        </p:nvSpPr>
        <p:spPr>
          <a:xfrm>
            <a:off x="4295776" y="1808164"/>
            <a:ext cx="3204000" cy="1441450"/>
          </a:xfrm>
        </p:spPr>
        <p:txBody>
          <a:bodyPr/>
          <a:lstStyle/>
          <a:p>
            <a:pPr lvl="0"/>
            <a:r>
              <a:rPr lang="en-US"/>
              <a:t>Click to edit Master text styles</a:t>
            </a:r>
          </a:p>
          <a:p>
            <a:pPr lvl="1"/>
            <a:r>
              <a:rPr lang="en-US"/>
              <a:t>Second level</a:t>
            </a:r>
          </a:p>
          <a:p>
            <a:pPr lvl="2"/>
            <a:r>
              <a:rPr lang="en-US"/>
              <a:t>Third level</a:t>
            </a:r>
          </a:p>
        </p:txBody>
      </p:sp>
      <p:sp>
        <p:nvSpPr>
          <p:cNvPr id="11" name="Text Placeholder 12">
            <a:extLst>
              <a:ext uri="{FF2B5EF4-FFF2-40B4-BE49-F238E27FC236}">
                <a16:creationId xmlns:a16="http://schemas.microsoft.com/office/drawing/2014/main" id="{042CC176-3CD8-0372-5942-EAD056B059E7}"/>
              </a:ext>
            </a:extLst>
          </p:cNvPr>
          <p:cNvSpPr>
            <a:spLocks noGrp="1"/>
          </p:cNvSpPr>
          <p:nvPr>
            <p:ph type="body" sz="quarter" idx="16"/>
          </p:nvPr>
        </p:nvSpPr>
        <p:spPr>
          <a:xfrm>
            <a:off x="8040687" y="1808164"/>
            <a:ext cx="3204000" cy="1441450"/>
          </a:xfrm>
        </p:spPr>
        <p:txBody>
          <a:body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7" y="6348353"/>
            <a:ext cx="3292474" cy="215901"/>
          </a:xfrm>
        </p:spPr>
        <p:txBody>
          <a:bodyPr/>
          <a:lstStyle>
            <a:lvl1pPr>
              <a:defRPr>
                <a:solidFill>
                  <a:schemeClr val="tx1"/>
                </a:solidFill>
              </a:defRPr>
            </a:lvl1p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spTree>
    <p:extLst>
      <p:ext uri="{BB962C8B-B14F-4D97-AF65-F5344CB8AC3E}">
        <p14:creationId xmlns:p14="http://schemas.microsoft.com/office/powerpoint/2010/main" val="225325442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Horizontal Split - 3x Col / Dark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58867A9-9407-75CF-0561-28134BDEED22}"/>
              </a:ext>
              <a:ext uri="{C183D7F6-B498-43B3-948B-1728B52AA6E4}">
                <adec:decorative xmlns:adec="http://schemas.microsoft.com/office/drawing/2017/decorative" val="1"/>
              </a:ext>
            </a:extLst>
          </p:cNvPr>
          <p:cNvSpPr/>
          <p:nvPr userDrawn="1"/>
        </p:nvSpPr>
        <p:spPr>
          <a:xfrm>
            <a:off x="0" y="6129338"/>
            <a:ext cx="2279650" cy="7286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Picture Placeholder 13">
            <a:extLst>
              <a:ext uri="{FF2B5EF4-FFF2-40B4-BE49-F238E27FC236}">
                <a16:creationId xmlns:a16="http://schemas.microsoft.com/office/drawing/2014/main" id="{8CFA6BBC-586D-E0A3-EF35-77D4AFC290B5}"/>
              </a:ext>
              <a:ext uri="{C183D7F6-B498-43B3-948B-1728B52AA6E4}">
                <adec:decorative xmlns:adec="http://schemas.microsoft.com/office/drawing/2017/decorative" val="1"/>
              </a:ext>
            </a:extLst>
          </p:cNvPr>
          <p:cNvSpPr>
            <a:spLocks noGrp="1"/>
          </p:cNvSpPr>
          <p:nvPr>
            <p:ph type="pic" sz="quarter" idx="20" hasCustomPrompt="1"/>
          </p:nvPr>
        </p:nvSpPr>
        <p:spPr>
          <a:xfrm>
            <a:off x="0" y="3429000"/>
            <a:ext cx="12192000" cy="3429000"/>
          </a:xfrm>
          <a:custGeom>
            <a:avLst/>
            <a:gdLst>
              <a:gd name="connsiteX0" fmla="*/ 1579559 w 12192000"/>
              <a:gd name="connsiteY0" fmla="*/ 3067532 h 3429000"/>
              <a:gd name="connsiteX1" fmla="*/ 1579559 w 12192000"/>
              <a:gd name="connsiteY1" fmla="*/ 3076105 h 3429000"/>
              <a:gd name="connsiteX2" fmla="*/ 1555747 w 12192000"/>
              <a:gd name="connsiteY2" fmla="*/ 3098013 h 3429000"/>
              <a:gd name="connsiteX3" fmla="*/ 1538602 w 12192000"/>
              <a:gd name="connsiteY3" fmla="*/ 3083725 h 3429000"/>
              <a:gd name="connsiteX4" fmla="*/ 1555747 w 12192000"/>
              <a:gd name="connsiteY4" fmla="*/ 3070390 h 3429000"/>
              <a:gd name="connsiteX5" fmla="*/ 1569082 w 12192000"/>
              <a:gd name="connsiteY5" fmla="*/ 3070390 h 3429000"/>
              <a:gd name="connsiteX6" fmla="*/ 1579559 w 12192000"/>
              <a:gd name="connsiteY6" fmla="*/ 3067532 h 3429000"/>
              <a:gd name="connsiteX7" fmla="*/ 1162365 w 12192000"/>
              <a:gd name="connsiteY7" fmla="*/ 3067532 h 3429000"/>
              <a:gd name="connsiteX8" fmla="*/ 1162365 w 12192000"/>
              <a:gd name="connsiteY8" fmla="*/ 3076105 h 3429000"/>
              <a:gd name="connsiteX9" fmla="*/ 1138553 w 12192000"/>
              <a:gd name="connsiteY9" fmla="*/ 3098013 h 3429000"/>
              <a:gd name="connsiteX10" fmla="*/ 1121408 w 12192000"/>
              <a:gd name="connsiteY10" fmla="*/ 3083725 h 3429000"/>
              <a:gd name="connsiteX11" fmla="*/ 1138553 w 12192000"/>
              <a:gd name="connsiteY11" fmla="*/ 3070390 h 3429000"/>
              <a:gd name="connsiteX12" fmla="*/ 1151888 w 12192000"/>
              <a:gd name="connsiteY12" fmla="*/ 3070390 h 3429000"/>
              <a:gd name="connsiteX13" fmla="*/ 1162365 w 12192000"/>
              <a:gd name="connsiteY13" fmla="*/ 3067532 h 3429000"/>
              <a:gd name="connsiteX14" fmla="*/ 736599 w 12192000"/>
              <a:gd name="connsiteY14" fmla="*/ 3026574 h 3429000"/>
              <a:gd name="connsiteX15" fmla="*/ 619442 w 12192000"/>
              <a:gd name="connsiteY15" fmla="*/ 3094203 h 3429000"/>
              <a:gd name="connsiteX16" fmla="*/ 632777 w 12192000"/>
              <a:gd name="connsiteY16" fmla="*/ 3123731 h 3429000"/>
              <a:gd name="connsiteX17" fmla="*/ 646112 w 12192000"/>
              <a:gd name="connsiteY17" fmla="*/ 3142781 h 3429000"/>
              <a:gd name="connsiteX18" fmla="*/ 765174 w 12192000"/>
              <a:gd name="connsiteY18" fmla="*/ 3074200 h 3429000"/>
              <a:gd name="connsiteX19" fmla="*/ 736599 w 12192000"/>
              <a:gd name="connsiteY19" fmla="*/ 3026574 h 3429000"/>
              <a:gd name="connsiteX20" fmla="*/ 1781490 w 12192000"/>
              <a:gd name="connsiteY20" fmla="*/ 3023716 h 3429000"/>
              <a:gd name="connsiteX21" fmla="*/ 1808160 w 12192000"/>
              <a:gd name="connsiteY21" fmla="*/ 3045624 h 3429000"/>
              <a:gd name="connsiteX22" fmla="*/ 1753867 w 12192000"/>
              <a:gd name="connsiteY22" fmla="*/ 3045624 h 3429000"/>
              <a:gd name="connsiteX23" fmla="*/ 1781490 w 12192000"/>
              <a:gd name="connsiteY23" fmla="*/ 3023716 h 3429000"/>
              <a:gd name="connsiteX24" fmla="*/ 1309050 w 12192000"/>
              <a:gd name="connsiteY24" fmla="*/ 2997999 h 3429000"/>
              <a:gd name="connsiteX25" fmla="*/ 1309050 w 12192000"/>
              <a:gd name="connsiteY25" fmla="*/ 3027526 h 3429000"/>
              <a:gd name="connsiteX26" fmla="*/ 1326195 w 12192000"/>
              <a:gd name="connsiteY26" fmla="*/ 3027526 h 3429000"/>
              <a:gd name="connsiteX27" fmla="*/ 1326195 w 12192000"/>
              <a:gd name="connsiteY27" fmla="*/ 3119920 h 3429000"/>
              <a:gd name="connsiteX28" fmla="*/ 1360485 w 12192000"/>
              <a:gd name="connsiteY28" fmla="*/ 3119920 h 3429000"/>
              <a:gd name="connsiteX29" fmla="*/ 1360485 w 12192000"/>
              <a:gd name="connsiteY29" fmla="*/ 2997999 h 3429000"/>
              <a:gd name="connsiteX30" fmla="*/ 1372868 w 12192000"/>
              <a:gd name="connsiteY30" fmla="*/ 2997998 h 3429000"/>
              <a:gd name="connsiteX31" fmla="*/ 1414778 w 12192000"/>
              <a:gd name="connsiteY31" fmla="*/ 3119920 h 3429000"/>
              <a:gd name="connsiteX32" fmla="*/ 1457640 w 12192000"/>
              <a:gd name="connsiteY32" fmla="*/ 3119920 h 3429000"/>
              <a:gd name="connsiteX33" fmla="*/ 1501455 w 12192000"/>
              <a:gd name="connsiteY33" fmla="*/ 2997998 h 3429000"/>
              <a:gd name="connsiteX34" fmla="*/ 1465260 w 12192000"/>
              <a:gd name="connsiteY34" fmla="*/ 2997998 h 3429000"/>
              <a:gd name="connsiteX35" fmla="*/ 1437638 w 12192000"/>
              <a:gd name="connsiteY35" fmla="*/ 3082772 h 3429000"/>
              <a:gd name="connsiteX36" fmla="*/ 1410015 w 12192000"/>
              <a:gd name="connsiteY36" fmla="*/ 2997998 h 3429000"/>
              <a:gd name="connsiteX37" fmla="*/ 1781490 w 12192000"/>
              <a:gd name="connsiteY37" fmla="*/ 2996093 h 3429000"/>
              <a:gd name="connsiteX38" fmla="*/ 1718625 w 12192000"/>
              <a:gd name="connsiteY38" fmla="*/ 3059912 h 3429000"/>
              <a:gd name="connsiteX39" fmla="*/ 1782442 w 12192000"/>
              <a:gd name="connsiteY39" fmla="*/ 3123730 h 3429000"/>
              <a:gd name="connsiteX40" fmla="*/ 1843402 w 12192000"/>
              <a:gd name="connsiteY40" fmla="*/ 3085629 h 3429000"/>
              <a:gd name="connsiteX41" fmla="*/ 1807207 w 12192000"/>
              <a:gd name="connsiteY41" fmla="*/ 3081819 h 3429000"/>
              <a:gd name="connsiteX42" fmla="*/ 1782442 w 12192000"/>
              <a:gd name="connsiteY42" fmla="*/ 3094202 h 3429000"/>
              <a:gd name="connsiteX43" fmla="*/ 1754820 w 12192000"/>
              <a:gd name="connsiteY43" fmla="*/ 3069437 h 3429000"/>
              <a:gd name="connsiteX44" fmla="*/ 1845307 w 12192000"/>
              <a:gd name="connsiteY44" fmla="*/ 3069437 h 3429000"/>
              <a:gd name="connsiteX45" fmla="*/ 1845307 w 12192000"/>
              <a:gd name="connsiteY45" fmla="*/ 3068484 h 3429000"/>
              <a:gd name="connsiteX46" fmla="*/ 1781490 w 12192000"/>
              <a:gd name="connsiteY46" fmla="*/ 2996093 h 3429000"/>
              <a:gd name="connsiteX47" fmla="*/ 1282380 w 12192000"/>
              <a:gd name="connsiteY47" fmla="*/ 2996093 h 3429000"/>
              <a:gd name="connsiteX48" fmla="*/ 1250947 w 12192000"/>
              <a:gd name="connsiteY48" fmla="*/ 3017048 h 3429000"/>
              <a:gd name="connsiteX49" fmla="*/ 1250947 w 12192000"/>
              <a:gd name="connsiteY49" fmla="*/ 2997998 h 3429000"/>
              <a:gd name="connsiteX50" fmla="*/ 1217610 w 12192000"/>
              <a:gd name="connsiteY50" fmla="*/ 2997998 h 3429000"/>
              <a:gd name="connsiteX51" fmla="*/ 1217610 w 12192000"/>
              <a:gd name="connsiteY51" fmla="*/ 3119920 h 3429000"/>
              <a:gd name="connsiteX52" fmla="*/ 1251900 w 12192000"/>
              <a:gd name="connsiteY52" fmla="*/ 3119920 h 3429000"/>
              <a:gd name="connsiteX53" fmla="*/ 1251900 w 12192000"/>
              <a:gd name="connsiteY53" fmla="*/ 3061817 h 3429000"/>
              <a:gd name="connsiteX54" fmla="*/ 1277617 w 12192000"/>
              <a:gd name="connsiteY54" fmla="*/ 3032289 h 3429000"/>
              <a:gd name="connsiteX55" fmla="*/ 1291905 w 12192000"/>
              <a:gd name="connsiteY55" fmla="*/ 3032289 h 3429000"/>
              <a:gd name="connsiteX56" fmla="*/ 1291905 w 12192000"/>
              <a:gd name="connsiteY56" fmla="*/ 2997046 h 3429000"/>
              <a:gd name="connsiteX57" fmla="*/ 1282380 w 12192000"/>
              <a:gd name="connsiteY57" fmla="*/ 2996093 h 3429000"/>
              <a:gd name="connsiteX58" fmla="*/ 1562414 w 12192000"/>
              <a:gd name="connsiteY58" fmla="*/ 2995141 h 3429000"/>
              <a:gd name="connsiteX59" fmla="*/ 1510027 w 12192000"/>
              <a:gd name="connsiteY59" fmla="*/ 3010381 h 3429000"/>
              <a:gd name="connsiteX60" fmla="*/ 1523362 w 12192000"/>
              <a:gd name="connsiteY60" fmla="*/ 3036099 h 3429000"/>
              <a:gd name="connsiteX61" fmla="*/ 1559557 w 12192000"/>
              <a:gd name="connsiteY61" fmla="*/ 3024669 h 3429000"/>
              <a:gd name="connsiteX62" fmla="*/ 1579559 w 12192000"/>
              <a:gd name="connsiteY62" fmla="*/ 3038957 h 3429000"/>
              <a:gd name="connsiteX63" fmla="*/ 1580512 w 12192000"/>
              <a:gd name="connsiteY63" fmla="*/ 3039909 h 3429000"/>
              <a:gd name="connsiteX64" fmla="*/ 1571939 w 12192000"/>
              <a:gd name="connsiteY64" fmla="*/ 3047529 h 3429000"/>
              <a:gd name="connsiteX65" fmla="*/ 1548127 w 12192000"/>
              <a:gd name="connsiteY65" fmla="*/ 3047529 h 3429000"/>
              <a:gd name="connsiteX66" fmla="*/ 1504312 w 12192000"/>
              <a:gd name="connsiteY66" fmla="*/ 3084677 h 3429000"/>
              <a:gd name="connsiteX67" fmla="*/ 1547174 w 12192000"/>
              <a:gd name="connsiteY67" fmla="*/ 3122778 h 3429000"/>
              <a:gd name="connsiteX68" fmla="*/ 1581464 w 12192000"/>
              <a:gd name="connsiteY68" fmla="*/ 3108490 h 3429000"/>
              <a:gd name="connsiteX69" fmla="*/ 1581464 w 12192000"/>
              <a:gd name="connsiteY69" fmla="*/ 3119920 h 3429000"/>
              <a:gd name="connsiteX70" fmla="*/ 1615754 w 12192000"/>
              <a:gd name="connsiteY70" fmla="*/ 3119920 h 3429000"/>
              <a:gd name="connsiteX71" fmla="*/ 1615754 w 12192000"/>
              <a:gd name="connsiteY71" fmla="*/ 3039909 h 3429000"/>
              <a:gd name="connsiteX72" fmla="*/ 1562414 w 12192000"/>
              <a:gd name="connsiteY72" fmla="*/ 2995141 h 3429000"/>
              <a:gd name="connsiteX73" fmla="*/ 1145220 w 12192000"/>
              <a:gd name="connsiteY73" fmla="*/ 2995141 h 3429000"/>
              <a:gd name="connsiteX74" fmla="*/ 1092833 w 12192000"/>
              <a:gd name="connsiteY74" fmla="*/ 3010381 h 3429000"/>
              <a:gd name="connsiteX75" fmla="*/ 1106168 w 12192000"/>
              <a:gd name="connsiteY75" fmla="*/ 3036099 h 3429000"/>
              <a:gd name="connsiteX76" fmla="*/ 1142363 w 12192000"/>
              <a:gd name="connsiteY76" fmla="*/ 3024669 h 3429000"/>
              <a:gd name="connsiteX77" fmla="*/ 1162365 w 12192000"/>
              <a:gd name="connsiteY77" fmla="*/ 3038957 h 3429000"/>
              <a:gd name="connsiteX78" fmla="*/ 1163318 w 12192000"/>
              <a:gd name="connsiteY78" fmla="*/ 3039909 h 3429000"/>
              <a:gd name="connsiteX79" fmla="*/ 1154745 w 12192000"/>
              <a:gd name="connsiteY79" fmla="*/ 3047529 h 3429000"/>
              <a:gd name="connsiteX80" fmla="*/ 1130933 w 12192000"/>
              <a:gd name="connsiteY80" fmla="*/ 3047529 h 3429000"/>
              <a:gd name="connsiteX81" fmla="*/ 1087118 w 12192000"/>
              <a:gd name="connsiteY81" fmla="*/ 3084677 h 3429000"/>
              <a:gd name="connsiteX82" fmla="*/ 1129980 w 12192000"/>
              <a:gd name="connsiteY82" fmla="*/ 3122778 h 3429000"/>
              <a:gd name="connsiteX83" fmla="*/ 1164270 w 12192000"/>
              <a:gd name="connsiteY83" fmla="*/ 3108490 h 3429000"/>
              <a:gd name="connsiteX84" fmla="*/ 1164270 w 12192000"/>
              <a:gd name="connsiteY84" fmla="*/ 3119920 h 3429000"/>
              <a:gd name="connsiteX85" fmla="*/ 1198560 w 12192000"/>
              <a:gd name="connsiteY85" fmla="*/ 3119920 h 3429000"/>
              <a:gd name="connsiteX86" fmla="*/ 1198560 w 12192000"/>
              <a:gd name="connsiteY86" fmla="*/ 3039909 h 3429000"/>
              <a:gd name="connsiteX87" fmla="*/ 1145220 w 12192000"/>
              <a:gd name="connsiteY87" fmla="*/ 2995141 h 3429000"/>
              <a:gd name="connsiteX88" fmla="*/ 587056 w 12192000"/>
              <a:gd name="connsiteY88" fmla="*/ 2957040 h 3429000"/>
              <a:gd name="connsiteX89" fmla="*/ 564196 w 12192000"/>
              <a:gd name="connsiteY89" fmla="*/ 2957993 h 3429000"/>
              <a:gd name="connsiteX90" fmla="*/ 564196 w 12192000"/>
              <a:gd name="connsiteY90" fmla="*/ 3095155 h 3429000"/>
              <a:gd name="connsiteX91" fmla="*/ 587056 w 12192000"/>
              <a:gd name="connsiteY91" fmla="*/ 3097060 h 3429000"/>
              <a:gd name="connsiteX92" fmla="*/ 619441 w 12192000"/>
              <a:gd name="connsiteY92" fmla="*/ 3094202 h 3429000"/>
              <a:gd name="connsiteX93" fmla="*/ 613726 w 12192000"/>
              <a:gd name="connsiteY93" fmla="*/ 2977043 h 3429000"/>
              <a:gd name="connsiteX94" fmla="*/ 619441 w 12192000"/>
              <a:gd name="connsiteY94" fmla="*/ 2959898 h 3429000"/>
              <a:gd name="connsiteX95" fmla="*/ 587056 w 12192000"/>
              <a:gd name="connsiteY95" fmla="*/ 2957040 h 3429000"/>
              <a:gd name="connsiteX96" fmla="*/ 1647187 w 12192000"/>
              <a:gd name="connsiteY96" fmla="*/ 2952278 h 3429000"/>
              <a:gd name="connsiteX97" fmla="*/ 1647187 w 12192000"/>
              <a:gd name="connsiteY97" fmla="*/ 2998951 h 3429000"/>
              <a:gd name="connsiteX98" fmla="*/ 1628137 w 12192000"/>
              <a:gd name="connsiteY98" fmla="*/ 2998951 h 3429000"/>
              <a:gd name="connsiteX99" fmla="*/ 1628137 w 12192000"/>
              <a:gd name="connsiteY99" fmla="*/ 3028479 h 3429000"/>
              <a:gd name="connsiteX100" fmla="*/ 1647187 w 12192000"/>
              <a:gd name="connsiteY100" fmla="*/ 3028479 h 3429000"/>
              <a:gd name="connsiteX101" fmla="*/ 1647187 w 12192000"/>
              <a:gd name="connsiteY101" fmla="*/ 3095155 h 3429000"/>
              <a:gd name="connsiteX102" fmla="*/ 1682429 w 12192000"/>
              <a:gd name="connsiteY102" fmla="*/ 3122778 h 3429000"/>
              <a:gd name="connsiteX103" fmla="*/ 1709099 w 12192000"/>
              <a:gd name="connsiteY103" fmla="*/ 3120873 h 3429000"/>
              <a:gd name="connsiteX104" fmla="*/ 1709099 w 12192000"/>
              <a:gd name="connsiteY104" fmla="*/ 3091345 h 3429000"/>
              <a:gd name="connsiteX105" fmla="*/ 1692907 w 12192000"/>
              <a:gd name="connsiteY105" fmla="*/ 3091345 h 3429000"/>
              <a:gd name="connsiteX106" fmla="*/ 1681477 w 12192000"/>
              <a:gd name="connsiteY106" fmla="*/ 3082772 h 3429000"/>
              <a:gd name="connsiteX107" fmla="*/ 1681477 w 12192000"/>
              <a:gd name="connsiteY107" fmla="*/ 3027526 h 3429000"/>
              <a:gd name="connsiteX108" fmla="*/ 1708147 w 12192000"/>
              <a:gd name="connsiteY108" fmla="*/ 3027526 h 3429000"/>
              <a:gd name="connsiteX109" fmla="*/ 1708147 w 12192000"/>
              <a:gd name="connsiteY109" fmla="*/ 2997998 h 3429000"/>
              <a:gd name="connsiteX110" fmla="*/ 1681477 w 12192000"/>
              <a:gd name="connsiteY110" fmla="*/ 2997998 h 3429000"/>
              <a:gd name="connsiteX111" fmla="*/ 1681477 w 12192000"/>
              <a:gd name="connsiteY111" fmla="*/ 2952278 h 3429000"/>
              <a:gd name="connsiteX112" fmla="*/ 1341435 w 12192000"/>
              <a:gd name="connsiteY112" fmla="*/ 2934180 h 3429000"/>
              <a:gd name="connsiteX113" fmla="*/ 1319527 w 12192000"/>
              <a:gd name="connsiteY113" fmla="*/ 2956088 h 3429000"/>
              <a:gd name="connsiteX114" fmla="*/ 1341435 w 12192000"/>
              <a:gd name="connsiteY114" fmla="*/ 2977996 h 3429000"/>
              <a:gd name="connsiteX115" fmla="*/ 1363342 w 12192000"/>
              <a:gd name="connsiteY115" fmla="*/ 2956088 h 3429000"/>
              <a:gd name="connsiteX116" fmla="*/ 1341435 w 12192000"/>
              <a:gd name="connsiteY116" fmla="*/ 2934180 h 3429000"/>
              <a:gd name="connsiteX117" fmla="*/ 1032826 w 12192000"/>
              <a:gd name="connsiteY117" fmla="*/ 2934180 h 3429000"/>
              <a:gd name="connsiteX118" fmla="*/ 1032826 w 12192000"/>
              <a:gd name="connsiteY118" fmla="*/ 3119920 h 3429000"/>
              <a:gd name="connsiteX119" fmla="*/ 1067116 w 12192000"/>
              <a:gd name="connsiteY119" fmla="*/ 3119920 h 3429000"/>
              <a:gd name="connsiteX120" fmla="*/ 1067116 w 12192000"/>
              <a:gd name="connsiteY120" fmla="*/ 2934180 h 3429000"/>
              <a:gd name="connsiteX121" fmla="*/ 922336 w 12192000"/>
              <a:gd name="connsiteY121" fmla="*/ 2930370 h 3429000"/>
              <a:gd name="connsiteX122" fmla="*/ 825181 w 12192000"/>
              <a:gd name="connsiteY122" fmla="*/ 3026574 h 3429000"/>
              <a:gd name="connsiteX123" fmla="*/ 922336 w 12192000"/>
              <a:gd name="connsiteY123" fmla="*/ 3122778 h 3429000"/>
              <a:gd name="connsiteX124" fmla="*/ 1013776 w 12192000"/>
              <a:gd name="connsiteY124" fmla="*/ 3053244 h 3429000"/>
              <a:gd name="connsiteX125" fmla="*/ 973771 w 12192000"/>
              <a:gd name="connsiteY125" fmla="*/ 3053244 h 3429000"/>
              <a:gd name="connsiteX126" fmla="*/ 923288 w 12192000"/>
              <a:gd name="connsiteY126" fmla="*/ 3088488 h 3429000"/>
              <a:gd name="connsiteX127" fmla="*/ 865186 w 12192000"/>
              <a:gd name="connsiteY127" fmla="*/ 3026574 h 3429000"/>
              <a:gd name="connsiteX128" fmla="*/ 923288 w 12192000"/>
              <a:gd name="connsiteY128" fmla="*/ 2964661 h 3429000"/>
              <a:gd name="connsiteX129" fmla="*/ 972818 w 12192000"/>
              <a:gd name="connsiteY129" fmla="*/ 2999904 h 3429000"/>
              <a:gd name="connsiteX130" fmla="*/ 1013776 w 12192000"/>
              <a:gd name="connsiteY130" fmla="*/ 2999904 h 3429000"/>
              <a:gd name="connsiteX131" fmla="*/ 922336 w 12192000"/>
              <a:gd name="connsiteY131" fmla="*/ 2930370 h 3429000"/>
              <a:gd name="connsiteX132" fmla="*/ 646112 w 12192000"/>
              <a:gd name="connsiteY132" fmla="*/ 2910367 h 3429000"/>
              <a:gd name="connsiteX133" fmla="*/ 619442 w 12192000"/>
              <a:gd name="connsiteY133" fmla="*/ 2958945 h 3429000"/>
              <a:gd name="connsiteX134" fmla="*/ 735647 w 12192000"/>
              <a:gd name="connsiteY134" fmla="*/ 3026574 h 3429000"/>
              <a:gd name="connsiteX135" fmla="*/ 764222 w 12192000"/>
              <a:gd name="connsiteY135" fmla="*/ 2978948 h 3429000"/>
              <a:gd name="connsiteX136" fmla="*/ 646112 w 12192000"/>
              <a:gd name="connsiteY136" fmla="*/ 2910367 h 3429000"/>
              <a:gd name="connsiteX137" fmla="*/ 0 w 12192000"/>
              <a:gd name="connsiteY137" fmla="*/ 0 h 3429000"/>
              <a:gd name="connsiteX138" fmla="*/ 12192000 w 12192000"/>
              <a:gd name="connsiteY138" fmla="*/ 0 h 3429000"/>
              <a:gd name="connsiteX139" fmla="*/ 12192000 w 12192000"/>
              <a:gd name="connsiteY139" fmla="*/ 3429000 h 3429000"/>
              <a:gd name="connsiteX140" fmla="*/ 8040688 w 12192000"/>
              <a:gd name="connsiteY140" fmla="*/ 3429000 h 3429000"/>
              <a:gd name="connsiteX141" fmla="*/ 7499776 w 12192000"/>
              <a:gd name="connsiteY141" fmla="*/ 3429000 h 3429000"/>
              <a:gd name="connsiteX142" fmla="*/ 0 w 12192000"/>
              <a:gd name="connsiteY142" fmla="*/ 3429000 h 34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2192000" h="3429000">
                <a:moveTo>
                  <a:pt x="1579559" y="3067532"/>
                </a:moveTo>
                <a:lnTo>
                  <a:pt x="1579559" y="3076105"/>
                </a:lnTo>
                <a:cubicBezTo>
                  <a:pt x="1579559" y="3091345"/>
                  <a:pt x="1566224" y="3098013"/>
                  <a:pt x="1555747" y="3098013"/>
                </a:cubicBezTo>
                <a:cubicBezTo>
                  <a:pt x="1545269" y="3098013"/>
                  <a:pt x="1538602" y="3092298"/>
                  <a:pt x="1538602" y="3083725"/>
                </a:cubicBezTo>
                <a:cubicBezTo>
                  <a:pt x="1538602" y="3075152"/>
                  <a:pt x="1545269" y="3070390"/>
                  <a:pt x="1555747" y="3070390"/>
                </a:cubicBezTo>
                <a:lnTo>
                  <a:pt x="1569082" y="3070390"/>
                </a:lnTo>
                <a:cubicBezTo>
                  <a:pt x="1573844" y="3070390"/>
                  <a:pt x="1577654" y="3069437"/>
                  <a:pt x="1579559" y="3067532"/>
                </a:cubicBezTo>
                <a:close/>
                <a:moveTo>
                  <a:pt x="1162365" y="3067532"/>
                </a:moveTo>
                <a:lnTo>
                  <a:pt x="1162365" y="3076105"/>
                </a:lnTo>
                <a:cubicBezTo>
                  <a:pt x="1162365" y="3091345"/>
                  <a:pt x="1149030" y="3098013"/>
                  <a:pt x="1138553" y="3098013"/>
                </a:cubicBezTo>
                <a:cubicBezTo>
                  <a:pt x="1128075" y="3098013"/>
                  <a:pt x="1121408" y="3092298"/>
                  <a:pt x="1121408" y="3083725"/>
                </a:cubicBezTo>
                <a:cubicBezTo>
                  <a:pt x="1121408" y="3075152"/>
                  <a:pt x="1128075" y="3070390"/>
                  <a:pt x="1138553" y="3070390"/>
                </a:cubicBezTo>
                <a:lnTo>
                  <a:pt x="1151888" y="3070390"/>
                </a:lnTo>
                <a:cubicBezTo>
                  <a:pt x="1156650" y="3070390"/>
                  <a:pt x="1160460" y="3069437"/>
                  <a:pt x="1162365" y="3067532"/>
                </a:cubicBezTo>
                <a:close/>
                <a:moveTo>
                  <a:pt x="736599" y="3026574"/>
                </a:moveTo>
                <a:cubicBezTo>
                  <a:pt x="707072" y="3061817"/>
                  <a:pt x="666114" y="3086582"/>
                  <a:pt x="619442" y="3094203"/>
                </a:cubicBezTo>
                <a:cubicBezTo>
                  <a:pt x="623252" y="3103728"/>
                  <a:pt x="628014" y="3114205"/>
                  <a:pt x="632777" y="3123731"/>
                </a:cubicBezTo>
                <a:cubicBezTo>
                  <a:pt x="636587" y="3130398"/>
                  <a:pt x="641349" y="3137066"/>
                  <a:pt x="646112" y="3142781"/>
                </a:cubicBezTo>
                <a:cubicBezTo>
                  <a:pt x="691832" y="3131351"/>
                  <a:pt x="732789" y="3107538"/>
                  <a:pt x="765174" y="3074200"/>
                </a:cubicBezTo>
                <a:cubicBezTo>
                  <a:pt x="757554" y="3057054"/>
                  <a:pt x="748029" y="3040862"/>
                  <a:pt x="736599" y="3026574"/>
                </a:cubicBezTo>
                <a:close/>
                <a:moveTo>
                  <a:pt x="1781490" y="3023716"/>
                </a:moveTo>
                <a:cubicBezTo>
                  <a:pt x="1795777" y="3023716"/>
                  <a:pt x="1806255" y="3033241"/>
                  <a:pt x="1808160" y="3045624"/>
                </a:cubicBezTo>
                <a:lnTo>
                  <a:pt x="1753867" y="3045624"/>
                </a:lnTo>
                <a:cubicBezTo>
                  <a:pt x="1756725" y="3032289"/>
                  <a:pt x="1767202" y="3023716"/>
                  <a:pt x="1781490" y="3023716"/>
                </a:cubicBezTo>
                <a:close/>
                <a:moveTo>
                  <a:pt x="1309050" y="2997999"/>
                </a:moveTo>
                <a:lnTo>
                  <a:pt x="1309050" y="3027526"/>
                </a:lnTo>
                <a:lnTo>
                  <a:pt x="1326195" y="3027526"/>
                </a:lnTo>
                <a:lnTo>
                  <a:pt x="1326195" y="3119920"/>
                </a:lnTo>
                <a:lnTo>
                  <a:pt x="1360485" y="3119920"/>
                </a:lnTo>
                <a:lnTo>
                  <a:pt x="1360485" y="2997999"/>
                </a:lnTo>
                <a:close/>
                <a:moveTo>
                  <a:pt x="1372868" y="2997998"/>
                </a:moveTo>
                <a:lnTo>
                  <a:pt x="1414778" y="3119920"/>
                </a:lnTo>
                <a:lnTo>
                  <a:pt x="1457640" y="3119920"/>
                </a:lnTo>
                <a:lnTo>
                  <a:pt x="1501455" y="2997998"/>
                </a:lnTo>
                <a:lnTo>
                  <a:pt x="1465260" y="2997998"/>
                </a:lnTo>
                <a:lnTo>
                  <a:pt x="1437638" y="3082772"/>
                </a:lnTo>
                <a:lnTo>
                  <a:pt x="1410015" y="2997998"/>
                </a:lnTo>
                <a:close/>
                <a:moveTo>
                  <a:pt x="1781490" y="2996093"/>
                </a:moveTo>
                <a:cubicBezTo>
                  <a:pt x="1745295" y="2996093"/>
                  <a:pt x="1718625" y="3022763"/>
                  <a:pt x="1718625" y="3059912"/>
                </a:cubicBezTo>
                <a:cubicBezTo>
                  <a:pt x="1718625" y="3097060"/>
                  <a:pt x="1754820" y="3123730"/>
                  <a:pt x="1782442" y="3123730"/>
                </a:cubicBezTo>
                <a:cubicBezTo>
                  <a:pt x="1810065" y="3123730"/>
                  <a:pt x="1832925" y="3111347"/>
                  <a:pt x="1843402" y="3085629"/>
                </a:cubicBezTo>
                <a:lnTo>
                  <a:pt x="1807207" y="3081819"/>
                </a:lnTo>
                <a:cubicBezTo>
                  <a:pt x="1802445" y="3089439"/>
                  <a:pt x="1797682" y="3094202"/>
                  <a:pt x="1782442" y="3094202"/>
                </a:cubicBezTo>
                <a:cubicBezTo>
                  <a:pt x="1767202" y="3094202"/>
                  <a:pt x="1756725" y="3082772"/>
                  <a:pt x="1754820" y="3069437"/>
                </a:cubicBezTo>
                <a:lnTo>
                  <a:pt x="1845307" y="3069437"/>
                </a:lnTo>
                <a:lnTo>
                  <a:pt x="1845307" y="3068484"/>
                </a:lnTo>
                <a:cubicBezTo>
                  <a:pt x="1845307" y="3018001"/>
                  <a:pt x="1817685" y="2996093"/>
                  <a:pt x="1781490" y="2996093"/>
                </a:cubicBezTo>
                <a:close/>
                <a:moveTo>
                  <a:pt x="1282380" y="2996093"/>
                </a:moveTo>
                <a:cubicBezTo>
                  <a:pt x="1267140" y="2996093"/>
                  <a:pt x="1255710" y="3003713"/>
                  <a:pt x="1250947" y="3017048"/>
                </a:cubicBezTo>
                <a:lnTo>
                  <a:pt x="1250947" y="2997998"/>
                </a:lnTo>
                <a:lnTo>
                  <a:pt x="1217610" y="2997998"/>
                </a:lnTo>
                <a:lnTo>
                  <a:pt x="1217610" y="3119920"/>
                </a:lnTo>
                <a:lnTo>
                  <a:pt x="1251900" y="3119920"/>
                </a:lnTo>
                <a:lnTo>
                  <a:pt x="1251900" y="3061817"/>
                </a:lnTo>
                <a:cubicBezTo>
                  <a:pt x="1251900" y="3040861"/>
                  <a:pt x="1260472" y="3032289"/>
                  <a:pt x="1277617" y="3032289"/>
                </a:cubicBezTo>
                <a:lnTo>
                  <a:pt x="1291905" y="3032289"/>
                </a:lnTo>
                <a:cubicBezTo>
                  <a:pt x="1291905" y="3032289"/>
                  <a:pt x="1291905" y="2997046"/>
                  <a:pt x="1291905" y="2997046"/>
                </a:cubicBezTo>
                <a:cubicBezTo>
                  <a:pt x="1289047" y="2996093"/>
                  <a:pt x="1297620" y="2996093"/>
                  <a:pt x="1282380" y="2996093"/>
                </a:cubicBezTo>
                <a:close/>
                <a:moveTo>
                  <a:pt x="1562414" y="2995141"/>
                </a:moveTo>
                <a:cubicBezTo>
                  <a:pt x="1532887" y="2995141"/>
                  <a:pt x="1510027" y="3010381"/>
                  <a:pt x="1510027" y="3010381"/>
                </a:cubicBezTo>
                <a:lnTo>
                  <a:pt x="1523362" y="3036099"/>
                </a:lnTo>
                <a:cubicBezTo>
                  <a:pt x="1531934" y="3030384"/>
                  <a:pt x="1546222" y="3024669"/>
                  <a:pt x="1559557" y="3024669"/>
                </a:cubicBezTo>
                <a:cubicBezTo>
                  <a:pt x="1572892" y="3024669"/>
                  <a:pt x="1579559" y="3030384"/>
                  <a:pt x="1579559" y="3038957"/>
                </a:cubicBezTo>
                <a:lnTo>
                  <a:pt x="1580512" y="3039909"/>
                </a:lnTo>
                <a:cubicBezTo>
                  <a:pt x="1580512" y="3044672"/>
                  <a:pt x="1577654" y="3047529"/>
                  <a:pt x="1571939" y="3047529"/>
                </a:cubicBezTo>
                <a:lnTo>
                  <a:pt x="1548127" y="3047529"/>
                </a:lnTo>
                <a:cubicBezTo>
                  <a:pt x="1521457" y="3047529"/>
                  <a:pt x="1504312" y="3064675"/>
                  <a:pt x="1504312" y="3084677"/>
                </a:cubicBezTo>
                <a:cubicBezTo>
                  <a:pt x="1504312" y="3104680"/>
                  <a:pt x="1521457" y="3122778"/>
                  <a:pt x="1547174" y="3122778"/>
                </a:cubicBezTo>
                <a:cubicBezTo>
                  <a:pt x="1561462" y="3122778"/>
                  <a:pt x="1574797" y="3118015"/>
                  <a:pt x="1581464" y="3108490"/>
                </a:cubicBezTo>
                <a:lnTo>
                  <a:pt x="1581464" y="3119920"/>
                </a:lnTo>
                <a:lnTo>
                  <a:pt x="1615754" y="3119920"/>
                </a:lnTo>
                <a:lnTo>
                  <a:pt x="1615754" y="3039909"/>
                </a:lnTo>
                <a:cubicBezTo>
                  <a:pt x="1615754" y="3007524"/>
                  <a:pt x="1591942" y="2995141"/>
                  <a:pt x="1562414" y="2995141"/>
                </a:cubicBezTo>
                <a:close/>
                <a:moveTo>
                  <a:pt x="1145220" y="2995141"/>
                </a:moveTo>
                <a:cubicBezTo>
                  <a:pt x="1115693" y="2995141"/>
                  <a:pt x="1092833" y="3010381"/>
                  <a:pt x="1092833" y="3010381"/>
                </a:cubicBezTo>
                <a:lnTo>
                  <a:pt x="1106168" y="3036099"/>
                </a:lnTo>
                <a:cubicBezTo>
                  <a:pt x="1114740" y="3030384"/>
                  <a:pt x="1129028" y="3024669"/>
                  <a:pt x="1142363" y="3024669"/>
                </a:cubicBezTo>
                <a:cubicBezTo>
                  <a:pt x="1155698" y="3024669"/>
                  <a:pt x="1162365" y="3030384"/>
                  <a:pt x="1162365" y="3038957"/>
                </a:cubicBezTo>
                <a:lnTo>
                  <a:pt x="1163318" y="3039909"/>
                </a:lnTo>
                <a:cubicBezTo>
                  <a:pt x="1163318" y="3044672"/>
                  <a:pt x="1160460" y="3047529"/>
                  <a:pt x="1154745" y="3047529"/>
                </a:cubicBezTo>
                <a:lnTo>
                  <a:pt x="1130933" y="3047529"/>
                </a:lnTo>
                <a:cubicBezTo>
                  <a:pt x="1104263" y="3047529"/>
                  <a:pt x="1087118" y="3064675"/>
                  <a:pt x="1087118" y="3084677"/>
                </a:cubicBezTo>
                <a:cubicBezTo>
                  <a:pt x="1087118" y="3104680"/>
                  <a:pt x="1104263" y="3122778"/>
                  <a:pt x="1129980" y="3122778"/>
                </a:cubicBezTo>
                <a:cubicBezTo>
                  <a:pt x="1144268" y="3122778"/>
                  <a:pt x="1157603" y="3118015"/>
                  <a:pt x="1164270" y="3108490"/>
                </a:cubicBezTo>
                <a:lnTo>
                  <a:pt x="1164270" y="3119920"/>
                </a:lnTo>
                <a:lnTo>
                  <a:pt x="1198560" y="3119920"/>
                </a:lnTo>
                <a:lnTo>
                  <a:pt x="1198560" y="3039909"/>
                </a:lnTo>
                <a:cubicBezTo>
                  <a:pt x="1198560" y="3007524"/>
                  <a:pt x="1174748" y="2995141"/>
                  <a:pt x="1145220" y="2995141"/>
                </a:cubicBezTo>
                <a:close/>
                <a:moveTo>
                  <a:pt x="587056" y="2957040"/>
                </a:moveTo>
                <a:cubicBezTo>
                  <a:pt x="575626" y="2957040"/>
                  <a:pt x="571816" y="2957040"/>
                  <a:pt x="564196" y="2957993"/>
                </a:cubicBezTo>
                <a:cubicBezTo>
                  <a:pt x="551814" y="3001808"/>
                  <a:pt x="550861" y="3049434"/>
                  <a:pt x="564196" y="3095155"/>
                </a:cubicBezTo>
                <a:cubicBezTo>
                  <a:pt x="571816" y="3095155"/>
                  <a:pt x="579436" y="3097060"/>
                  <a:pt x="587056" y="3097060"/>
                </a:cubicBezTo>
                <a:cubicBezTo>
                  <a:pt x="598486" y="3097060"/>
                  <a:pt x="608964" y="3096107"/>
                  <a:pt x="619441" y="3094202"/>
                </a:cubicBezTo>
                <a:cubicBezTo>
                  <a:pt x="605154" y="3057054"/>
                  <a:pt x="603249" y="3016096"/>
                  <a:pt x="613726" y="2977043"/>
                </a:cubicBezTo>
                <a:cubicBezTo>
                  <a:pt x="615631" y="2971328"/>
                  <a:pt x="617536" y="2965613"/>
                  <a:pt x="619441" y="2959898"/>
                </a:cubicBezTo>
                <a:cubicBezTo>
                  <a:pt x="608964" y="2957993"/>
                  <a:pt x="598486" y="2957040"/>
                  <a:pt x="587056" y="2957040"/>
                </a:cubicBezTo>
                <a:close/>
                <a:moveTo>
                  <a:pt x="1647187" y="2952278"/>
                </a:moveTo>
                <a:lnTo>
                  <a:pt x="1647187" y="2998951"/>
                </a:lnTo>
                <a:lnTo>
                  <a:pt x="1628137" y="2998951"/>
                </a:lnTo>
                <a:lnTo>
                  <a:pt x="1628137" y="3028479"/>
                </a:lnTo>
                <a:lnTo>
                  <a:pt x="1647187" y="3028479"/>
                </a:lnTo>
                <a:lnTo>
                  <a:pt x="1647187" y="3095155"/>
                </a:lnTo>
                <a:cubicBezTo>
                  <a:pt x="1647187" y="3119920"/>
                  <a:pt x="1665284" y="3122778"/>
                  <a:pt x="1682429" y="3122778"/>
                </a:cubicBezTo>
                <a:cubicBezTo>
                  <a:pt x="1691954" y="3122778"/>
                  <a:pt x="1709099" y="3120873"/>
                  <a:pt x="1709099" y="3120873"/>
                </a:cubicBezTo>
                <a:lnTo>
                  <a:pt x="1709099" y="3091345"/>
                </a:lnTo>
                <a:cubicBezTo>
                  <a:pt x="1709099" y="3091345"/>
                  <a:pt x="1701479" y="3091345"/>
                  <a:pt x="1692907" y="3091345"/>
                </a:cubicBezTo>
                <a:cubicBezTo>
                  <a:pt x="1687192" y="3091345"/>
                  <a:pt x="1681477" y="3090392"/>
                  <a:pt x="1681477" y="3082772"/>
                </a:cubicBezTo>
                <a:lnTo>
                  <a:pt x="1681477" y="3027526"/>
                </a:lnTo>
                <a:lnTo>
                  <a:pt x="1708147" y="3027526"/>
                </a:lnTo>
                <a:lnTo>
                  <a:pt x="1708147" y="2997998"/>
                </a:lnTo>
                <a:lnTo>
                  <a:pt x="1681477" y="2997998"/>
                </a:lnTo>
                <a:lnTo>
                  <a:pt x="1681477" y="2952278"/>
                </a:lnTo>
                <a:close/>
                <a:moveTo>
                  <a:pt x="1341435" y="2934180"/>
                </a:moveTo>
                <a:cubicBezTo>
                  <a:pt x="1329052" y="2934180"/>
                  <a:pt x="1319527" y="2943705"/>
                  <a:pt x="1319527" y="2956088"/>
                </a:cubicBezTo>
                <a:cubicBezTo>
                  <a:pt x="1319527" y="2968471"/>
                  <a:pt x="1329052" y="2977996"/>
                  <a:pt x="1341435" y="2977996"/>
                </a:cubicBezTo>
                <a:cubicBezTo>
                  <a:pt x="1353817" y="2977996"/>
                  <a:pt x="1363342" y="2967518"/>
                  <a:pt x="1363342" y="2956088"/>
                </a:cubicBezTo>
                <a:cubicBezTo>
                  <a:pt x="1363342" y="2944658"/>
                  <a:pt x="1353817" y="2934180"/>
                  <a:pt x="1341435" y="2934180"/>
                </a:cubicBezTo>
                <a:close/>
                <a:moveTo>
                  <a:pt x="1032826" y="2934180"/>
                </a:moveTo>
                <a:lnTo>
                  <a:pt x="1032826" y="3119920"/>
                </a:lnTo>
                <a:lnTo>
                  <a:pt x="1067116" y="3119920"/>
                </a:lnTo>
                <a:lnTo>
                  <a:pt x="1067116" y="2934180"/>
                </a:lnTo>
                <a:close/>
                <a:moveTo>
                  <a:pt x="922336" y="2930370"/>
                </a:moveTo>
                <a:cubicBezTo>
                  <a:pt x="867091" y="2930370"/>
                  <a:pt x="825181" y="2970376"/>
                  <a:pt x="825181" y="3026574"/>
                </a:cubicBezTo>
                <a:cubicBezTo>
                  <a:pt x="825181" y="3082772"/>
                  <a:pt x="880426" y="3122778"/>
                  <a:pt x="922336" y="3122778"/>
                </a:cubicBezTo>
                <a:cubicBezTo>
                  <a:pt x="964246" y="3122778"/>
                  <a:pt x="1003298" y="3097060"/>
                  <a:pt x="1013776" y="3053244"/>
                </a:cubicBezTo>
                <a:lnTo>
                  <a:pt x="973771" y="3053244"/>
                </a:lnTo>
                <a:cubicBezTo>
                  <a:pt x="967103" y="3075152"/>
                  <a:pt x="948053" y="3088488"/>
                  <a:pt x="923288" y="3088488"/>
                </a:cubicBezTo>
                <a:cubicBezTo>
                  <a:pt x="888046" y="3088488"/>
                  <a:pt x="865186" y="3061817"/>
                  <a:pt x="865186" y="3026574"/>
                </a:cubicBezTo>
                <a:cubicBezTo>
                  <a:pt x="865186" y="2991331"/>
                  <a:pt x="888046" y="2964661"/>
                  <a:pt x="923288" y="2964661"/>
                </a:cubicBezTo>
                <a:cubicBezTo>
                  <a:pt x="947101" y="2964661"/>
                  <a:pt x="966151" y="2977996"/>
                  <a:pt x="972818" y="2999904"/>
                </a:cubicBezTo>
                <a:lnTo>
                  <a:pt x="1013776" y="2999904"/>
                </a:lnTo>
                <a:cubicBezTo>
                  <a:pt x="1002346" y="2956088"/>
                  <a:pt x="977581" y="2930370"/>
                  <a:pt x="922336" y="2930370"/>
                </a:cubicBezTo>
                <a:close/>
                <a:moveTo>
                  <a:pt x="646112" y="2910367"/>
                </a:moveTo>
                <a:cubicBezTo>
                  <a:pt x="634682" y="2925607"/>
                  <a:pt x="626109" y="2941800"/>
                  <a:pt x="619442" y="2958945"/>
                </a:cubicBezTo>
                <a:cubicBezTo>
                  <a:pt x="666114" y="2966565"/>
                  <a:pt x="707072" y="2991331"/>
                  <a:pt x="735647" y="3026574"/>
                </a:cubicBezTo>
                <a:cubicBezTo>
                  <a:pt x="747077" y="3012286"/>
                  <a:pt x="757554" y="2996093"/>
                  <a:pt x="764222" y="2978948"/>
                </a:cubicBezTo>
                <a:cubicBezTo>
                  <a:pt x="732789" y="2946563"/>
                  <a:pt x="691832" y="2921797"/>
                  <a:pt x="646112" y="2910367"/>
                </a:cubicBezTo>
                <a:close/>
                <a:moveTo>
                  <a:pt x="0" y="0"/>
                </a:moveTo>
                <a:lnTo>
                  <a:pt x="12192000" y="0"/>
                </a:lnTo>
                <a:lnTo>
                  <a:pt x="12192000" y="3429000"/>
                </a:lnTo>
                <a:lnTo>
                  <a:pt x="8040688" y="3429000"/>
                </a:lnTo>
                <a:lnTo>
                  <a:pt x="7499776" y="3429000"/>
                </a:lnTo>
                <a:lnTo>
                  <a:pt x="0" y="3429000"/>
                </a:lnTo>
                <a:close/>
              </a:path>
            </a:pathLst>
          </a:custGeom>
          <a:solidFill>
            <a:schemeClr val="tx1">
              <a:lumMod val="75000"/>
              <a:lumOff val="25000"/>
            </a:schemeClr>
          </a:solidFill>
          <a:ln>
            <a:noFill/>
          </a:ln>
        </p:spPr>
        <p:txBody>
          <a:bodyPr wrap="square" tIns="108000" anchor="t" anchorCtr="0">
            <a:noAutofit/>
          </a:bodyPr>
          <a:lstStyle>
            <a:lvl1pPr marL="0" indent="0" algn="ctr">
              <a:buNone/>
              <a:defRPr sz="1000">
                <a:solidFill>
                  <a:schemeClr val="accent1"/>
                </a:solidFill>
                <a:latin typeface="+mn-lt"/>
              </a:defRPr>
            </a:lvl1pPr>
          </a:lstStyle>
          <a:p>
            <a:pPr lvl="0"/>
            <a:r>
              <a:rPr lang="en-US"/>
              <a:t>Drag picture file here or click </a:t>
            </a:r>
            <a:r>
              <a:rPr lang="en-US" noProof="0"/>
              <a:t>center</a:t>
            </a:r>
            <a:r>
              <a:rPr lang="en-US"/>
              <a:t> icon to insert dark image</a:t>
            </a:r>
          </a:p>
        </p:txBody>
      </p:sp>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251885"/>
          </a:xfrm>
        </p:spPr>
        <p:txBody>
          <a:bodyPr/>
          <a:lstStyle>
            <a:lvl1pPr>
              <a:defRPr/>
            </a:lvl1pPr>
          </a:lstStyle>
          <a:p>
            <a:r>
              <a:rPr lang="en-US"/>
              <a:t>Header avenir demi</a:t>
            </a:r>
            <a:endParaRPr lang="en-GB"/>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7" name="Text Placeholder 12">
            <a:extLst>
              <a:ext uri="{FF2B5EF4-FFF2-40B4-BE49-F238E27FC236}">
                <a16:creationId xmlns:a16="http://schemas.microsoft.com/office/drawing/2014/main" id="{841E26EB-9911-0A6E-407B-8667159EEC13}"/>
              </a:ext>
            </a:extLst>
          </p:cNvPr>
          <p:cNvSpPr>
            <a:spLocks noGrp="1"/>
          </p:cNvSpPr>
          <p:nvPr>
            <p:ph type="body" sz="quarter" idx="14"/>
          </p:nvPr>
        </p:nvSpPr>
        <p:spPr>
          <a:xfrm>
            <a:off x="550863" y="1808164"/>
            <a:ext cx="3204000" cy="1441450"/>
          </a:xfrm>
        </p:spPr>
        <p:txBody>
          <a:bodyPr/>
          <a:lstStyle/>
          <a:p>
            <a:pPr lvl="0"/>
            <a:r>
              <a:rPr lang="en-US"/>
              <a:t>Click to edit Master text styles</a:t>
            </a:r>
          </a:p>
          <a:p>
            <a:pPr lvl="1"/>
            <a:r>
              <a:rPr lang="en-US"/>
              <a:t>Second level</a:t>
            </a:r>
          </a:p>
          <a:p>
            <a:pPr lvl="2"/>
            <a:r>
              <a:rPr lang="en-US"/>
              <a:t>Third level</a:t>
            </a:r>
          </a:p>
        </p:txBody>
      </p:sp>
      <p:sp>
        <p:nvSpPr>
          <p:cNvPr id="10" name="Text Placeholder 12">
            <a:extLst>
              <a:ext uri="{FF2B5EF4-FFF2-40B4-BE49-F238E27FC236}">
                <a16:creationId xmlns:a16="http://schemas.microsoft.com/office/drawing/2014/main" id="{45BEBC43-8186-4AEB-F4CF-271F011B0368}"/>
              </a:ext>
            </a:extLst>
          </p:cNvPr>
          <p:cNvSpPr>
            <a:spLocks noGrp="1"/>
          </p:cNvSpPr>
          <p:nvPr>
            <p:ph type="body" sz="quarter" idx="15"/>
          </p:nvPr>
        </p:nvSpPr>
        <p:spPr>
          <a:xfrm>
            <a:off x="4295776" y="1808164"/>
            <a:ext cx="3204000" cy="1441450"/>
          </a:xfrm>
        </p:spPr>
        <p:txBody>
          <a:bodyPr/>
          <a:lstStyle/>
          <a:p>
            <a:pPr lvl="0"/>
            <a:r>
              <a:rPr lang="en-US"/>
              <a:t>Click to edit Master text styles</a:t>
            </a:r>
          </a:p>
          <a:p>
            <a:pPr lvl="1"/>
            <a:r>
              <a:rPr lang="en-US"/>
              <a:t>Second level</a:t>
            </a:r>
          </a:p>
          <a:p>
            <a:pPr lvl="2"/>
            <a:r>
              <a:rPr lang="en-US"/>
              <a:t>Third level</a:t>
            </a:r>
          </a:p>
        </p:txBody>
      </p:sp>
      <p:sp>
        <p:nvSpPr>
          <p:cNvPr id="11" name="Text Placeholder 12">
            <a:extLst>
              <a:ext uri="{FF2B5EF4-FFF2-40B4-BE49-F238E27FC236}">
                <a16:creationId xmlns:a16="http://schemas.microsoft.com/office/drawing/2014/main" id="{042CC176-3CD8-0372-5942-EAD056B059E7}"/>
              </a:ext>
            </a:extLst>
          </p:cNvPr>
          <p:cNvSpPr>
            <a:spLocks noGrp="1"/>
          </p:cNvSpPr>
          <p:nvPr>
            <p:ph type="body" sz="quarter" idx="16"/>
          </p:nvPr>
        </p:nvSpPr>
        <p:spPr>
          <a:xfrm>
            <a:off x="8040687" y="1808164"/>
            <a:ext cx="3204000" cy="1441450"/>
          </a:xfrm>
        </p:spPr>
        <p:txBody>
          <a:body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7" y="6348353"/>
            <a:ext cx="3292474" cy="215901"/>
          </a:xfrm>
        </p:spPr>
        <p:txBody>
          <a:bodyPr/>
          <a:lstStyle>
            <a:lvl1pPr>
              <a:defRPr>
                <a:solidFill>
                  <a:schemeClr val="bg1"/>
                </a:solidFill>
              </a:defRPr>
            </a:lvl1p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Tree>
    <p:extLst>
      <p:ext uri="{BB962C8B-B14F-4D97-AF65-F5344CB8AC3E}">
        <p14:creationId xmlns:p14="http://schemas.microsoft.com/office/powerpoint/2010/main" val="246037680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itrus/mint pattern - Black quote">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5659636-78CF-6EFF-68F5-52F1AB62035D}"/>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8" name="Text Placeholder 9">
            <a:extLst>
              <a:ext uri="{FF2B5EF4-FFF2-40B4-BE49-F238E27FC236}">
                <a16:creationId xmlns:a16="http://schemas.microsoft.com/office/drawing/2014/main" id="{6A6F47D2-4DE8-3A51-AB24-AA4D5A7F13E9}"/>
              </a:ext>
            </a:extLst>
          </p:cNvPr>
          <p:cNvSpPr>
            <a:spLocks noGrp="1"/>
          </p:cNvSpPr>
          <p:nvPr>
            <p:ph type="body" sz="quarter" idx="26" hasCustomPrompt="1"/>
          </p:nvPr>
        </p:nvSpPr>
        <p:spPr>
          <a:xfrm>
            <a:off x="1487488" y="2979813"/>
            <a:ext cx="8280400" cy="1107996"/>
          </a:xfrm>
          <a:prstGeom prst="rect">
            <a:avLst/>
          </a:prstGeom>
          <a:noFill/>
        </p:spPr>
        <p:txBody>
          <a:bodyPr wrap="square" lIns="0" tIns="0" rIns="0" bIns="0" anchor="b" anchorCtr="0">
            <a:spAutoFit/>
          </a:bodyPr>
          <a:lstStyle>
            <a:lvl1pPr marL="0" indent="0" algn="l">
              <a:buNone/>
              <a:tabLst/>
              <a:defRPr sz="3600">
                <a:solidFill>
                  <a:schemeClr val="tx1"/>
                </a:solidFill>
                <a:latin typeface="+mj-lt"/>
              </a:defRPr>
            </a:lvl1pPr>
          </a:lstStyle>
          <a:p>
            <a:pPr lvl="0"/>
            <a:r>
              <a:rPr lang="en-US"/>
              <a:t>“Quote copy, resize textbox horizontally as required”.</a:t>
            </a:r>
            <a:endParaRPr lang="en-GB"/>
          </a:p>
        </p:txBody>
      </p:sp>
      <p:sp>
        <p:nvSpPr>
          <p:cNvPr id="2" name="Text Placeholder 12">
            <a:extLst>
              <a:ext uri="{FF2B5EF4-FFF2-40B4-BE49-F238E27FC236}">
                <a16:creationId xmlns:a16="http://schemas.microsoft.com/office/drawing/2014/main" id="{51D1D711-9691-BEE7-727A-A074BC47FEA0}"/>
              </a:ext>
            </a:extLst>
          </p:cNvPr>
          <p:cNvSpPr>
            <a:spLocks noGrp="1"/>
          </p:cNvSpPr>
          <p:nvPr>
            <p:ph type="body" sz="quarter" idx="28" hasCustomPrompt="1"/>
          </p:nvPr>
        </p:nvSpPr>
        <p:spPr>
          <a:xfrm>
            <a:off x="1487488" y="4286568"/>
            <a:ext cx="3600450" cy="259239"/>
          </a:xfrm>
          <a:noFill/>
        </p:spPr>
        <p:txBody>
          <a:bodyPr/>
          <a:lstStyle>
            <a:lvl1pPr marL="0" indent="0" algn="l">
              <a:buNone/>
              <a:defRPr sz="16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6" name="Text Placeholder 12">
            <a:extLst>
              <a:ext uri="{FF2B5EF4-FFF2-40B4-BE49-F238E27FC236}">
                <a16:creationId xmlns:a16="http://schemas.microsoft.com/office/drawing/2014/main" id="{0EFA41F3-CF2B-F07E-F3DA-DC0602B25A9D}"/>
              </a:ext>
            </a:extLst>
          </p:cNvPr>
          <p:cNvSpPr>
            <a:spLocks noGrp="1"/>
          </p:cNvSpPr>
          <p:nvPr>
            <p:ph type="body" sz="quarter" idx="29" hasCustomPrompt="1"/>
          </p:nvPr>
        </p:nvSpPr>
        <p:spPr>
          <a:xfrm>
            <a:off x="1487488" y="4543748"/>
            <a:ext cx="3600450" cy="259239"/>
          </a:xfrm>
          <a:noFill/>
        </p:spPr>
        <p:txBody>
          <a:bodyPr/>
          <a:lstStyle>
            <a:lvl1pPr marL="0" indent="0" algn="l">
              <a:buNone/>
              <a:defRPr sz="1500">
                <a:solidFill>
                  <a:schemeClr val="tx1"/>
                </a:solidFill>
                <a:latin typeface="+mn-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Company name</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9200" y="6348353"/>
            <a:ext cx="215899" cy="215900"/>
          </a:xfrm>
        </p:spPr>
        <p:txBody>
          <a:bodyPr/>
          <a:lstStyle>
            <a:lvl1pPr>
              <a:defRPr>
                <a:solidFill>
                  <a:schemeClr val="tx1"/>
                </a:solidFill>
              </a:defRPr>
            </a:lvl1pPr>
          </a:lstStyle>
          <a:p>
            <a:fld id="{F59CD943-D024-467A-B36E-F11E1285ED75}" type="slidenum">
              <a:rPr lang="en-GB" smtClean="0"/>
              <a:pPr/>
              <a:t>‹#›</a:t>
            </a:fld>
            <a:endParaRPr lang="en-GB"/>
          </a:p>
        </p:txBody>
      </p:sp>
      <p:pic>
        <p:nvPicPr>
          <p:cNvPr id="5" name="Graphic 4">
            <a:extLst>
              <a:ext uri="{FF2B5EF4-FFF2-40B4-BE49-F238E27FC236}">
                <a16:creationId xmlns:a16="http://schemas.microsoft.com/office/drawing/2014/main" id="{B6ECEDCA-E71D-E002-B6EF-1A2EE328FA46}"/>
              </a:ext>
            </a:extLst>
          </p:cNvPr>
          <p:cNvPicPr>
            <a:picLocks noChangeAspect="1"/>
          </p:cNvPicPr>
          <p:nvPr userDrawn="1"/>
        </p:nvPicPr>
        <p:blipFill>
          <a:blip r:embed="rId3">
            <a:extLst>
              <a:ext uri="{96DAC541-7B7A-43D3-8B79-37D633B846F1}">
                <asvg:svgBlip xmlns:asvg="http://schemas.microsoft.com/office/drawing/2016/SVG/main" r:embed="rId4"/>
              </a:ext>
            </a:extLst>
          </a:blip>
          <a:srcRect l="9263" t="23870" r="9262" b="23680"/>
          <a:stretch/>
        </p:blipFill>
        <p:spPr>
          <a:xfrm>
            <a:off x="550863" y="6329363"/>
            <a:ext cx="1296000" cy="254793"/>
          </a:xfrm>
          <a:prstGeom prst="rect">
            <a:avLst/>
          </a:prstGeom>
        </p:spPr>
      </p:pic>
    </p:spTree>
    <p:extLst>
      <p:ext uri="{BB962C8B-B14F-4D97-AF65-F5344CB8AC3E}">
        <p14:creationId xmlns:p14="http://schemas.microsoft.com/office/powerpoint/2010/main" val="299930351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Full Light Image - Quot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B24388A-E89F-1465-CB42-4F8D1E8B7BCE}"/>
              </a:ext>
              <a:ext uri="{C183D7F6-B498-43B3-948B-1728B52AA6E4}">
                <adec:decorative xmlns:adec="http://schemas.microsoft.com/office/drawing/2017/decorative" val="1"/>
              </a:ext>
            </a:extLst>
          </p:cNvPr>
          <p:cNvSpPr/>
          <p:nvPr userDrawn="1"/>
        </p:nvSpPr>
        <p:spPr>
          <a:xfrm>
            <a:off x="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Picture Placeholder 30">
            <a:extLst>
              <a:ext uri="{FF2B5EF4-FFF2-40B4-BE49-F238E27FC236}">
                <a16:creationId xmlns:a16="http://schemas.microsoft.com/office/drawing/2014/main" id="{3CAA78D0-D0A4-A0FA-888C-DEC2B44E9337}"/>
              </a:ext>
              <a:ext uri="{C183D7F6-B498-43B3-948B-1728B52AA6E4}">
                <adec:decorative xmlns:adec="http://schemas.microsoft.com/office/drawing/2017/decorative" val="1"/>
              </a:ext>
            </a:extLst>
          </p:cNvPr>
          <p:cNvSpPr>
            <a:spLocks noGrp="1"/>
          </p:cNvSpPr>
          <p:nvPr>
            <p:ph type="pic" sz="quarter" idx="20" hasCustomPrompt="1"/>
          </p:nvPr>
        </p:nvSpPr>
        <p:spPr>
          <a:xfrm>
            <a:off x="0" y="0"/>
            <a:ext cx="12192000" cy="6858000"/>
          </a:xfrm>
          <a:custGeom>
            <a:avLst/>
            <a:gdLst>
              <a:gd name="connsiteX0" fmla="*/ 1579559 w 12192000"/>
              <a:gd name="connsiteY0" fmla="*/ 6496532 h 6858000"/>
              <a:gd name="connsiteX1" fmla="*/ 1579559 w 12192000"/>
              <a:gd name="connsiteY1" fmla="*/ 6505105 h 6858000"/>
              <a:gd name="connsiteX2" fmla="*/ 1555747 w 12192000"/>
              <a:gd name="connsiteY2" fmla="*/ 6527013 h 6858000"/>
              <a:gd name="connsiteX3" fmla="*/ 1538602 w 12192000"/>
              <a:gd name="connsiteY3" fmla="*/ 6512725 h 6858000"/>
              <a:gd name="connsiteX4" fmla="*/ 1555747 w 12192000"/>
              <a:gd name="connsiteY4" fmla="*/ 6499390 h 6858000"/>
              <a:gd name="connsiteX5" fmla="*/ 1569082 w 12192000"/>
              <a:gd name="connsiteY5" fmla="*/ 6499390 h 6858000"/>
              <a:gd name="connsiteX6" fmla="*/ 1579559 w 12192000"/>
              <a:gd name="connsiteY6" fmla="*/ 6496532 h 6858000"/>
              <a:gd name="connsiteX7" fmla="*/ 1162365 w 12192000"/>
              <a:gd name="connsiteY7" fmla="*/ 6496532 h 6858000"/>
              <a:gd name="connsiteX8" fmla="*/ 1162365 w 12192000"/>
              <a:gd name="connsiteY8" fmla="*/ 6505105 h 6858000"/>
              <a:gd name="connsiteX9" fmla="*/ 1138553 w 12192000"/>
              <a:gd name="connsiteY9" fmla="*/ 6527013 h 6858000"/>
              <a:gd name="connsiteX10" fmla="*/ 1121408 w 12192000"/>
              <a:gd name="connsiteY10" fmla="*/ 6512725 h 6858000"/>
              <a:gd name="connsiteX11" fmla="*/ 1138553 w 12192000"/>
              <a:gd name="connsiteY11" fmla="*/ 6499390 h 6858000"/>
              <a:gd name="connsiteX12" fmla="*/ 1151888 w 12192000"/>
              <a:gd name="connsiteY12" fmla="*/ 6499390 h 6858000"/>
              <a:gd name="connsiteX13" fmla="*/ 1162365 w 12192000"/>
              <a:gd name="connsiteY13" fmla="*/ 6496532 h 6858000"/>
              <a:gd name="connsiteX14" fmla="*/ 736599 w 12192000"/>
              <a:gd name="connsiteY14" fmla="*/ 6455574 h 6858000"/>
              <a:gd name="connsiteX15" fmla="*/ 619442 w 12192000"/>
              <a:gd name="connsiteY15" fmla="*/ 6523203 h 6858000"/>
              <a:gd name="connsiteX16" fmla="*/ 632777 w 12192000"/>
              <a:gd name="connsiteY16" fmla="*/ 6552731 h 6858000"/>
              <a:gd name="connsiteX17" fmla="*/ 646112 w 12192000"/>
              <a:gd name="connsiteY17" fmla="*/ 6571781 h 6858000"/>
              <a:gd name="connsiteX18" fmla="*/ 765174 w 12192000"/>
              <a:gd name="connsiteY18" fmla="*/ 6503200 h 6858000"/>
              <a:gd name="connsiteX19" fmla="*/ 736599 w 12192000"/>
              <a:gd name="connsiteY19" fmla="*/ 6455574 h 6858000"/>
              <a:gd name="connsiteX20" fmla="*/ 1781490 w 12192000"/>
              <a:gd name="connsiteY20" fmla="*/ 6452716 h 6858000"/>
              <a:gd name="connsiteX21" fmla="*/ 1808160 w 12192000"/>
              <a:gd name="connsiteY21" fmla="*/ 6474624 h 6858000"/>
              <a:gd name="connsiteX22" fmla="*/ 1753867 w 12192000"/>
              <a:gd name="connsiteY22" fmla="*/ 6474624 h 6858000"/>
              <a:gd name="connsiteX23" fmla="*/ 1781490 w 12192000"/>
              <a:gd name="connsiteY23" fmla="*/ 6452716 h 6858000"/>
              <a:gd name="connsiteX24" fmla="*/ 1309050 w 12192000"/>
              <a:gd name="connsiteY24" fmla="*/ 6426999 h 6858000"/>
              <a:gd name="connsiteX25" fmla="*/ 1309050 w 12192000"/>
              <a:gd name="connsiteY25" fmla="*/ 6456526 h 6858000"/>
              <a:gd name="connsiteX26" fmla="*/ 1326195 w 12192000"/>
              <a:gd name="connsiteY26" fmla="*/ 6456526 h 6858000"/>
              <a:gd name="connsiteX27" fmla="*/ 1326195 w 12192000"/>
              <a:gd name="connsiteY27" fmla="*/ 6548920 h 6858000"/>
              <a:gd name="connsiteX28" fmla="*/ 1360485 w 12192000"/>
              <a:gd name="connsiteY28" fmla="*/ 6548920 h 6858000"/>
              <a:gd name="connsiteX29" fmla="*/ 1360485 w 12192000"/>
              <a:gd name="connsiteY29" fmla="*/ 6426999 h 6858000"/>
              <a:gd name="connsiteX30" fmla="*/ 1372868 w 12192000"/>
              <a:gd name="connsiteY30" fmla="*/ 6426998 h 6858000"/>
              <a:gd name="connsiteX31" fmla="*/ 1414778 w 12192000"/>
              <a:gd name="connsiteY31" fmla="*/ 6548920 h 6858000"/>
              <a:gd name="connsiteX32" fmla="*/ 1457640 w 12192000"/>
              <a:gd name="connsiteY32" fmla="*/ 6548920 h 6858000"/>
              <a:gd name="connsiteX33" fmla="*/ 1501455 w 12192000"/>
              <a:gd name="connsiteY33" fmla="*/ 6426998 h 6858000"/>
              <a:gd name="connsiteX34" fmla="*/ 1465260 w 12192000"/>
              <a:gd name="connsiteY34" fmla="*/ 6426998 h 6858000"/>
              <a:gd name="connsiteX35" fmla="*/ 1437638 w 12192000"/>
              <a:gd name="connsiteY35" fmla="*/ 6511772 h 6858000"/>
              <a:gd name="connsiteX36" fmla="*/ 1410015 w 12192000"/>
              <a:gd name="connsiteY36" fmla="*/ 6426998 h 6858000"/>
              <a:gd name="connsiteX37" fmla="*/ 1781490 w 12192000"/>
              <a:gd name="connsiteY37" fmla="*/ 6425093 h 6858000"/>
              <a:gd name="connsiteX38" fmla="*/ 1718625 w 12192000"/>
              <a:gd name="connsiteY38" fmla="*/ 6488912 h 6858000"/>
              <a:gd name="connsiteX39" fmla="*/ 1782442 w 12192000"/>
              <a:gd name="connsiteY39" fmla="*/ 6552730 h 6858000"/>
              <a:gd name="connsiteX40" fmla="*/ 1843402 w 12192000"/>
              <a:gd name="connsiteY40" fmla="*/ 6514629 h 6858000"/>
              <a:gd name="connsiteX41" fmla="*/ 1807207 w 12192000"/>
              <a:gd name="connsiteY41" fmla="*/ 6510819 h 6858000"/>
              <a:gd name="connsiteX42" fmla="*/ 1782442 w 12192000"/>
              <a:gd name="connsiteY42" fmla="*/ 6523202 h 6858000"/>
              <a:gd name="connsiteX43" fmla="*/ 1754820 w 12192000"/>
              <a:gd name="connsiteY43" fmla="*/ 6498437 h 6858000"/>
              <a:gd name="connsiteX44" fmla="*/ 1845307 w 12192000"/>
              <a:gd name="connsiteY44" fmla="*/ 6498437 h 6858000"/>
              <a:gd name="connsiteX45" fmla="*/ 1845307 w 12192000"/>
              <a:gd name="connsiteY45" fmla="*/ 6497484 h 6858000"/>
              <a:gd name="connsiteX46" fmla="*/ 1781490 w 12192000"/>
              <a:gd name="connsiteY46" fmla="*/ 6425093 h 6858000"/>
              <a:gd name="connsiteX47" fmla="*/ 1282380 w 12192000"/>
              <a:gd name="connsiteY47" fmla="*/ 6425093 h 6858000"/>
              <a:gd name="connsiteX48" fmla="*/ 1250947 w 12192000"/>
              <a:gd name="connsiteY48" fmla="*/ 6446048 h 6858000"/>
              <a:gd name="connsiteX49" fmla="*/ 1250947 w 12192000"/>
              <a:gd name="connsiteY49" fmla="*/ 6426998 h 6858000"/>
              <a:gd name="connsiteX50" fmla="*/ 1217610 w 12192000"/>
              <a:gd name="connsiteY50" fmla="*/ 6426998 h 6858000"/>
              <a:gd name="connsiteX51" fmla="*/ 1217610 w 12192000"/>
              <a:gd name="connsiteY51" fmla="*/ 6548920 h 6858000"/>
              <a:gd name="connsiteX52" fmla="*/ 1251900 w 12192000"/>
              <a:gd name="connsiteY52" fmla="*/ 6548920 h 6858000"/>
              <a:gd name="connsiteX53" fmla="*/ 1251900 w 12192000"/>
              <a:gd name="connsiteY53" fmla="*/ 6490817 h 6858000"/>
              <a:gd name="connsiteX54" fmla="*/ 1277617 w 12192000"/>
              <a:gd name="connsiteY54" fmla="*/ 6461289 h 6858000"/>
              <a:gd name="connsiteX55" fmla="*/ 1291905 w 12192000"/>
              <a:gd name="connsiteY55" fmla="*/ 6461289 h 6858000"/>
              <a:gd name="connsiteX56" fmla="*/ 1291905 w 12192000"/>
              <a:gd name="connsiteY56" fmla="*/ 6426046 h 6858000"/>
              <a:gd name="connsiteX57" fmla="*/ 1282380 w 12192000"/>
              <a:gd name="connsiteY57" fmla="*/ 6425093 h 6858000"/>
              <a:gd name="connsiteX58" fmla="*/ 1562414 w 12192000"/>
              <a:gd name="connsiteY58" fmla="*/ 6424141 h 6858000"/>
              <a:gd name="connsiteX59" fmla="*/ 1510027 w 12192000"/>
              <a:gd name="connsiteY59" fmla="*/ 6439381 h 6858000"/>
              <a:gd name="connsiteX60" fmla="*/ 1523362 w 12192000"/>
              <a:gd name="connsiteY60" fmla="*/ 6465099 h 6858000"/>
              <a:gd name="connsiteX61" fmla="*/ 1559557 w 12192000"/>
              <a:gd name="connsiteY61" fmla="*/ 6453669 h 6858000"/>
              <a:gd name="connsiteX62" fmla="*/ 1579559 w 12192000"/>
              <a:gd name="connsiteY62" fmla="*/ 6467957 h 6858000"/>
              <a:gd name="connsiteX63" fmla="*/ 1580512 w 12192000"/>
              <a:gd name="connsiteY63" fmla="*/ 6468909 h 6858000"/>
              <a:gd name="connsiteX64" fmla="*/ 1571939 w 12192000"/>
              <a:gd name="connsiteY64" fmla="*/ 6476529 h 6858000"/>
              <a:gd name="connsiteX65" fmla="*/ 1548127 w 12192000"/>
              <a:gd name="connsiteY65" fmla="*/ 6476529 h 6858000"/>
              <a:gd name="connsiteX66" fmla="*/ 1504312 w 12192000"/>
              <a:gd name="connsiteY66" fmla="*/ 6513677 h 6858000"/>
              <a:gd name="connsiteX67" fmla="*/ 1547174 w 12192000"/>
              <a:gd name="connsiteY67" fmla="*/ 6551778 h 6858000"/>
              <a:gd name="connsiteX68" fmla="*/ 1581464 w 12192000"/>
              <a:gd name="connsiteY68" fmla="*/ 6537490 h 6858000"/>
              <a:gd name="connsiteX69" fmla="*/ 1581464 w 12192000"/>
              <a:gd name="connsiteY69" fmla="*/ 6548920 h 6858000"/>
              <a:gd name="connsiteX70" fmla="*/ 1615754 w 12192000"/>
              <a:gd name="connsiteY70" fmla="*/ 6548920 h 6858000"/>
              <a:gd name="connsiteX71" fmla="*/ 1615754 w 12192000"/>
              <a:gd name="connsiteY71" fmla="*/ 6468909 h 6858000"/>
              <a:gd name="connsiteX72" fmla="*/ 1562414 w 12192000"/>
              <a:gd name="connsiteY72" fmla="*/ 6424141 h 6858000"/>
              <a:gd name="connsiteX73" fmla="*/ 1145220 w 12192000"/>
              <a:gd name="connsiteY73" fmla="*/ 6424141 h 6858000"/>
              <a:gd name="connsiteX74" fmla="*/ 1092833 w 12192000"/>
              <a:gd name="connsiteY74" fmla="*/ 6439381 h 6858000"/>
              <a:gd name="connsiteX75" fmla="*/ 1106168 w 12192000"/>
              <a:gd name="connsiteY75" fmla="*/ 6465099 h 6858000"/>
              <a:gd name="connsiteX76" fmla="*/ 1142363 w 12192000"/>
              <a:gd name="connsiteY76" fmla="*/ 6453669 h 6858000"/>
              <a:gd name="connsiteX77" fmla="*/ 1162365 w 12192000"/>
              <a:gd name="connsiteY77" fmla="*/ 6467957 h 6858000"/>
              <a:gd name="connsiteX78" fmla="*/ 1163318 w 12192000"/>
              <a:gd name="connsiteY78" fmla="*/ 6468909 h 6858000"/>
              <a:gd name="connsiteX79" fmla="*/ 1154745 w 12192000"/>
              <a:gd name="connsiteY79" fmla="*/ 6476529 h 6858000"/>
              <a:gd name="connsiteX80" fmla="*/ 1130933 w 12192000"/>
              <a:gd name="connsiteY80" fmla="*/ 6476529 h 6858000"/>
              <a:gd name="connsiteX81" fmla="*/ 1087118 w 12192000"/>
              <a:gd name="connsiteY81" fmla="*/ 6513677 h 6858000"/>
              <a:gd name="connsiteX82" fmla="*/ 1129980 w 12192000"/>
              <a:gd name="connsiteY82" fmla="*/ 6551778 h 6858000"/>
              <a:gd name="connsiteX83" fmla="*/ 1164270 w 12192000"/>
              <a:gd name="connsiteY83" fmla="*/ 6537490 h 6858000"/>
              <a:gd name="connsiteX84" fmla="*/ 1164270 w 12192000"/>
              <a:gd name="connsiteY84" fmla="*/ 6548920 h 6858000"/>
              <a:gd name="connsiteX85" fmla="*/ 1198560 w 12192000"/>
              <a:gd name="connsiteY85" fmla="*/ 6548920 h 6858000"/>
              <a:gd name="connsiteX86" fmla="*/ 1198560 w 12192000"/>
              <a:gd name="connsiteY86" fmla="*/ 6468909 h 6858000"/>
              <a:gd name="connsiteX87" fmla="*/ 1145220 w 12192000"/>
              <a:gd name="connsiteY87" fmla="*/ 6424141 h 6858000"/>
              <a:gd name="connsiteX88" fmla="*/ 587056 w 12192000"/>
              <a:gd name="connsiteY88" fmla="*/ 6386040 h 6858000"/>
              <a:gd name="connsiteX89" fmla="*/ 564196 w 12192000"/>
              <a:gd name="connsiteY89" fmla="*/ 6386993 h 6858000"/>
              <a:gd name="connsiteX90" fmla="*/ 564196 w 12192000"/>
              <a:gd name="connsiteY90" fmla="*/ 6524155 h 6858000"/>
              <a:gd name="connsiteX91" fmla="*/ 587056 w 12192000"/>
              <a:gd name="connsiteY91" fmla="*/ 6526060 h 6858000"/>
              <a:gd name="connsiteX92" fmla="*/ 619441 w 12192000"/>
              <a:gd name="connsiteY92" fmla="*/ 6523202 h 6858000"/>
              <a:gd name="connsiteX93" fmla="*/ 613726 w 12192000"/>
              <a:gd name="connsiteY93" fmla="*/ 6406043 h 6858000"/>
              <a:gd name="connsiteX94" fmla="*/ 619441 w 12192000"/>
              <a:gd name="connsiteY94" fmla="*/ 6388898 h 6858000"/>
              <a:gd name="connsiteX95" fmla="*/ 587056 w 12192000"/>
              <a:gd name="connsiteY95" fmla="*/ 6386040 h 6858000"/>
              <a:gd name="connsiteX96" fmla="*/ 1647187 w 12192000"/>
              <a:gd name="connsiteY96" fmla="*/ 6381278 h 6858000"/>
              <a:gd name="connsiteX97" fmla="*/ 1647187 w 12192000"/>
              <a:gd name="connsiteY97" fmla="*/ 6427951 h 6858000"/>
              <a:gd name="connsiteX98" fmla="*/ 1628137 w 12192000"/>
              <a:gd name="connsiteY98" fmla="*/ 6427951 h 6858000"/>
              <a:gd name="connsiteX99" fmla="*/ 1628137 w 12192000"/>
              <a:gd name="connsiteY99" fmla="*/ 6457479 h 6858000"/>
              <a:gd name="connsiteX100" fmla="*/ 1647187 w 12192000"/>
              <a:gd name="connsiteY100" fmla="*/ 6457479 h 6858000"/>
              <a:gd name="connsiteX101" fmla="*/ 1647187 w 12192000"/>
              <a:gd name="connsiteY101" fmla="*/ 6524155 h 6858000"/>
              <a:gd name="connsiteX102" fmla="*/ 1682429 w 12192000"/>
              <a:gd name="connsiteY102" fmla="*/ 6551778 h 6858000"/>
              <a:gd name="connsiteX103" fmla="*/ 1709099 w 12192000"/>
              <a:gd name="connsiteY103" fmla="*/ 6549873 h 6858000"/>
              <a:gd name="connsiteX104" fmla="*/ 1709099 w 12192000"/>
              <a:gd name="connsiteY104" fmla="*/ 6520345 h 6858000"/>
              <a:gd name="connsiteX105" fmla="*/ 1692907 w 12192000"/>
              <a:gd name="connsiteY105" fmla="*/ 6520345 h 6858000"/>
              <a:gd name="connsiteX106" fmla="*/ 1681477 w 12192000"/>
              <a:gd name="connsiteY106" fmla="*/ 6511772 h 6858000"/>
              <a:gd name="connsiteX107" fmla="*/ 1681477 w 12192000"/>
              <a:gd name="connsiteY107" fmla="*/ 6456526 h 6858000"/>
              <a:gd name="connsiteX108" fmla="*/ 1708147 w 12192000"/>
              <a:gd name="connsiteY108" fmla="*/ 6456526 h 6858000"/>
              <a:gd name="connsiteX109" fmla="*/ 1708147 w 12192000"/>
              <a:gd name="connsiteY109" fmla="*/ 6426998 h 6858000"/>
              <a:gd name="connsiteX110" fmla="*/ 1681477 w 12192000"/>
              <a:gd name="connsiteY110" fmla="*/ 6426998 h 6858000"/>
              <a:gd name="connsiteX111" fmla="*/ 1681477 w 12192000"/>
              <a:gd name="connsiteY111" fmla="*/ 6381278 h 6858000"/>
              <a:gd name="connsiteX112" fmla="*/ 1341435 w 12192000"/>
              <a:gd name="connsiteY112" fmla="*/ 6363180 h 6858000"/>
              <a:gd name="connsiteX113" fmla="*/ 1319527 w 12192000"/>
              <a:gd name="connsiteY113" fmla="*/ 6385088 h 6858000"/>
              <a:gd name="connsiteX114" fmla="*/ 1341435 w 12192000"/>
              <a:gd name="connsiteY114" fmla="*/ 6406996 h 6858000"/>
              <a:gd name="connsiteX115" fmla="*/ 1363342 w 12192000"/>
              <a:gd name="connsiteY115" fmla="*/ 6385088 h 6858000"/>
              <a:gd name="connsiteX116" fmla="*/ 1341435 w 12192000"/>
              <a:gd name="connsiteY116" fmla="*/ 6363180 h 6858000"/>
              <a:gd name="connsiteX117" fmla="*/ 1032826 w 12192000"/>
              <a:gd name="connsiteY117" fmla="*/ 6363180 h 6858000"/>
              <a:gd name="connsiteX118" fmla="*/ 1032826 w 12192000"/>
              <a:gd name="connsiteY118" fmla="*/ 6548920 h 6858000"/>
              <a:gd name="connsiteX119" fmla="*/ 1067116 w 12192000"/>
              <a:gd name="connsiteY119" fmla="*/ 6548920 h 6858000"/>
              <a:gd name="connsiteX120" fmla="*/ 1067116 w 12192000"/>
              <a:gd name="connsiteY120" fmla="*/ 6363180 h 6858000"/>
              <a:gd name="connsiteX121" fmla="*/ 922336 w 12192000"/>
              <a:gd name="connsiteY121" fmla="*/ 6359370 h 6858000"/>
              <a:gd name="connsiteX122" fmla="*/ 825181 w 12192000"/>
              <a:gd name="connsiteY122" fmla="*/ 6455574 h 6858000"/>
              <a:gd name="connsiteX123" fmla="*/ 922336 w 12192000"/>
              <a:gd name="connsiteY123" fmla="*/ 6551778 h 6858000"/>
              <a:gd name="connsiteX124" fmla="*/ 1013776 w 12192000"/>
              <a:gd name="connsiteY124" fmla="*/ 6482244 h 6858000"/>
              <a:gd name="connsiteX125" fmla="*/ 973771 w 12192000"/>
              <a:gd name="connsiteY125" fmla="*/ 6482244 h 6858000"/>
              <a:gd name="connsiteX126" fmla="*/ 923288 w 12192000"/>
              <a:gd name="connsiteY126" fmla="*/ 6517488 h 6858000"/>
              <a:gd name="connsiteX127" fmla="*/ 865186 w 12192000"/>
              <a:gd name="connsiteY127" fmla="*/ 6455574 h 6858000"/>
              <a:gd name="connsiteX128" fmla="*/ 923288 w 12192000"/>
              <a:gd name="connsiteY128" fmla="*/ 6393661 h 6858000"/>
              <a:gd name="connsiteX129" fmla="*/ 972818 w 12192000"/>
              <a:gd name="connsiteY129" fmla="*/ 6428904 h 6858000"/>
              <a:gd name="connsiteX130" fmla="*/ 1013776 w 12192000"/>
              <a:gd name="connsiteY130" fmla="*/ 6428904 h 6858000"/>
              <a:gd name="connsiteX131" fmla="*/ 922336 w 12192000"/>
              <a:gd name="connsiteY131" fmla="*/ 6359370 h 6858000"/>
              <a:gd name="connsiteX132" fmla="*/ 646112 w 12192000"/>
              <a:gd name="connsiteY132" fmla="*/ 6339367 h 6858000"/>
              <a:gd name="connsiteX133" fmla="*/ 619442 w 12192000"/>
              <a:gd name="connsiteY133" fmla="*/ 6387945 h 6858000"/>
              <a:gd name="connsiteX134" fmla="*/ 735647 w 12192000"/>
              <a:gd name="connsiteY134" fmla="*/ 6455574 h 6858000"/>
              <a:gd name="connsiteX135" fmla="*/ 764222 w 12192000"/>
              <a:gd name="connsiteY135" fmla="*/ 6407948 h 6858000"/>
              <a:gd name="connsiteX136" fmla="*/ 646112 w 12192000"/>
              <a:gd name="connsiteY136" fmla="*/ 6339367 h 6858000"/>
              <a:gd name="connsiteX137" fmla="*/ 0 w 12192000"/>
              <a:gd name="connsiteY137" fmla="*/ 0 h 6858000"/>
              <a:gd name="connsiteX138" fmla="*/ 7104065 w 12192000"/>
              <a:gd name="connsiteY138" fmla="*/ 0 h 6858000"/>
              <a:gd name="connsiteX139" fmla="*/ 8040688 w 12192000"/>
              <a:gd name="connsiteY139" fmla="*/ 0 h 6858000"/>
              <a:gd name="connsiteX140" fmla="*/ 12192000 w 12192000"/>
              <a:gd name="connsiteY140" fmla="*/ 0 h 6858000"/>
              <a:gd name="connsiteX141" fmla="*/ 12192000 w 12192000"/>
              <a:gd name="connsiteY141" fmla="*/ 6858000 h 6858000"/>
              <a:gd name="connsiteX142" fmla="*/ 8040688 w 12192000"/>
              <a:gd name="connsiteY142" fmla="*/ 6858000 h 6858000"/>
              <a:gd name="connsiteX143" fmla="*/ 7104065 w 12192000"/>
              <a:gd name="connsiteY143" fmla="*/ 6858000 h 6858000"/>
              <a:gd name="connsiteX144" fmla="*/ 0 w 12192000"/>
              <a:gd name="connsiteY144"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12192000" h="6858000">
                <a:moveTo>
                  <a:pt x="1579559" y="6496532"/>
                </a:moveTo>
                <a:lnTo>
                  <a:pt x="1579559" y="6505105"/>
                </a:lnTo>
                <a:cubicBezTo>
                  <a:pt x="1579559" y="6520345"/>
                  <a:pt x="1566224" y="6527013"/>
                  <a:pt x="1555747" y="6527013"/>
                </a:cubicBezTo>
                <a:cubicBezTo>
                  <a:pt x="1545269" y="6527013"/>
                  <a:pt x="1538602" y="6521298"/>
                  <a:pt x="1538602" y="6512725"/>
                </a:cubicBezTo>
                <a:cubicBezTo>
                  <a:pt x="1538602" y="6504152"/>
                  <a:pt x="1545269" y="6499390"/>
                  <a:pt x="1555747" y="6499390"/>
                </a:cubicBezTo>
                <a:lnTo>
                  <a:pt x="1569082" y="6499390"/>
                </a:lnTo>
                <a:cubicBezTo>
                  <a:pt x="1573844" y="6499390"/>
                  <a:pt x="1577654" y="6498437"/>
                  <a:pt x="1579559" y="6496532"/>
                </a:cubicBezTo>
                <a:close/>
                <a:moveTo>
                  <a:pt x="1162365" y="6496532"/>
                </a:moveTo>
                <a:lnTo>
                  <a:pt x="1162365" y="6505105"/>
                </a:lnTo>
                <a:cubicBezTo>
                  <a:pt x="1162365" y="6520345"/>
                  <a:pt x="1149030" y="6527013"/>
                  <a:pt x="1138553" y="6527013"/>
                </a:cubicBezTo>
                <a:cubicBezTo>
                  <a:pt x="1128075" y="6527013"/>
                  <a:pt x="1121408" y="6521298"/>
                  <a:pt x="1121408" y="6512725"/>
                </a:cubicBezTo>
                <a:cubicBezTo>
                  <a:pt x="1121408" y="6504152"/>
                  <a:pt x="1128075" y="6499390"/>
                  <a:pt x="1138553" y="6499390"/>
                </a:cubicBezTo>
                <a:lnTo>
                  <a:pt x="1151888" y="6499390"/>
                </a:lnTo>
                <a:cubicBezTo>
                  <a:pt x="1156650" y="6499390"/>
                  <a:pt x="1160460" y="6498437"/>
                  <a:pt x="1162365" y="6496532"/>
                </a:cubicBezTo>
                <a:close/>
                <a:moveTo>
                  <a:pt x="736599" y="6455574"/>
                </a:moveTo>
                <a:cubicBezTo>
                  <a:pt x="707072" y="6490817"/>
                  <a:pt x="666114" y="6515582"/>
                  <a:pt x="619442" y="6523203"/>
                </a:cubicBezTo>
                <a:cubicBezTo>
                  <a:pt x="623252" y="6532728"/>
                  <a:pt x="628014" y="6543205"/>
                  <a:pt x="632777" y="6552731"/>
                </a:cubicBezTo>
                <a:cubicBezTo>
                  <a:pt x="636587" y="6559398"/>
                  <a:pt x="641349" y="6566066"/>
                  <a:pt x="646112" y="6571781"/>
                </a:cubicBezTo>
                <a:cubicBezTo>
                  <a:pt x="691832" y="6560351"/>
                  <a:pt x="732789" y="6536538"/>
                  <a:pt x="765174" y="6503200"/>
                </a:cubicBezTo>
                <a:cubicBezTo>
                  <a:pt x="757554" y="6486054"/>
                  <a:pt x="748029" y="6469862"/>
                  <a:pt x="736599" y="6455574"/>
                </a:cubicBezTo>
                <a:close/>
                <a:moveTo>
                  <a:pt x="1781490" y="6452716"/>
                </a:moveTo>
                <a:cubicBezTo>
                  <a:pt x="1795777" y="6452716"/>
                  <a:pt x="1806255" y="6462241"/>
                  <a:pt x="1808160" y="6474624"/>
                </a:cubicBezTo>
                <a:lnTo>
                  <a:pt x="1753867" y="6474624"/>
                </a:lnTo>
                <a:cubicBezTo>
                  <a:pt x="1756725" y="6461289"/>
                  <a:pt x="1767202" y="6452716"/>
                  <a:pt x="1781490" y="6452716"/>
                </a:cubicBezTo>
                <a:close/>
                <a:moveTo>
                  <a:pt x="1309050" y="6426999"/>
                </a:moveTo>
                <a:lnTo>
                  <a:pt x="1309050" y="6456526"/>
                </a:lnTo>
                <a:lnTo>
                  <a:pt x="1326195" y="6456526"/>
                </a:lnTo>
                <a:lnTo>
                  <a:pt x="1326195" y="6548920"/>
                </a:lnTo>
                <a:lnTo>
                  <a:pt x="1360485" y="6548920"/>
                </a:lnTo>
                <a:lnTo>
                  <a:pt x="1360485" y="6426999"/>
                </a:lnTo>
                <a:close/>
                <a:moveTo>
                  <a:pt x="1372868" y="6426998"/>
                </a:moveTo>
                <a:lnTo>
                  <a:pt x="1414778" y="6548920"/>
                </a:lnTo>
                <a:lnTo>
                  <a:pt x="1457640" y="6548920"/>
                </a:lnTo>
                <a:lnTo>
                  <a:pt x="1501455" y="6426998"/>
                </a:lnTo>
                <a:lnTo>
                  <a:pt x="1465260" y="6426998"/>
                </a:lnTo>
                <a:lnTo>
                  <a:pt x="1437638" y="6511772"/>
                </a:lnTo>
                <a:lnTo>
                  <a:pt x="1410015" y="6426998"/>
                </a:lnTo>
                <a:close/>
                <a:moveTo>
                  <a:pt x="1781490" y="6425093"/>
                </a:moveTo>
                <a:cubicBezTo>
                  <a:pt x="1745295" y="6425093"/>
                  <a:pt x="1718625" y="6451763"/>
                  <a:pt x="1718625" y="6488912"/>
                </a:cubicBezTo>
                <a:cubicBezTo>
                  <a:pt x="1718625" y="6526060"/>
                  <a:pt x="1754820" y="6552730"/>
                  <a:pt x="1782442" y="6552730"/>
                </a:cubicBezTo>
                <a:cubicBezTo>
                  <a:pt x="1810065" y="6552730"/>
                  <a:pt x="1832925" y="6540347"/>
                  <a:pt x="1843402" y="6514629"/>
                </a:cubicBezTo>
                <a:lnTo>
                  <a:pt x="1807207" y="6510819"/>
                </a:lnTo>
                <a:cubicBezTo>
                  <a:pt x="1802445" y="6518439"/>
                  <a:pt x="1797682" y="6523202"/>
                  <a:pt x="1782442" y="6523202"/>
                </a:cubicBezTo>
                <a:cubicBezTo>
                  <a:pt x="1767202" y="6523202"/>
                  <a:pt x="1756725" y="6511772"/>
                  <a:pt x="1754820" y="6498437"/>
                </a:cubicBezTo>
                <a:lnTo>
                  <a:pt x="1845307" y="6498437"/>
                </a:lnTo>
                <a:lnTo>
                  <a:pt x="1845307" y="6497484"/>
                </a:lnTo>
                <a:cubicBezTo>
                  <a:pt x="1845307" y="6447001"/>
                  <a:pt x="1817685" y="6425093"/>
                  <a:pt x="1781490" y="6425093"/>
                </a:cubicBezTo>
                <a:close/>
                <a:moveTo>
                  <a:pt x="1282380" y="6425093"/>
                </a:moveTo>
                <a:cubicBezTo>
                  <a:pt x="1267140" y="6425093"/>
                  <a:pt x="1255710" y="6432713"/>
                  <a:pt x="1250947" y="6446048"/>
                </a:cubicBezTo>
                <a:lnTo>
                  <a:pt x="1250947" y="6426998"/>
                </a:lnTo>
                <a:lnTo>
                  <a:pt x="1217610" y="6426998"/>
                </a:lnTo>
                <a:lnTo>
                  <a:pt x="1217610" y="6548920"/>
                </a:lnTo>
                <a:lnTo>
                  <a:pt x="1251900" y="6548920"/>
                </a:lnTo>
                <a:lnTo>
                  <a:pt x="1251900" y="6490817"/>
                </a:lnTo>
                <a:cubicBezTo>
                  <a:pt x="1251900" y="6469861"/>
                  <a:pt x="1260472" y="6461289"/>
                  <a:pt x="1277617" y="6461289"/>
                </a:cubicBezTo>
                <a:lnTo>
                  <a:pt x="1291905" y="6461289"/>
                </a:lnTo>
                <a:cubicBezTo>
                  <a:pt x="1291905" y="6461289"/>
                  <a:pt x="1291905" y="6426046"/>
                  <a:pt x="1291905" y="6426046"/>
                </a:cubicBezTo>
                <a:cubicBezTo>
                  <a:pt x="1289047" y="6425093"/>
                  <a:pt x="1297620" y="6425093"/>
                  <a:pt x="1282380" y="6425093"/>
                </a:cubicBezTo>
                <a:close/>
                <a:moveTo>
                  <a:pt x="1562414" y="6424141"/>
                </a:moveTo>
                <a:cubicBezTo>
                  <a:pt x="1532887" y="6424141"/>
                  <a:pt x="1510027" y="6439381"/>
                  <a:pt x="1510027" y="6439381"/>
                </a:cubicBezTo>
                <a:lnTo>
                  <a:pt x="1523362" y="6465099"/>
                </a:lnTo>
                <a:cubicBezTo>
                  <a:pt x="1531934" y="6459384"/>
                  <a:pt x="1546222" y="6453669"/>
                  <a:pt x="1559557" y="6453669"/>
                </a:cubicBezTo>
                <a:cubicBezTo>
                  <a:pt x="1572892" y="6453669"/>
                  <a:pt x="1579559" y="6459384"/>
                  <a:pt x="1579559" y="6467957"/>
                </a:cubicBezTo>
                <a:lnTo>
                  <a:pt x="1580512" y="6468909"/>
                </a:lnTo>
                <a:cubicBezTo>
                  <a:pt x="1580512" y="6473672"/>
                  <a:pt x="1577654" y="6476529"/>
                  <a:pt x="1571939" y="6476529"/>
                </a:cubicBezTo>
                <a:lnTo>
                  <a:pt x="1548127" y="6476529"/>
                </a:lnTo>
                <a:cubicBezTo>
                  <a:pt x="1521457" y="6476529"/>
                  <a:pt x="1504312" y="6493675"/>
                  <a:pt x="1504312" y="6513677"/>
                </a:cubicBezTo>
                <a:cubicBezTo>
                  <a:pt x="1504312" y="6533680"/>
                  <a:pt x="1521457" y="6551778"/>
                  <a:pt x="1547174" y="6551778"/>
                </a:cubicBezTo>
                <a:cubicBezTo>
                  <a:pt x="1561462" y="6551778"/>
                  <a:pt x="1574797" y="6547015"/>
                  <a:pt x="1581464" y="6537490"/>
                </a:cubicBezTo>
                <a:lnTo>
                  <a:pt x="1581464" y="6548920"/>
                </a:lnTo>
                <a:lnTo>
                  <a:pt x="1615754" y="6548920"/>
                </a:lnTo>
                <a:lnTo>
                  <a:pt x="1615754" y="6468909"/>
                </a:lnTo>
                <a:cubicBezTo>
                  <a:pt x="1615754" y="6436524"/>
                  <a:pt x="1591942" y="6424141"/>
                  <a:pt x="1562414" y="6424141"/>
                </a:cubicBezTo>
                <a:close/>
                <a:moveTo>
                  <a:pt x="1145220" y="6424141"/>
                </a:moveTo>
                <a:cubicBezTo>
                  <a:pt x="1115693" y="6424141"/>
                  <a:pt x="1092833" y="6439381"/>
                  <a:pt x="1092833" y="6439381"/>
                </a:cubicBezTo>
                <a:lnTo>
                  <a:pt x="1106168" y="6465099"/>
                </a:lnTo>
                <a:cubicBezTo>
                  <a:pt x="1114740" y="6459384"/>
                  <a:pt x="1129028" y="6453669"/>
                  <a:pt x="1142363" y="6453669"/>
                </a:cubicBezTo>
                <a:cubicBezTo>
                  <a:pt x="1155698" y="6453669"/>
                  <a:pt x="1162365" y="6459384"/>
                  <a:pt x="1162365" y="6467957"/>
                </a:cubicBezTo>
                <a:lnTo>
                  <a:pt x="1163318" y="6468909"/>
                </a:lnTo>
                <a:cubicBezTo>
                  <a:pt x="1163318" y="6473672"/>
                  <a:pt x="1160460" y="6476529"/>
                  <a:pt x="1154745" y="6476529"/>
                </a:cubicBezTo>
                <a:lnTo>
                  <a:pt x="1130933" y="6476529"/>
                </a:lnTo>
                <a:cubicBezTo>
                  <a:pt x="1104263" y="6476529"/>
                  <a:pt x="1087118" y="6493675"/>
                  <a:pt x="1087118" y="6513677"/>
                </a:cubicBezTo>
                <a:cubicBezTo>
                  <a:pt x="1087118" y="6533680"/>
                  <a:pt x="1104263" y="6551778"/>
                  <a:pt x="1129980" y="6551778"/>
                </a:cubicBezTo>
                <a:cubicBezTo>
                  <a:pt x="1144268" y="6551778"/>
                  <a:pt x="1157603" y="6547015"/>
                  <a:pt x="1164270" y="6537490"/>
                </a:cubicBezTo>
                <a:lnTo>
                  <a:pt x="1164270" y="6548920"/>
                </a:lnTo>
                <a:lnTo>
                  <a:pt x="1198560" y="6548920"/>
                </a:lnTo>
                <a:lnTo>
                  <a:pt x="1198560" y="6468909"/>
                </a:lnTo>
                <a:cubicBezTo>
                  <a:pt x="1198560" y="6436524"/>
                  <a:pt x="1174748" y="6424141"/>
                  <a:pt x="1145220" y="6424141"/>
                </a:cubicBezTo>
                <a:close/>
                <a:moveTo>
                  <a:pt x="587056" y="6386040"/>
                </a:moveTo>
                <a:cubicBezTo>
                  <a:pt x="575626" y="6386040"/>
                  <a:pt x="571816" y="6386040"/>
                  <a:pt x="564196" y="6386993"/>
                </a:cubicBezTo>
                <a:cubicBezTo>
                  <a:pt x="551814" y="6430808"/>
                  <a:pt x="550861" y="6478434"/>
                  <a:pt x="564196" y="6524155"/>
                </a:cubicBezTo>
                <a:cubicBezTo>
                  <a:pt x="571816" y="6524155"/>
                  <a:pt x="579436" y="6526060"/>
                  <a:pt x="587056" y="6526060"/>
                </a:cubicBezTo>
                <a:cubicBezTo>
                  <a:pt x="598486" y="6526060"/>
                  <a:pt x="608964" y="6525107"/>
                  <a:pt x="619441" y="6523202"/>
                </a:cubicBezTo>
                <a:cubicBezTo>
                  <a:pt x="605154" y="6486054"/>
                  <a:pt x="603249" y="6445096"/>
                  <a:pt x="613726" y="6406043"/>
                </a:cubicBezTo>
                <a:cubicBezTo>
                  <a:pt x="615631" y="6400328"/>
                  <a:pt x="617536" y="6394613"/>
                  <a:pt x="619441" y="6388898"/>
                </a:cubicBezTo>
                <a:cubicBezTo>
                  <a:pt x="608964" y="6386993"/>
                  <a:pt x="598486" y="6386040"/>
                  <a:pt x="587056" y="6386040"/>
                </a:cubicBezTo>
                <a:close/>
                <a:moveTo>
                  <a:pt x="1647187" y="6381278"/>
                </a:moveTo>
                <a:lnTo>
                  <a:pt x="1647187" y="6427951"/>
                </a:lnTo>
                <a:lnTo>
                  <a:pt x="1628137" y="6427951"/>
                </a:lnTo>
                <a:lnTo>
                  <a:pt x="1628137" y="6457479"/>
                </a:lnTo>
                <a:lnTo>
                  <a:pt x="1647187" y="6457479"/>
                </a:lnTo>
                <a:lnTo>
                  <a:pt x="1647187" y="6524155"/>
                </a:lnTo>
                <a:cubicBezTo>
                  <a:pt x="1647187" y="6548920"/>
                  <a:pt x="1665284" y="6551778"/>
                  <a:pt x="1682429" y="6551778"/>
                </a:cubicBezTo>
                <a:cubicBezTo>
                  <a:pt x="1691954" y="6551778"/>
                  <a:pt x="1709099" y="6549873"/>
                  <a:pt x="1709099" y="6549873"/>
                </a:cubicBezTo>
                <a:lnTo>
                  <a:pt x="1709099" y="6520345"/>
                </a:lnTo>
                <a:cubicBezTo>
                  <a:pt x="1709099" y="6520345"/>
                  <a:pt x="1701479" y="6520345"/>
                  <a:pt x="1692907" y="6520345"/>
                </a:cubicBezTo>
                <a:cubicBezTo>
                  <a:pt x="1687192" y="6520345"/>
                  <a:pt x="1681477" y="6519392"/>
                  <a:pt x="1681477" y="6511772"/>
                </a:cubicBezTo>
                <a:lnTo>
                  <a:pt x="1681477" y="6456526"/>
                </a:lnTo>
                <a:lnTo>
                  <a:pt x="1708147" y="6456526"/>
                </a:lnTo>
                <a:lnTo>
                  <a:pt x="1708147" y="6426998"/>
                </a:lnTo>
                <a:lnTo>
                  <a:pt x="1681477" y="6426998"/>
                </a:lnTo>
                <a:lnTo>
                  <a:pt x="1681477" y="6381278"/>
                </a:lnTo>
                <a:close/>
                <a:moveTo>
                  <a:pt x="1341435" y="6363180"/>
                </a:moveTo>
                <a:cubicBezTo>
                  <a:pt x="1329052" y="6363180"/>
                  <a:pt x="1319527" y="6372705"/>
                  <a:pt x="1319527" y="6385088"/>
                </a:cubicBezTo>
                <a:cubicBezTo>
                  <a:pt x="1319527" y="6397471"/>
                  <a:pt x="1329052" y="6406996"/>
                  <a:pt x="1341435" y="6406996"/>
                </a:cubicBezTo>
                <a:cubicBezTo>
                  <a:pt x="1353817" y="6406996"/>
                  <a:pt x="1363342" y="6396518"/>
                  <a:pt x="1363342" y="6385088"/>
                </a:cubicBezTo>
                <a:cubicBezTo>
                  <a:pt x="1363342" y="6373658"/>
                  <a:pt x="1353817" y="6363180"/>
                  <a:pt x="1341435" y="6363180"/>
                </a:cubicBezTo>
                <a:close/>
                <a:moveTo>
                  <a:pt x="1032826" y="6363180"/>
                </a:moveTo>
                <a:lnTo>
                  <a:pt x="1032826" y="6548920"/>
                </a:lnTo>
                <a:lnTo>
                  <a:pt x="1067116" y="6548920"/>
                </a:lnTo>
                <a:lnTo>
                  <a:pt x="1067116" y="6363180"/>
                </a:lnTo>
                <a:close/>
                <a:moveTo>
                  <a:pt x="922336" y="6359370"/>
                </a:moveTo>
                <a:cubicBezTo>
                  <a:pt x="867091" y="6359370"/>
                  <a:pt x="825181" y="6399376"/>
                  <a:pt x="825181" y="6455574"/>
                </a:cubicBezTo>
                <a:cubicBezTo>
                  <a:pt x="825181" y="6511772"/>
                  <a:pt x="880426" y="6551778"/>
                  <a:pt x="922336" y="6551778"/>
                </a:cubicBezTo>
                <a:cubicBezTo>
                  <a:pt x="964246" y="6551778"/>
                  <a:pt x="1003298" y="6526060"/>
                  <a:pt x="1013776" y="6482244"/>
                </a:cubicBezTo>
                <a:lnTo>
                  <a:pt x="973771" y="6482244"/>
                </a:lnTo>
                <a:cubicBezTo>
                  <a:pt x="967103" y="6504152"/>
                  <a:pt x="948053" y="6517488"/>
                  <a:pt x="923288" y="6517488"/>
                </a:cubicBezTo>
                <a:cubicBezTo>
                  <a:pt x="888046" y="6517488"/>
                  <a:pt x="865186" y="6490817"/>
                  <a:pt x="865186" y="6455574"/>
                </a:cubicBezTo>
                <a:cubicBezTo>
                  <a:pt x="865186" y="6420331"/>
                  <a:pt x="888046" y="6393661"/>
                  <a:pt x="923288" y="6393661"/>
                </a:cubicBezTo>
                <a:cubicBezTo>
                  <a:pt x="947101" y="6393661"/>
                  <a:pt x="966151" y="6406996"/>
                  <a:pt x="972818" y="6428904"/>
                </a:cubicBezTo>
                <a:lnTo>
                  <a:pt x="1013776" y="6428904"/>
                </a:lnTo>
                <a:cubicBezTo>
                  <a:pt x="1002346" y="6385088"/>
                  <a:pt x="977581" y="6359370"/>
                  <a:pt x="922336" y="6359370"/>
                </a:cubicBezTo>
                <a:close/>
                <a:moveTo>
                  <a:pt x="646112" y="6339367"/>
                </a:moveTo>
                <a:cubicBezTo>
                  <a:pt x="634682" y="6354607"/>
                  <a:pt x="626109" y="6370800"/>
                  <a:pt x="619442" y="6387945"/>
                </a:cubicBezTo>
                <a:cubicBezTo>
                  <a:pt x="666114" y="6395565"/>
                  <a:pt x="707072" y="6420331"/>
                  <a:pt x="735647" y="6455574"/>
                </a:cubicBezTo>
                <a:cubicBezTo>
                  <a:pt x="747077" y="6441286"/>
                  <a:pt x="757554" y="6425093"/>
                  <a:pt x="764222" y="6407948"/>
                </a:cubicBezTo>
                <a:cubicBezTo>
                  <a:pt x="732789" y="6375563"/>
                  <a:pt x="691832" y="6350797"/>
                  <a:pt x="646112" y="6339367"/>
                </a:cubicBezTo>
                <a:close/>
                <a:moveTo>
                  <a:pt x="0" y="0"/>
                </a:moveTo>
                <a:lnTo>
                  <a:pt x="7104065" y="0"/>
                </a:lnTo>
                <a:lnTo>
                  <a:pt x="8040688" y="0"/>
                </a:lnTo>
                <a:lnTo>
                  <a:pt x="12192000" y="0"/>
                </a:lnTo>
                <a:lnTo>
                  <a:pt x="12192000" y="6858000"/>
                </a:lnTo>
                <a:lnTo>
                  <a:pt x="8040688" y="6858000"/>
                </a:lnTo>
                <a:lnTo>
                  <a:pt x="7104065" y="6858000"/>
                </a:lnTo>
                <a:lnTo>
                  <a:pt x="0" y="6858000"/>
                </a:lnTo>
                <a:close/>
              </a:path>
            </a:pathLst>
          </a:custGeom>
          <a:solidFill>
            <a:schemeClr val="bg1">
              <a:lumMod val="95000"/>
            </a:schemeClr>
          </a:solidFill>
          <a:ln>
            <a:noFill/>
          </a:ln>
        </p:spPr>
        <p:txBody>
          <a:bodyPr wrap="square" tIns="180000" anchor="t" anchorCtr="0">
            <a:noAutofit/>
          </a:bodyPr>
          <a:lstStyle>
            <a:lvl1pPr marL="0" indent="0" algn="ctr">
              <a:buNone/>
              <a:defRPr sz="1000">
                <a:solidFill>
                  <a:schemeClr val="accent2"/>
                </a:solidFill>
                <a:latin typeface="+mn-lt"/>
              </a:defRPr>
            </a:lvl1pPr>
          </a:lstStyle>
          <a:p>
            <a:pPr lvl="0"/>
            <a:r>
              <a:rPr lang="en-US"/>
              <a:t>Drag picture file here or click </a:t>
            </a:r>
            <a:r>
              <a:rPr lang="en-US" noProof="0"/>
              <a:t>center</a:t>
            </a:r>
            <a:r>
              <a:rPr lang="en-US"/>
              <a:t> icon to insert light image</a:t>
            </a:r>
          </a:p>
        </p:txBody>
      </p:sp>
      <p:sp>
        <p:nvSpPr>
          <p:cNvPr id="10" name="Text Placeholder 9">
            <a:extLst>
              <a:ext uri="{FF2B5EF4-FFF2-40B4-BE49-F238E27FC236}">
                <a16:creationId xmlns:a16="http://schemas.microsoft.com/office/drawing/2014/main" id="{768C0EE5-7595-B97C-61F7-F69AAADB86EA}"/>
              </a:ext>
            </a:extLst>
          </p:cNvPr>
          <p:cNvSpPr>
            <a:spLocks noGrp="1"/>
          </p:cNvSpPr>
          <p:nvPr>
            <p:ph type="body" sz="quarter" idx="26" hasCustomPrompt="1"/>
          </p:nvPr>
        </p:nvSpPr>
        <p:spPr>
          <a:xfrm>
            <a:off x="1487488" y="2979813"/>
            <a:ext cx="8280400" cy="1107996"/>
          </a:xfrm>
          <a:prstGeom prst="rect">
            <a:avLst/>
          </a:prstGeom>
          <a:noFill/>
        </p:spPr>
        <p:txBody>
          <a:bodyPr wrap="square" lIns="0" tIns="0" rIns="0" bIns="0" anchor="b" anchorCtr="0">
            <a:spAutoFit/>
          </a:bodyPr>
          <a:lstStyle>
            <a:lvl1pPr marL="0" indent="0" algn="l">
              <a:buNone/>
              <a:tabLst/>
              <a:defRPr sz="3600">
                <a:solidFill>
                  <a:schemeClr val="tx1"/>
                </a:solidFill>
                <a:latin typeface="+mj-lt"/>
              </a:defRPr>
            </a:lvl1pPr>
          </a:lstStyle>
          <a:p>
            <a:pPr lvl="0"/>
            <a:r>
              <a:rPr lang="en-US"/>
              <a:t>“Quote copy, resize textbox </a:t>
            </a:r>
            <a:r>
              <a:rPr lang="en-US" err="1"/>
              <a:t>recolour</a:t>
            </a:r>
            <a:r>
              <a:rPr lang="en-US"/>
              <a:t> text as required”.</a:t>
            </a:r>
            <a:endParaRPr lang="en-GB"/>
          </a:p>
        </p:txBody>
      </p:sp>
      <p:sp>
        <p:nvSpPr>
          <p:cNvPr id="8" name="Text Placeholder 12">
            <a:extLst>
              <a:ext uri="{FF2B5EF4-FFF2-40B4-BE49-F238E27FC236}">
                <a16:creationId xmlns:a16="http://schemas.microsoft.com/office/drawing/2014/main" id="{8DDC60B7-E753-52DF-078B-3DC551E10500}"/>
              </a:ext>
            </a:extLst>
          </p:cNvPr>
          <p:cNvSpPr>
            <a:spLocks noGrp="1"/>
          </p:cNvSpPr>
          <p:nvPr>
            <p:ph type="body" sz="quarter" idx="28" hasCustomPrompt="1"/>
          </p:nvPr>
        </p:nvSpPr>
        <p:spPr>
          <a:xfrm>
            <a:off x="1487488" y="4286568"/>
            <a:ext cx="3600450" cy="259239"/>
          </a:xfrm>
          <a:noFill/>
        </p:spPr>
        <p:txBody>
          <a:bodyPr/>
          <a:lstStyle>
            <a:lvl1pPr marL="0" indent="0" algn="l">
              <a:buNone/>
              <a:defRPr sz="16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9" name="Text Placeholder 12">
            <a:extLst>
              <a:ext uri="{FF2B5EF4-FFF2-40B4-BE49-F238E27FC236}">
                <a16:creationId xmlns:a16="http://schemas.microsoft.com/office/drawing/2014/main" id="{4BB56A7A-43A7-EBC8-E591-5A304D59169A}"/>
              </a:ext>
            </a:extLst>
          </p:cNvPr>
          <p:cNvSpPr>
            <a:spLocks noGrp="1"/>
          </p:cNvSpPr>
          <p:nvPr>
            <p:ph type="body" sz="quarter" idx="29" hasCustomPrompt="1"/>
          </p:nvPr>
        </p:nvSpPr>
        <p:spPr>
          <a:xfrm>
            <a:off x="1487488" y="4543748"/>
            <a:ext cx="3600450" cy="259239"/>
          </a:xfrm>
          <a:noFill/>
        </p:spPr>
        <p:txBody>
          <a:bodyPr/>
          <a:lstStyle>
            <a:lvl1pPr marL="0" indent="0" algn="l">
              <a:buNone/>
              <a:defRPr sz="1500">
                <a:solidFill>
                  <a:schemeClr val="tx1"/>
                </a:solidFill>
                <a:latin typeface="+mn-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Company name</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spTree>
    <p:extLst>
      <p:ext uri="{BB962C8B-B14F-4D97-AF65-F5344CB8AC3E}">
        <p14:creationId xmlns:p14="http://schemas.microsoft.com/office/powerpoint/2010/main" val="50391571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3x Image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251885"/>
          </a:xfrm>
        </p:spPr>
        <p:txBody>
          <a:bodyPr/>
          <a:lstStyle>
            <a:lvl1pPr>
              <a:defRPr/>
            </a:lvl1pPr>
          </a:lstStyle>
          <a:p>
            <a:r>
              <a:rPr lang="en-US"/>
              <a:t>Header avenir demi</a:t>
            </a:r>
            <a:endParaRPr lang="en-GB"/>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5" name="Picture Placeholder 15">
            <a:extLst>
              <a:ext uri="{FF2B5EF4-FFF2-40B4-BE49-F238E27FC236}">
                <a16:creationId xmlns:a16="http://schemas.microsoft.com/office/drawing/2014/main" id="{903F0106-157C-427D-4EE3-058FF2156B3C}"/>
              </a:ext>
              <a:ext uri="{C183D7F6-B498-43B3-948B-1728B52AA6E4}">
                <adec:decorative xmlns:adec="http://schemas.microsoft.com/office/drawing/2017/decorative" val="1"/>
              </a:ext>
            </a:extLst>
          </p:cNvPr>
          <p:cNvSpPr>
            <a:spLocks noGrp="1"/>
          </p:cNvSpPr>
          <p:nvPr>
            <p:ph type="pic" sz="quarter" idx="20" hasCustomPrompt="1"/>
          </p:nvPr>
        </p:nvSpPr>
        <p:spPr>
          <a:xfrm>
            <a:off x="551231" y="1815304"/>
            <a:ext cx="3202379" cy="1613696"/>
          </a:xfrm>
          <a:noFill/>
        </p:spPr>
        <p:txBody>
          <a:bodyPr tIns="144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8" name="Picture Placeholder 15">
            <a:extLst>
              <a:ext uri="{FF2B5EF4-FFF2-40B4-BE49-F238E27FC236}">
                <a16:creationId xmlns:a16="http://schemas.microsoft.com/office/drawing/2014/main" id="{EC657CC3-F918-1A6E-4F80-19CFDA23FC11}"/>
              </a:ext>
              <a:ext uri="{C183D7F6-B498-43B3-948B-1728B52AA6E4}">
                <adec:decorative xmlns:adec="http://schemas.microsoft.com/office/drawing/2017/decorative" val="1"/>
              </a:ext>
            </a:extLst>
          </p:cNvPr>
          <p:cNvSpPr>
            <a:spLocks noGrp="1"/>
          </p:cNvSpPr>
          <p:nvPr>
            <p:ph type="pic" sz="quarter" idx="27" hasCustomPrompt="1"/>
          </p:nvPr>
        </p:nvSpPr>
        <p:spPr>
          <a:xfrm>
            <a:off x="4295775" y="1815304"/>
            <a:ext cx="3202379" cy="1613696"/>
          </a:xfrm>
          <a:noFill/>
        </p:spPr>
        <p:txBody>
          <a:bodyPr tIns="144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9" name="Picture Placeholder 15">
            <a:extLst>
              <a:ext uri="{FF2B5EF4-FFF2-40B4-BE49-F238E27FC236}">
                <a16:creationId xmlns:a16="http://schemas.microsoft.com/office/drawing/2014/main" id="{8D0A983E-8A75-5B03-E6D8-3B461E3D79BB}"/>
              </a:ext>
              <a:ext uri="{C183D7F6-B498-43B3-948B-1728B52AA6E4}">
                <adec:decorative xmlns:adec="http://schemas.microsoft.com/office/drawing/2017/decorative" val="1"/>
              </a:ext>
            </a:extLst>
          </p:cNvPr>
          <p:cNvSpPr>
            <a:spLocks noGrp="1"/>
          </p:cNvSpPr>
          <p:nvPr>
            <p:ph type="pic" sz="quarter" idx="29" hasCustomPrompt="1"/>
          </p:nvPr>
        </p:nvSpPr>
        <p:spPr>
          <a:xfrm>
            <a:off x="8040688" y="1815304"/>
            <a:ext cx="3204000" cy="1613696"/>
          </a:xfrm>
          <a:noFill/>
        </p:spPr>
        <p:txBody>
          <a:bodyPr tIns="144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17" name="Text Placeholder 12">
            <a:extLst>
              <a:ext uri="{FF2B5EF4-FFF2-40B4-BE49-F238E27FC236}">
                <a16:creationId xmlns:a16="http://schemas.microsoft.com/office/drawing/2014/main" id="{2DA8D027-1671-C417-E0C3-5993F02B96D9}"/>
              </a:ext>
              <a:ext uri="{C183D7F6-B498-43B3-948B-1728B52AA6E4}">
                <adec:decorative xmlns:adec="http://schemas.microsoft.com/office/drawing/2017/decorative" val="1"/>
              </a:ext>
            </a:extLst>
          </p:cNvPr>
          <p:cNvSpPr>
            <a:spLocks noGrp="1"/>
          </p:cNvSpPr>
          <p:nvPr>
            <p:ph type="body" sz="quarter" idx="39" hasCustomPrompt="1"/>
          </p:nvPr>
        </p:nvSpPr>
        <p:spPr>
          <a:xfrm>
            <a:off x="550863" y="1720850"/>
            <a:ext cx="3202897" cy="94454"/>
          </a:xfrm>
          <a:solidFill>
            <a:schemeClr val="accent2"/>
          </a:solidFill>
        </p:spPr>
        <p:txBody>
          <a:bodyPr/>
          <a:lstStyle>
            <a:lvl1pPr marL="0" indent="0">
              <a:buNone/>
              <a:defRPr sz="200"/>
            </a:lvl1pPr>
            <a:lvl4pPr>
              <a:buClr>
                <a:schemeClr val="accent1"/>
              </a:buClr>
              <a:defRPr/>
            </a:lvl4pPr>
            <a:lvl5pPr>
              <a:buClr>
                <a:schemeClr val="accent1"/>
              </a:buClr>
              <a:defRPr/>
            </a:lvl5pPr>
          </a:lstStyle>
          <a:p>
            <a:pPr lvl="0"/>
            <a:r>
              <a:rPr lang="en-US"/>
              <a:t> </a:t>
            </a:r>
            <a:endParaRPr lang="en-GB"/>
          </a:p>
        </p:txBody>
      </p:sp>
      <p:sp>
        <p:nvSpPr>
          <p:cNvPr id="20" name="Text Placeholder 12">
            <a:extLst>
              <a:ext uri="{FF2B5EF4-FFF2-40B4-BE49-F238E27FC236}">
                <a16:creationId xmlns:a16="http://schemas.microsoft.com/office/drawing/2014/main" id="{CD7185C1-17ED-4DDA-8D74-3D9B371C3A61}"/>
              </a:ext>
              <a:ext uri="{C183D7F6-B498-43B3-948B-1728B52AA6E4}">
                <adec:decorative xmlns:adec="http://schemas.microsoft.com/office/drawing/2017/decorative" val="1"/>
              </a:ext>
            </a:extLst>
          </p:cNvPr>
          <p:cNvSpPr>
            <a:spLocks noGrp="1"/>
          </p:cNvSpPr>
          <p:nvPr>
            <p:ph type="body" sz="quarter" idx="40" hasCustomPrompt="1"/>
          </p:nvPr>
        </p:nvSpPr>
        <p:spPr>
          <a:xfrm>
            <a:off x="4295560" y="1720850"/>
            <a:ext cx="3202898" cy="94454"/>
          </a:xfrm>
          <a:solidFill>
            <a:schemeClr val="accent2"/>
          </a:solidFill>
        </p:spPr>
        <p:txBody>
          <a:bodyPr/>
          <a:lstStyle>
            <a:lvl1pPr marL="0" indent="0">
              <a:buNone/>
              <a:defRPr sz="200"/>
            </a:lvl1pPr>
            <a:lvl4pPr>
              <a:buClr>
                <a:schemeClr val="accent1"/>
              </a:buClr>
              <a:defRPr/>
            </a:lvl4pPr>
            <a:lvl5pPr>
              <a:buClr>
                <a:schemeClr val="accent1"/>
              </a:buClr>
              <a:defRPr/>
            </a:lvl5pPr>
          </a:lstStyle>
          <a:p>
            <a:pPr lvl="0"/>
            <a:r>
              <a:rPr lang="en-US"/>
              <a:t> </a:t>
            </a:r>
            <a:endParaRPr lang="en-GB"/>
          </a:p>
        </p:txBody>
      </p:sp>
      <p:sp>
        <p:nvSpPr>
          <p:cNvPr id="21" name="Text Placeholder 12">
            <a:extLst>
              <a:ext uri="{FF2B5EF4-FFF2-40B4-BE49-F238E27FC236}">
                <a16:creationId xmlns:a16="http://schemas.microsoft.com/office/drawing/2014/main" id="{C20373E0-93FA-5E07-BE29-2A7CDEAB21F9}"/>
              </a:ext>
              <a:ext uri="{C183D7F6-B498-43B3-948B-1728B52AA6E4}">
                <adec:decorative xmlns:adec="http://schemas.microsoft.com/office/drawing/2017/decorative" val="1"/>
              </a:ext>
            </a:extLst>
          </p:cNvPr>
          <p:cNvSpPr>
            <a:spLocks noGrp="1"/>
          </p:cNvSpPr>
          <p:nvPr>
            <p:ph type="body" sz="quarter" idx="41" hasCustomPrompt="1"/>
          </p:nvPr>
        </p:nvSpPr>
        <p:spPr>
          <a:xfrm>
            <a:off x="8040168" y="1720850"/>
            <a:ext cx="3204519" cy="94454"/>
          </a:xfrm>
          <a:solidFill>
            <a:schemeClr val="accent2"/>
          </a:solidFill>
        </p:spPr>
        <p:txBody>
          <a:bodyPr/>
          <a:lstStyle>
            <a:lvl1pPr marL="0" indent="0">
              <a:buNone/>
              <a:defRPr sz="200"/>
            </a:lvl1pPr>
            <a:lvl4pPr>
              <a:buClr>
                <a:schemeClr val="accent1"/>
              </a:buClr>
              <a:defRPr/>
            </a:lvl4pPr>
            <a:lvl5pPr>
              <a:buClr>
                <a:schemeClr val="accent1"/>
              </a:buClr>
              <a:defRPr/>
            </a:lvl5pPr>
          </a:lstStyle>
          <a:p>
            <a:pPr lvl="0"/>
            <a:r>
              <a:rPr lang="en-US"/>
              <a:t> </a:t>
            </a:r>
            <a:endParaRPr lang="en-GB"/>
          </a:p>
        </p:txBody>
      </p:sp>
      <p:sp>
        <p:nvSpPr>
          <p:cNvPr id="23" name="Text Placeholder 12">
            <a:extLst>
              <a:ext uri="{FF2B5EF4-FFF2-40B4-BE49-F238E27FC236}">
                <a16:creationId xmlns:a16="http://schemas.microsoft.com/office/drawing/2014/main" id="{C531B205-D3A4-EA26-3CFE-0FB948EE2890}"/>
              </a:ext>
            </a:extLst>
          </p:cNvPr>
          <p:cNvSpPr>
            <a:spLocks noGrp="1"/>
          </p:cNvSpPr>
          <p:nvPr>
            <p:ph type="body" sz="quarter" idx="43"/>
          </p:nvPr>
        </p:nvSpPr>
        <p:spPr>
          <a:xfrm>
            <a:off x="550863" y="3614886"/>
            <a:ext cx="3202379" cy="1974702"/>
          </a:xfrm>
        </p:spPr>
        <p:txBody>
          <a:bodyPr/>
          <a:lstStyle/>
          <a:p>
            <a:pPr lvl="0"/>
            <a:r>
              <a:rPr lang="en-US"/>
              <a:t>Click to edit Master text styles</a:t>
            </a:r>
          </a:p>
          <a:p>
            <a:pPr lvl="1"/>
            <a:r>
              <a:rPr lang="en-US"/>
              <a:t>Second level</a:t>
            </a:r>
          </a:p>
          <a:p>
            <a:pPr lvl="2"/>
            <a:r>
              <a:rPr lang="en-US"/>
              <a:t>Third level</a:t>
            </a:r>
          </a:p>
        </p:txBody>
      </p:sp>
      <p:sp>
        <p:nvSpPr>
          <p:cNvPr id="24" name="Text Placeholder 12">
            <a:extLst>
              <a:ext uri="{FF2B5EF4-FFF2-40B4-BE49-F238E27FC236}">
                <a16:creationId xmlns:a16="http://schemas.microsoft.com/office/drawing/2014/main" id="{5CD19475-61C5-E508-86C6-A6A43C37FD75}"/>
              </a:ext>
            </a:extLst>
          </p:cNvPr>
          <p:cNvSpPr>
            <a:spLocks noGrp="1"/>
          </p:cNvSpPr>
          <p:nvPr>
            <p:ph type="body" sz="quarter" idx="44"/>
          </p:nvPr>
        </p:nvSpPr>
        <p:spPr>
          <a:xfrm>
            <a:off x="4295529" y="3614886"/>
            <a:ext cx="3202379" cy="1974702"/>
          </a:xfrm>
        </p:spPr>
        <p:txBody>
          <a:bodyPr/>
          <a:lstStyle/>
          <a:p>
            <a:pPr lvl="0"/>
            <a:r>
              <a:rPr lang="en-US"/>
              <a:t>Click to edit Master text styles</a:t>
            </a:r>
          </a:p>
          <a:p>
            <a:pPr lvl="1"/>
            <a:r>
              <a:rPr lang="en-US"/>
              <a:t>Second level</a:t>
            </a:r>
          </a:p>
          <a:p>
            <a:pPr lvl="2"/>
            <a:r>
              <a:rPr lang="en-US"/>
              <a:t>Third level</a:t>
            </a:r>
          </a:p>
        </p:txBody>
      </p:sp>
      <p:sp>
        <p:nvSpPr>
          <p:cNvPr id="25" name="Text Placeholder 12">
            <a:extLst>
              <a:ext uri="{FF2B5EF4-FFF2-40B4-BE49-F238E27FC236}">
                <a16:creationId xmlns:a16="http://schemas.microsoft.com/office/drawing/2014/main" id="{BFA0A616-B625-CB56-07F5-2868451F4AE4}"/>
              </a:ext>
            </a:extLst>
          </p:cNvPr>
          <p:cNvSpPr>
            <a:spLocks noGrp="1"/>
          </p:cNvSpPr>
          <p:nvPr>
            <p:ph type="body" sz="quarter" idx="45"/>
          </p:nvPr>
        </p:nvSpPr>
        <p:spPr>
          <a:xfrm>
            <a:off x="8040688" y="3614886"/>
            <a:ext cx="3204000" cy="1974702"/>
          </a:xfrm>
        </p:spPr>
        <p:txBody>
          <a:body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spTree>
    <p:extLst>
      <p:ext uri="{BB962C8B-B14F-4D97-AF65-F5344CB8AC3E}">
        <p14:creationId xmlns:p14="http://schemas.microsoft.com/office/powerpoint/2010/main" val="250023268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4x Images / Text / Section 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251885"/>
          </a:xfrm>
        </p:spPr>
        <p:txBody>
          <a:bodyPr/>
          <a:lstStyle>
            <a:lvl1pPr>
              <a:defRPr/>
            </a:lvl1pPr>
          </a:lstStyle>
          <a:p>
            <a:r>
              <a:rPr lang="en-US"/>
              <a:t>Header avenir demi</a:t>
            </a:r>
            <a:endParaRPr lang="en-GB"/>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5" name="Picture Placeholder 15">
            <a:extLst>
              <a:ext uri="{FF2B5EF4-FFF2-40B4-BE49-F238E27FC236}">
                <a16:creationId xmlns:a16="http://schemas.microsoft.com/office/drawing/2014/main" id="{903F0106-157C-427D-4EE3-058FF2156B3C}"/>
              </a:ext>
              <a:ext uri="{C183D7F6-B498-43B3-948B-1728B52AA6E4}">
                <adec:decorative xmlns:adec="http://schemas.microsoft.com/office/drawing/2017/decorative" val="1"/>
              </a:ext>
            </a:extLst>
          </p:cNvPr>
          <p:cNvSpPr>
            <a:spLocks noGrp="1"/>
          </p:cNvSpPr>
          <p:nvPr>
            <p:ph type="pic" sz="quarter" idx="20" hasCustomPrompt="1"/>
          </p:nvPr>
        </p:nvSpPr>
        <p:spPr>
          <a:xfrm>
            <a:off x="551231" y="2044850"/>
            <a:ext cx="2267633" cy="1570034"/>
          </a:xfrm>
          <a:noFill/>
        </p:spPr>
        <p:txBody>
          <a:bodyPr lIns="288000" tIns="144000" rIns="288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8" name="Picture Placeholder 15">
            <a:extLst>
              <a:ext uri="{FF2B5EF4-FFF2-40B4-BE49-F238E27FC236}">
                <a16:creationId xmlns:a16="http://schemas.microsoft.com/office/drawing/2014/main" id="{EC657CC3-F918-1A6E-4F80-19CFDA23FC11}"/>
              </a:ext>
              <a:ext uri="{C183D7F6-B498-43B3-948B-1728B52AA6E4}">
                <adec:decorative xmlns:adec="http://schemas.microsoft.com/office/drawing/2017/decorative" val="1"/>
              </a:ext>
            </a:extLst>
          </p:cNvPr>
          <p:cNvSpPr>
            <a:spLocks noGrp="1"/>
          </p:cNvSpPr>
          <p:nvPr>
            <p:ph type="pic" sz="quarter" idx="27" hasCustomPrompt="1"/>
          </p:nvPr>
        </p:nvSpPr>
        <p:spPr>
          <a:xfrm>
            <a:off x="3359518" y="2042858"/>
            <a:ext cx="2267633" cy="1570034"/>
          </a:xfrm>
          <a:noFill/>
        </p:spPr>
        <p:txBody>
          <a:bodyPr lIns="288000" tIns="144000" rIns="288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9" name="Picture Placeholder 15">
            <a:extLst>
              <a:ext uri="{FF2B5EF4-FFF2-40B4-BE49-F238E27FC236}">
                <a16:creationId xmlns:a16="http://schemas.microsoft.com/office/drawing/2014/main" id="{8D0A983E-8A75-5B03-E6D8-3B461E3D79BB}"/>
              </a:ext>
              <a:ext uri="{C183D7F6-B498-43B3-948B-1728B52AA6E4}">
                <adec:decorative xmlns:adec="http://schemas.microsoft.com/office/drawing/2017/decorative" val="1"/>
              </a:ext>
            </a:extLst>
          </p:cNvPr>
          <p:cNvSpPr>
            <a:spLocks noGrp="1"/>
          </p:cNvSpPr>
          <p:nvPr>
            <p:ph type="pic" sz="quarter" idx="29" hasCustomPrompt="1"/>
          </p:nvPr>
        </p:nvSpPr>
        <p:spPr>
          <a:xfrm>
            <a:off x="6167805" y="2042858"/>
            <a:ext cx="2267633" cy="1570034"/>
          </a:xfrm>
          <a:noFill/>
        </p:spPr>
        <p:txBody>
          <a:bodyPr lIns="288000" tIns="144000" rIns="288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12" name="Picture Placeholder 15">
            <a:extLst>
              <a:ext uri="{FF2B5EF4-FFF2-40B4-BE49-F238E27FC236}">
                <a16:creationId xmlns:a16="http://schemas.microsoft.com/office/drawing/2014/main" id="{73CB5704-B72F-A122-22D9-327C2FC30431}"/>
              </a:ext>
              <a:ext uri="{C183D7F6-B498-43B3-948B-1728B52AA6E4}">
                <adec:decorative xmlns:adec="http://schemas.microsoft.com/office/drawing/2017/decorative" val="1"/>
              </a:ext>
            </a:extLst>
          </p:cNvPr>
          <p:cNvSpPr>
            <a:spLocks noGrp="1"/>
          </p:cNvSpPr>
          <p:nvPr>
            <p:ph type="pic" sz="quarter" idx="33" hasCustomPrompt="1"/>
          </p:nvPr>
        </p:nvSpPr>
        <p:spPr>
          <a:xfrm>
            <a:off x="8976091" y="2042858"/>
            <a:ext cx="2267633" cy="1570034"/>
          </a:xfrm>
          <a:noFill/>
        </p:spPr>
        <p:txBody>
          <a:bodyPr lIns="288000" tIns="144000" rIns="288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17" name="Text Placeholder 12">
            <a:extLst>
              <a:ext uri="{FF2B5EF4-FFF2-40B4-BE49-F238E27FC236}">
                <a16:creationId xmlns:a16="http://schemas.microsoft.com/office/drawing/2014/main" id="{2DA8D027-1671-C417-E0C3-5993F02B96D9}"/>
              </a:ext>
              <a:ext uri="{C183D7F6-B498-43B3-948B-1728B52AA6E4}">
                <adec:decorative xmlns:adec="http://schemas.microsoft.com/office/drawing/2017/decorative" val="1"/>
              </a:ext>
            </a:extLst>
          </p:cNvPr>
          <p:cNvSpPr>
            <a:spLocks noGrp="1"/>
          </p:cNvSpPr>
          <p:nvPr>
            <p:ph type="body" sz="quarter" idx="39" hasCustomPrompt="1"/>
          </p:nvPr>
        </p:nvSpPr>
        <p:spPr>
          <a:xfrm>
            <a:off x="550864" y="1720850"/>
            <a:ext cx="2268000" cy="324000"/>
          </a:xfrm>
          <a:solidFill>
            <a:schemeClr val="accent2"/>
          </a:solidFill>
        </p:spPr>
        <p:txBody>
          <a:bodyPr anchor="ctr" anchorCtr="0"/>
          <a:lstStyle>
            <a:lvl1pPr marL="0" indent="0" algn="ctr">
              <a:buNone/>
              <a:defRPr sz="1600">
                <a:solidFill>
                  <a:schemeClr val="bg1"/>
                </a:solidFill>
                <a:latin typeface="+mj-lt"/>
              </a:defRPr>
            </a:lvl1pPr>
            <a:lvl4pPr>
              <a:buClr>
                <a:schemeClr val="accent1"/>
              </a:buClr>
              <a:defRPr/>
            </a:lvl4pPr>
            <a:lvl5pPr>
              <a:buClr>
                <a:schemeClr val="accent1"/>
              </a:buClr>
              <a:defRPr/>
            </a:lvl5pPr>
          </a:lstStyle>
          <a:p>
            <a:pPr lvl="0"/>
            <a:r>
              <a:rPr lang="en-US"/>
              <a:t> Section one</a:t>
            </a:r>
            <a:endParaRPr lang="en-GB"/>
          </a:p>
        </p:txBody>
      </p:sp>
      <p:sp>
        <p:nvSpPr>
          <p:cNvPr id="20" name="Text Placeholder 12">
            <a:extLst>
              <a:ext uri="{FF2B5EF4-FFF2-40B4-BE49-F238E27FC236}">
                <a16:creationId xmlns:a16="http://schemas.microsoft.com/office/drawing/2014/main" id="{CD7185C1-17ED-4DDA-8D74-3D9B371C3A61}"/>
              </a:ext>
              <a:ext uri="{C183D7F6-B498-43B3-948B-1728B52AA6E4}">
                <adec:decorative xmlns:adec="http://schemas.microsoft.com/office/drawing/2017/decorative" val="1"/>
              </a:ext>
            </a:extLst>
          </p:cNvPr>
          <p:cNvSpPr>
            <a:spLocks noGrp="1"/>
          </p:cNvSpPr>
          <p:nvPr>
            <p:ph type="body" sz="quarter" idx="40" hasCustomPrompt="1"/>
          </p:nvPr>
        </p:nvSpPr>
        <p:spPr>
          <a:xfrm>
            <a:off x="3359151" y="1720850"/>
            <a:ext cx="2268000" cy="322008"/>
          </a:xfrm>
          <a:solidFill>
            <a:schemeClr val="accent2"/>
          </a:solidFill>
        </p:spPr>
        <p:txBody>
          <a:bodyPr anchor="ctr" anchorCtr="0"/>
          <a:lstStyle>
            <a:lvl1pPr marL="0" indent="0" algn="ctr">
              <a:buNone/>
              <a:defRPr sz="1600">
                <a:solidFill>
                  <a:schemeClr val="bg1"/>
                </a:solidFill>
                <a:latin typeface="+mj-lt"/>
              </a:defRPr>
            </a:lvl1pPr>
            <a:lvl4pPr>
              <a:buClr>
                <a:schemeClr val="accent1"/>
              </a:buClr>
              <a:defRPr/>
            </a:lvl4pPr>
            <a:lvl5pPr>
              <a:buClr>
                <a:schemeClr val="accent1"/>
              </a:buClr>
              <a:defRPr/>
            </a:lvl5pPr>
          </a:lstStyle>
          <a:p>
            <a:pPr lvl="0"/>
            <a:r>
              <a:rPr lang="en-US"/>
              <a:t> Section two</a:t>
            </a:r>
          </a:p>
        </p:txBody>
      </p:sp>
      <p:sp>
        <p:nvSpPr>
          <p:cNvPr id="21" name="Text Placeholder 12">
            <a:extLst>
              <a:ext uri="{FF2B5EF4-FFF2-40B4-BE49-F238E27FC236}">
                <a16:creationId xmlns:a16="http://schemas.microsoft.com/office/drawing/2014/main" id="{C20373E0-93FA-5E07-BE29-2A7CDEAB21F9}"/>
              </a:ext>
              <a:ext uri="{C183D7F6-B498-43B3-948B-1728B52AA6E4}">
                <adec:decorative xmlns:adec="http://schemas.microsoft.com/office/drawing/2017/decorative" val="1"/>
              </a:ext>
            </a:extLst>
          </p:cNvPr>
          <p:cNvSpPr>
            <a:spLocks noGrp="1"/>
          </p:cNvSpPr>
          <p:nvPr>
            <p:ph type="body" sz="quarter" idx="41" hasCustomPrompt="1"/>
          </p:nvPr>
        </p:nvSpPr>
        <p:spPr>
          <a:xfrm>
            <a:off x="6167438" y="1720850"/>
            <a:ext cx="2268000" cy="322008"/>
          </a:xfrm>
          <a:solidFill>
            <a:schemeClr val="accent2"/>
          </a:solidFill>
        </p:spPr>
        <p:txBody>
          <a:bodyPr anchor="ctr" anchorCtr="0"/>
          <a:lstStyle>
            <a:lvl1pPr marL="0" indent="0" algn="ctr">
              <a:buNone/>
              <a:defRPr sz="1600">
                <a:solidFill>
                  <a:schemeClr val="bg1"/>
                </a:solidFill>
                <a:latin typeface="+mj-lt"/>
              </a:defRPr>
            </a:lvl1pPr>
            <a:lvl4pPr>
              <a:buClr>
                <a:schemeClr val="accent1"/>
              </a:buClr>
              <a:defRPr/>
            </a:lvl4pPr>
            <a:lvl5pPr>
              <a:buClr>
                <a:schemeClr val="accent1"/>
              </a:buClr>
              <a:defRPr/>
            </a:lvl5pPr>
          </a:lstStyle>
          <a:p>
            <a:pPr lvl="0"/>
            <a:r>
              <a:rPr lang="en-US"/>
              <a:t> Section three</a:t>
            </a:r>
            <a:endParaRPr lang="en-GB"/>
          </a:p>
        </p:txBody>
      </p:sp>
      <p:sp>
        <p:nvSpPr>
          <p:cNvPr id="22" name="Text Placeholder 12">
            <a:extLst>
              <a:ext uri="{FF2B5EF4-FFF2-40B4-BE49-F238E27FC236}">
                <a16:creationId xmlns:a16="http://schemas.microsoft.com/office/drawing/2014/main" id="{16AEE30E-3916-27B5-D72D-39A00D8F21C2}"/>
              </a:ext>
              <a:ext uri="{C183D7F6-B498-43B3-948B-1728B52AA6E4}">
                <adec:decorative xmlns:adec="http://schemas.microsoft.com/office/drawing/2017/decorative" val="1"/>
              </a:ext>
            </a:extLst>
          </p:cNvPr>
          <p:cNvSpPr>
            <a:spLocks noGrp="1"/>
          </p:cNvSpPr>
          <p:nvPr>
            <p:ph type="body" sz="quarter" idx="42" hasCustomPrompt="1"/>
          </p:nvPr>
        </p:nvSpPr>
        <p:spPr>
          <a:xfrm>
            <a:off x="8975724" y="1720850"/>
            <a:ext cx="2268000" cy="322008"/>
          </a:xfrm>
          <a:solidFill>
            <a:schemeClr val="accent2"/>
          </a:solidFill>
        </p:spPr>
        <p:txBody>
          <a:bodyPr anchor="ctr" anchorCtr="0"/>
          <a:lstStyle>
            <a:lvl1pPr marL="0" indent="0" algn="ctr">
              <a:buNone/>
              <a:defRPr sz="1600">
                <a:solidFill>
                  <a:schemeClr val="bg1"/>
                </a:solidFill>
                <a:latin typeface="+mj-lt"/>
              </a:defRPr>
            </a:lvl1pPr>
            <a:lvl4pPr>
              <a:buClr>
                <a:schemeClr val="accent1"/>
              </a:buClr>
              <a:defRPr/>
            </a:lvl4pPr>
            <a:lvl5pPr>
              <a:buClr>
                <a:schemeClr val="accent1"/>
              </a:buClr>
              <a:defRPr/>
            </a:lvl5pPr>
          </a:lstStyle>
          <a:p>
            <a:pPr lvl="0"/>
            <a:r>
              <a:rPr lang="en-US"/>
              <a:t> Section four</a:t>
            </a:r>
            <a:endParaRPr lang="en-GB"/>
          </a:p>
        </p:txBody>
      </p:sp>
      <p:sp>
        <p:nvSpPr>
          <p:cNvPr id="23" name="Text Placeholder 12">
            <a:extLst>
              <a:ext uri="{FF2B5EF4-FFF2-40B4-BE49-F238E27FC236}">
                <a16:creationId xmlns:a16="http://schemas.microsoft.com/office/drawing/2014/main" id="{C531B205-D3A4-EA26-3CFE-0FB948EE2890}"/>
              </a:ext>
            </a:extLst>
          </p:cNvPr>
          <p:cNvSpPr>
            <a:spLocks noGrp="1"/>
          </p:cNvSpPr>
          <p:nvPr>
            <p:ph type="body" sz="quarter" idx="43"/>
          </p:nvPr>
        </p:nvSpPr>
        <p:spPr>
          <a:xfrm>
            <a:off x="550863" y="3792000"/>
            <a:ext cx="2267633" cy="1800000"/>
          </a:xfrm>
        </p:spPr>
        <p:txBody>
          <a:bodyPr/>
          <a:lstStyle/>
          <a:p>
            <a:pPr lvl="0"/>
            <a:r>
              <a:rPr lang="en-US"/>
              <a:t>Click to edit Master text styles</a:t>
            </a:r>
          </a:p>
          <a:p>
            <a:pPr lvl="1"/>
            <a:r>
              <a:rPr lang="en-US"/>
              <a:t>Second level</a:t>
            </a:r>
          </a:p>
          <a:p>
            <a:pPr lvl="2"/>
            <a:r>
              <a:rPr lang="en-US"/>
              <a:t>Third level</a:t>
            </a:r>
          </a:p>
        </p:txBody>
      </p:sp>
      <p:sp>
        <p:nvSpPr>
          <p:cNvPr id="24" name="Text Placeholder 12">
            <a:extLst>
              <a:ext uri="{FF2B5EF4-FFF2-40B4-BE49-F238E27FC236}">
                <a16:creationId xmlns:a16="http://schemas.microsoft.com/office/drawing/2014/main" id="{5CD19475-61C5-E508-86C6-A6A43C37FD75}"/>
              </a:ext>
            </a:extLst>
          </p:cNvPr>
          <p:cNvSpPr>
            <a:spLocks noGrp="1"/>
          </p:cNvSpPr>
          <p:nvPr>
            <p:ph type="body" sz="quarter" idx="44"/>
          </p:nvPr>
        </p:nvSpPr>
        <p:spPr>
          <a:xfrm>
            <a:off x="3359272" y="3792000"/>
            <a:ext cx="2267633" cy="1800000"/>
          </a:xfrm>
        </p:spPr>
        <p:txBody>
          <a:bodyPr/>
          <a:lstStyle/>
          <a:p>
            <a:pPr lvl="0"/>
            <a:r>
              <a:rPr lang="en-US"/>
              <a:t>Click to edit Master text styles</a:t>
            </a:r>
          </a:p>
          <a:p>
            <a:pPr lvl="1"/>
            <a:r>
              <a:rPr lang="en-US"/>
              <a:t>Second level</a:t>
            </a:r>
          </a:p>
          <a:p>
            <a:pPr lvl="2"/>
            <a:r>
              <a:rPr lang="en-US"/>
              <a:t>Third level</a:t>
            </a:r>
          </a:p>
        </p:txBody>
      </p:sp>
      <p:sp>
        <p:nvSpPr>
          <p:cNvPr id="25" name="Text Placeholder 12">
            <a:extLst>
              <a:ext uri="{FF2B5EF4-FFF2-40B4-BE49-F238E27FC236}">
                <a16:creationId xmlns:a16="http://schemas.microsoft.com/office/drawing/2014/main" id="{BFA0A616-B625-CB56-07F5-2868451F4AE4}"/>
              </a:ext>
            </a:extLst>
          </p:cNvPr>
          <p:cNvSpPr>
            <a:spLocks noGrp="1"/>
          </p:cNvSpPr>
          <p:nvPr>
            <p:ph type="body" sz="quarter" idx="45"/>
          </p:nvPr>
        </p:nvSpPr>
        <p:spPr>
          <a:xfrm>
            <a:off x="6167681" y="3792000"/>
            <a:ext cx="2267633" cy="1800000"/>
          </a:xfrm>
        </p:spPr>
        <p:txBody>
          <a:bodyPr/>
          <a:lstStyle/>
          <a:p>
            <a:pPr lvl="0"/>
            <a:r>
              <a:rPr lang="en-US"/>
              <a:t>Click to edit Master text styles</a:t>
            </a:r>
          </a:p>
          <a:p>
            <a:pPr lvl="1"/>
            <a:r>
              <a:rPr lang="en-US"/>
              <a:t>Second level</a:t>
            </a:r>
          </a:p>
          <a:p>
            <a:pPr lvl="2"/>
            <a:r>
              <a:rPr lang="en-US"/>
              <a:t>Third level</a:t>
            </a:r>
          </a:p>
        </p:txBody>
      </p:sp>
      <p:sp>
        <p:nvSpPr>
          <p:cNvPr id="26" name="Text Placeholder 12">
            <a:extLst>
              <a:ext uri="{FF2B5EF4-FFF2-40B4-BE49-F238E27FC236}">
                <a16:creationId xmlns:a16="http://schemas.microsoft.com/office/drawing/2014/main" id="{44E764C5-EE0F-D481-485B-3B14A6A1CFCF}"/>
              </a:ext>
            </a:extLst>
          </p:cNvPr>
          <p:cNvSpPr>
            <a:spLocks noGrp="1"/>
          </p:cNvSpPr>
          <p:nvPr>
            <p:ph type="body" sz="quarter" idx="46"/>
          </p:nvPr>
        </p:nvSpPr>
        <p:spPr>
          <a:xfrm>
            <a:off x="8976091" y="3792000"/>
            <a:ext cx="2267633" cy="1800000"/>
          </a:xfrm>
        </p:spPr>
        <p:txBody>
          <a:body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spTree>
    <p:extLst>
      <p:ext uri="{BB962C8B-B14F-4D97-AF65-F5344CB8AC3E}">
        <p14:creationId xmlns:p14="http://schemas.microsoft.com/office/powerpoint/2010/main" val="10359154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4x Image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251885"/>
          </a:xfrm>
        </p:spPr>
        <p:txBody>
          <a:bodyPr/>
          <a:lstStyle>
            <a:lvl1pPr>
              <a:defRPr/>
            </a:lvl1pPr>
          </a:lstStyle>
          <a:p>
            <a:r>
              <a:rPr lang="en-US"/>
              <a:t>Header avenir demi</a:t>
            </a:r>
            <a:endParaRPr lang="en-GB"/>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5" name="Picture Placeholder 15">
            <a:extLst>
              <a:ext uri="{FF2B5EF4-FFF2-40B4-BE49-F238E27FC236}">
                <a16:creationId xmlns:a16="http://schemas.microsoft.com/office/drawing/2014/main" id="{903F0106-157C-427D-4EE3-058FF2156B3C}"/>
              </a:ext>
              <a:ext uri="{C183D7F6-B498-43B3-948B-1728B52AA6E4}">
                <adec:decorative xmlns:adec="http://schemas.microsoft.com/office/drawing/2017/decorative" val="1"/>
              </a:ext>
            </a:extLst>
          </p:cNvPr>
          <p:cNvSpPr>
            <a:spLocks noGrp="1"/>
          </p:cNvSpPr>
          <p:nvPr>
            <p:ph type="pic" sz="quarter" idx="20" hasCustomPrompt="1"/>
          </p:nvPr>
        </p:nvSpPr>
        <p:spPr>
          <a:xfrm>
            <a:off x="551231" y="1815304"/>
            <a:ext cx="2267633" cy="1613696"/>
          </a:xfrm>
          <a:noFill/>
        </p:spPr>
        <p:txBody>
          <a:bodyPr lIns="288000" tIns="144000" rIns="288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8" name="Picture Placeholder 15">
            <a:extLst>
              <a:ext uri="{FF2B5EF4-FFF2-40B4-BE49-F238E27FC236}">
                <a16:creationId xmlns:a16="http://schemas.microsoft.com/office/drawing/2014/main" id="{EC657CC3-F918-1A6E-4F80-19CFDA23FC11}"/>
              </a:ext>
              <a:ext uri="{C183D7F6-B498-43B3-948B-1728B52AA6E4}">
                <adec:decorative xmlns:adec="http://schemas.microsoft.com/office/drawing/2017/decorative" val="1"/>
              </a:ext>
            </a:extLst>
          </p:cNvPr>
          <p:cNvSpPr>
            <a:spLocks noGrp="1"/>
          </p:cNvSpPr>
          <p:nvPr>
            <p:ph type="pic" sz="quarter" idx="27" hasCustomPrompt="1"/>
          </p:nvPr>
        </p:nvSpPr>
        <p:spPr>
          <a:xfrm>
            <a:off x="3359518" y="1815304"/>
            <a:ext cx="2267633" cy="1613696"/>
          </a:xfrm>
          <a:noFill/>
        </p:spPr>
        <p:txBody>
          <a:bodyPr lIns="288000" tIns="144000" rIns="288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9" name="Picture Placeholder 15">
            <a:extLst>
              <a:ext uri="{FF2B5EF4-FFF2-40B4-BE49-F238E27FC236}">
                <a16:creationId xmlns:a16="http://schemas.microsoft.com/office/drawing/2014/main" id="{8D0A983E-8A75-5B03-E6D8-3B461E3D79BB}"/>
              </a:ext>
              <a:ext uri="{C183D7F6-B498-43B3-948B-1728B52AA6E4}">
                <adec:decorative xmlns:adec="http://schemas.microsoft.com/office/drawing/2017/decorative" val="1"/>
              </a:ext>
            </a:extLst>
          </p:cNvPr>
          <p:cNvSpPr>
            <a:spLocks noGrp="1"/>
          </p:cNvSpPr>
          <p:nvPr>
            <p:ph type="pic" sz="quarter" idx="29" hasCustomPrompt="1"/>
          </p:nvPr>
        </p:nvSpPr>
        <p:spPr>
          <a:xfrm>
            <a:off x="6167805" y="1815304"/>
            <a:ext cx="2267633" cy="1613696"/>
          </a:xfrm>
          <a:noFill/>
        </p:spPr>
        <p:txBody>
          <a:bodyPr lIns="288000" tIns="144000" rIns="288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12" name="Picture Placeholder 15">
            <a:extLst>
              <a:ext uri="{FF2B5EF4-FFF2-40B4-BE49-F238E27FC236}">
                <a16:creationId xmlns:a16="http://schemas.microsoft.com/office/drawing/2014/main" id="{73CB5704-B72F-A122-22D9-327C2FC30431}"/>
              </a:ext>
              <a:ext uri="{C183D7F6-B498-43B3-948B-1728B52AA6E4}">
                <adec:decorative xmlns:adec="http://schemas.microsoft.com/office/drawing/2017/decorative" val="1"/>
              </a:ext>
            </a:extLst>
          </p:cNvPr>
          <p:cNvSpPr>
            <a:spLocks noGrp="1"/>
          </p:cNvSpPr>
          <p:nvPr>
            <p:ph type="pic" sz="quarter" idx="33" hasCustomPrompt="1"/>
          </p:nvPr>
        </p:nvSpPr>
        <p:spPr>
          <a:xfrm>
            <a:off x="8976091" y="1815304"/>
            <a:ext cx="2267633" cy="1613696"/>
          </a:xfrm>
          <a:noFill/>
        </p:spPr>
        <p:txBody>
          <a:bodyPr lIns="288000" tIns="144000" rIns="288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17" name="Text Placeholder 12">
            <a:extLst>
              <a:ext uri="{FF2B5EF4-FFF2-40B4-BE49-F238E27FC236}">
                <a16:creationId xmlns:a16="http://schemas.microsoft.com/office/drawing/2014/main" id="{2DA8D027-1671-C417-E0C3-5993F02B96D9}"/>
              </a:ext>
              <a:ext uri="{C183D7F6-B498-43B3-948B-1728B52AA6E4}">
                <adec:decorative xmlns:adec="http://schemas.microsoft.com/office/drawing/2017/decorative" val="1"/>
              </a:ext>
            </a:extLst>
          </p:cNvPr>
          <p:cNvSpPr>
            <a:spLocks noGrp="1"/>
          </p:cNvSpPr>
          <p:nvPr>
            <p:ph type="body" sz="quarter" idx="39" hasCustomPrompt="1"/>
          </p:nvPr>
        </p:nvSpPr>
        <p:spPr>
          <a:xfrm>
            <a:off x="550864" y="1720850"/>
            <a:ext cx="2268000" cy="94454"/>
          </a:xfrm>
          <a:solidFill>
            <a:schemeClr val="accent2"/>
          </a:solidFill>
        </p:spPr>
        <p:txBody>
          <a:bodyPr/>
          <a:lstStyle>
            <a:lvl1pPr marL="0" indent="0">
              <a:buNone/>
              <a:defRPr sz="200"/>
            </a:lvl1pPr>
            <a:lvl4pPr>
              <a:buClr>
                <a:schemeClr val="accent1"/>
              </a:buClr>
              <a:defRPr/>
            </a:lvl4pPr>
            <a:lvl5pPr>
              <a:buClr>
                <a:schemeClr val="accent1"/>
              </a:buClr>
              <a:defRPr/>
            </a:lvl5pPr>
          </a:lstStyle>
          <a:p>
            <a:pPr lvl="0"/>
            <a:r>
              <a:rPr lang="en-US"/>
              <a:t> </a:t>
            </a:r>
            <a:endParaRPr lang="en-GB"/>
          </a:p>
        </p:txBody>
      </p:sp>
      <p:sp>
        <p:nvSpPr>
          <p:cNvPr id="20" name="Text Placeholder 12">
            <a:extLst>
              <a:ext uri="{FF2B5EF4-FFF2-40B4-BE49-F238E27FC236}">
                <a16:creationId xmlns:a16="http://schemas.microsoft.com/office/drawing/2014/main" id="{CD7185C1-17ED-4DDA-8D74-3D9B371C3A61}"/>
              </a:ext>
              <a:ext uri="{C183D7F6-B498-43B3-948B-1728B52AA6E4}">
                <adec:decorative xmlns:adec="http://schemas.microsoft.com/office/drawing/2017/decorative" val="1"/>
              </a:ext>
            </a:extLst>
          </p:cNvPr>
          <p:cNvSpPr>
            <a:spLocks noGrp="1"/>
          </p:cNvSpPr>
          <p:nvPr>
            <p:ph type="body" sz="quarter" idx="40" hasCustomPrompt="1"/>
          </p:nvPr>
        </p:nvSpPr>
        <p:spPr>
          <a:xfrm>
            <a:off x="3359151" y="1720850"/>
            <a:ext cx="2268000" cy="94454"/>
          </a:xfrm>
          <a:solidFill>
            <a:schemeClr val="accent2"/>
          </a:solidFill>
        </p:spPr>
        <p:txBody>
          <a:bodyPr/>
          <a:lstStyle>
            <a:lvl1pPr marL="0" indent="0">
              <a:buNone/>
              <a:defRPr sz="200"/>
            </a:lvl1pPr>
            <a:lvl4pPr>
              <a:buClr>
                <a:schemeClr val="accent1"/>
              </a:buClr>
              <a:defRPr/>
            </a:lvl4pPr>
            <a:lvl5pPr>
              <a:buClr>
                <a:schemeClr val="accent1"/>
              </a:buClr>
              <a:defRPr/>
            </a:lvl5pPr>
          </a:lstStyle>
          <a:p>
            <a:pPr lvl="0"/>
            <a:r>
              <a:rPr lang="en-US"/>
              <a:t> </a:t>
            </a:r>
            <a:endParaRPr lang="en-GB"/>
          </a:p>
        </p:txBody>
      </p:sp>
      <p:sp>
        <p:nvSpPr>
          <p:cNvPr id="21" name="Text Placeholder 12">
            <a:extLst>
              <a:ext uri="{FF2B5EF4-FFF2-40B4-BE49-F238E27FC236}">
                <a16:creationId xmlns:a16="http://schemas.microsoft.com/office/drawing/2014/main" id="{C20373E0-93FA-5E07-BE29-2A7CDEAB21F9}"/>
              </a:ext>
              <a:ext uri="{C183D7F6-B498-43B3-948B-1728B52AA6E4}">
                <adec:decorative xmlns:adec="http://schemas.microsoft.com/office/drawing/2017/decorative" val="1"/>
              </a:ext>
            </a:extLst>
          </p:cNvPr>
          <p:cNvSpPr>
            <a:spLocks noGrp="1"/>
          </p:cNvSpPr>
          <p:nvPr>
            <p:ph type="body" sz="quarter" idx="41" hasCustomPrompt="1"/>
          </p:nvPr>
        </p:nvSpPr>
        <p:spPr>
          <a:xfrm>
            <a:off x="6167438" y="1720850"/>
            <a:ext cx="2268000" cy="94454"/>
          </a:xfrm>
          <a:solidFill>
            <a:schemeClr val="accent2"/>
          </a:solidFill>
        </p:spPr>
        <p:txBody>
          <a:bodyPr/>
          <a:lstStyle>
            <a:lvl1pPr marL="0" indent="0">
              <a:buNone/>
              <a:defRPr sz="200"/>
            </a:lvl1pPr>
            <a:lvl4pPr>
              <a:buClr>
                <a:schemeClr val="accent1"/>
              </a:buClr>
              <a:defRPr/>
            </a:lvl4pPr>
            <a:lvl5pPr>
              <a:buClr>
                <a:schemeClr val="accent1"/>
              </a:buClr>
              <a:defRPr/>
            </a:lvl5pPr>
          </a:lstStyle>
          <a:p>
            <a:pPr lvl="0"/>
            <a:r>
              <a:rPr lang="en-US"/>
              <a:t> </a:t>
            </a:r>
            <a:endParaRPr lang="en-GB"/>
          </a:p>
        </p:txBody>
      </p:sp>
      <p:sp>
        <p:nvSpPr>
          <p:cNvPr id="22" name="Text Placeholder 12">
            <a:extLst>
              <a:ext uri="{FF2B5EF4-FFF2-40B4-BE49-F238E27FC236}">
                <a16:creationId xmlns:a16="http://schemas.microsoft.com/office/drawing/2014/main" id="{16AEE30E-3916-27B5-D72D-39A00D8F21C2}"/>
              </a:ext>
              <a:ext uri="{C183D7F6-B498-43B3-948B-1728B52AA6E4}">
                <adec:decorative xmlns:adec="http://schemas.microsoft.com/office/drawing/2017/decorative" val="1"/>
              </a:ext>
            </a:extLst>
          </p:cNvPr>
          <p:cNvSpPr>
            <a:spLocks noGrp="1"/>
          </p:cNvSpPr>
          <p:nvPr>
            <p:ph type="body" sz="quarter" idx="42" hasCustomPrompt="1"/>
          </p:nvPr>
        </p:nvSpPr>
        <p:spPr>
          <a:xfrm>
            <a:off x="8975724" y="1720850"/>
            <a:ext cx="2268000" cy="94454"/>
          </a:xfrm>
          <a:solidFill>
            <a:schemeClr val="accent2"/>
          </a:solidFill>
        </p:spPr>
        <p:txBody>
          <a:bodyPr/>
          <a:lstStyle>
            <a:lvl1pPr marL="0" indent="0">
              <a:buNone/>
              <a:defRPr sz="200"/>
            </a:lvl1pPr>
            <a:lvl4pPr>
              <a:buClr>
                <a:schemeClr val="accent1"/>
              </a:buClr>
              <a:defRPr/>
            </a:lvl4pPr>
            <a:lvl5pPr>
              <a:buClr>
                <a:schemeClr val="accent1"/>
              </a:buClr>
              <a:defRPr/>
            </a:lvl5pPr>
          </a:lstStyle>
          <a:p>
            <a:pPr lvl="0"/>
            <a:r>
              <a:rPr lang="en-US"/>
              <a:t> </a:t>
            </a:r>
            <a:endParaRPr lang="en-GB"/>
          </a:p>
        </p:txBody>
      </p:sp>
      <p:sp>
        <p:nvSpPr>
          <p:cNvPr id="23" name="Text Placeholder 12">
            <a:extLst>
              <a:ext uri="{FF2B5EF4-FFF2-40B4-BE49-F238E27FC236}">
                <a16:creationId xmlns:a16="http://schemas.microsoft.com/office/drawing/2014/main" id="{C531B205-D3A4-EA26-3CFE-0FB948EE2890}"/>
              </a:ext>
            </a:extLst>
          </p:cNvPr>
          <p:cNvSpPr>
            <a:spLocks noGrp="1"/>
          </p:cNvSpPr>
          <p:nvPr>
            <p:ph type="body" sz="quarter" idx="43"/>
          </p:nvPr>
        </p:nvSpPr>
        <p:spPr>
          <a:xfrm>
            <a:off x="550863" y="3614886"/>
            <a:ext cx="2267633" cy="1974702"/>
          </a:xfrm>
        </p:spPr>
        <p:txBody>
          <a:bodyPr/>
          <a:lstStyle/>
          <a:p>
            <a:pPr lvl="0"/>
            <a:r>
              <a:rPr lang="en-US"/>
              <a:t>Click to edit Master text styles</a:t>
            </a:r>
          </a:p>
          <a:p>
            <a:pPr lvl="1"/>
            <a:r>
              <a:rPr lang="en-US"/>
              <a:t>Second level</a:t>
            </a:r>
          </a:p>
          <a:p>
            <a:pPr lvl="2"/>
            <a:r>
              <a:rPr lang="en-US"/>
              <a:t>Third level</a:t>
            </a:r>
          </a:p>
        </p:txBody>
      </p:sp>
      <p:sp>
        <p:nvSpPr>
          <p:cNvPr id="24" name="Text Placeholder 12">
            <a:extLst>
              <a:ext uri="{FF2B5EF4-FFF2-40B4-BE49-F238E27FC236}">
                <a16:creationId xmlns:a16="http://schemas.microsoft.com/office/drawing/2014/main" id="{5CD19475-61C5-E508-86C6-A6A43C37FD75}"/>
              </a:ext>
            </a:extLst>
          </p:cNvPr>
          <p:cNvSpPr>
            <a:spLocks noGrp="1"/>
          </p:cNvSpPr>
          <p:nvPr>
            <p:ph type="body" sz="quarter" idx="44"/>
          </p:nvPr>
        </p:nvSpPr>
        <p:spPr>
          <a:xfrm>
            <a:off x="3359272" y="3614886"/>
            <a:ext cx="2267633" cy="1974702"/>
          </a:xfrm>
        </p:spPr>
        <p:txBody>
          <a:bodyPr/>
          <a:lstStyle/>
          <a:p>
            <a:pPr lvl="0"/>
            <a:r>
              <a:rPr lang="en-US"/>
              <a:t>Click to edit Master text styles</a:t>
            </a:r>
          </a:p>
          <a:p>
            <a:pPr lvl="1"/>
            <a:r>
              <a:rPr lang="en-US"/>
              <a:t>Second level</a:t>
            </a:r>
          </a:p>
          <a:p>
            <a:pPr lvl="2"/>
            <a:r>
              <a:rPr lang="en-US"/>
              <a:t>Third level</a:t>
            </a:r>
          </a:p>
        </p:txBody>
      </p:sp>
      <p:sp>
        <p:nvSpPr>
          <p:cNvPr id="25" name="Text Placeholder 12">
            <a:extLst>
              <a:ext uri="{FF2B5EF4-FFF2-40B4-BE49-F238E27FC236}">
                <a16:creationId xmlns:a16="http://schemas.microsoft.com/office/drawing/2014/main" id="{BFA0A616-B625-CB56-07F5-2868451F4AE4}"/>
              </a:ext>
            </a:extLst>
          </p:cNvPr>
          <p:cNvSpPr>
            <a:spLocks noGrp="1"/>
          </p:cNvSpPr>
          <p:nvPr>
            <p:ph type="body" sz="quarter" idx="45"/>
          </p:nvPr>
        </p:nvSpPr>
        <p:spPr>
          <a:xfrm>
            <a:off x="6167681" y="3614886"/>
            <a:ext cx="2267633" cy="1974702"/>
          </a:xfrm>
        </p:spPr>
        <p:txBody>
          <a:bodyPr/>
          <a:lstStyle/>
          <a:p>
            <a:pPr lvl="0"/>
            <a:r>
              <a:rPr lang="en-US"/>
              <a:t>Click to edit Master text styles</a:t>
            </a:r>
          </a:p>
          <a:p>
            <a:pPr lvl="1"/>
            <a:r>
              <a:rPr lang="en-US"/>
              <a:t>Second level</a:t>
            </a:r>
          </a:p>
          <a:p>
            <a:pPr lvl="2"/>
            <a:r>
              <a:rPr lang="en-US"/>
              <a:t>Third level</a:t>
            </a:r>
          </a:p>
        </p:txBody>
      </p:sp>
      <p:sp>
        <p:nvSpPr>
          <p:cNvPr id="26" name="Text Placeholder 12">
            <a:extLst>
              <a:ext uri="{FF2B5EF4-FFF2-40B4-BE49-F238E27FC236}">
                <a16:creationId xmlns:a16="http://schemas.microsoft.com/office/drawing/2014/main" id="{44E764C5-EE0F-D481-485B-3B14A6A1CFCF}"/>
              </a:ext>
            </a:extLst>
          </p:cNvPr>
          <p:cNvSpPr>
            <a:spLocks noGrp="1"/>
          </p:cNvSpPr>
          <p:nvPr>
            <p:ph type="body" sz="quarter" idx="46"/>
          </p:nvPr>
        </p:nvSpPr>
        <p:spPr>
          <a:xfrm>
            <a:off x="8976091" y="3614886"/>
            <a:ext cx="2267633" cy="1974702"/>
          </a:xfrm>
        </p:spPr>
        <p:txBody>
          <a:body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spTree>
    <p:extLst>
      <p:ext uri="{BB962C8B-B14F-4D97-AF65-F5344CB8AC3E}">
        <p14:creationId xmlns:p14="http://schemas.microsoft.com/office/powerpoint/2010/main" val="427523256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C789BA8-204E-7E98-F566-224438743CCB}"/>
              </a:ext>
              <a:ext uri="{C183D7F6-B498-43B3-948B-1728B52AA6E4}">
                <adec:decorative xmlns:adec="http://schemas.microsoft.com/office/drawing/2017/decorative" val="1"/>
              </a:ext>
            </a:extLst>
          </p:cNvPr>
          <p:cNvSpPr/>
          <p:nvPr userDrawn="1"/>
        </p:nvSpPr>
        <p:spPr>
          <a:xfrm>
            <a:off x="0" y="0"/>
            <a:ext cx="4151312" cy="6858000"/>
          </a:xfrm>
          <a:prstGeom prst="rect">
            <a:avLst/>
          </a:prstGeom>
          <a:solidFill>
            <a:srgbClr val="FAF5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venir Next LT Pro"/>
              <a:ea typeface="+mn-ea"/>
              <a:cs typeface="+mn-cs"/>
            </a:endParaRPr>
          </a:p>
        </p:txBody>
      </p:sp>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5" y="368828"/>
            <a:ext cx="2916236" cy="251885"/>
          </a:xfrm>
        </p:spPr>
        <p:txBody>
          <a:bodyPr/>
          <a:lstStyle>
            <a:lvl1pPr>
              <a:defRPr/>
            </a:lvl1pPr>
          </a:lstStyle>
          <a:p>
            <a:r>
              <a:rPr lang="en-US"/>
              <a:t>Header avenir demi</a:t>
            </a:r>
            <a:endParaRPr lang="en-GB"/>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2916237"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6" name="Picture Placeholder 15">
            <a:extLst>
              <a:ext uri="{FF2B5EF4-FFF2-40B4-BE49-F238E27FC236}">
                <a16:creationId xmlns:a16="http://schemas.microsoft.com/office/drawing/2014/main" id="{DA05801B-112D-E8CC-61BD-A4834B349AA6}"/>
              </a:ext>
              <a:ext uri="{C183D7F6-B498-43B3-948B-1728B52AA6E4}">
                <adec:decorative xmlns:adec="http://schemas.microsoft.com/office/drawing/2017/decorative" val="1"/>
              </a:ext>
            </a:extLst>
          </p:cNvPr>
          <p:cNvSpPr>
            <a:spLocks noGrp="1"/>
          </p:cNvSpPr>
          <p:nvPr>
            <p:ph type="pic" sz="quarter" idx="46" hasCustomPrompt="1"/>
          </p:nvPr>
        </p:nvSpPr>
        <p:spPr>
          <a:xfrm>
            <a:off x="551231" y="1639334"/>
            <a:ext cx="1404000" cy="1404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19" name="Text Placeholder 12">
            <a:extLst>
              <a:ext uri="{FF2B5EF4-FFF2-40B4-BE49-F238E27FC236}">
                <a16:creationId xmlns:a16="http://schemas.microsoft.com/office/drawing/2014/main" id="{026CE2A2-F93E-B1AA-3611-400C0319FE19}"/>
              </a:ext>
            </a:extLst>
          </p:cNvPr>
          <p:cNvSpPr>
            <a:spLocks noGrp="1"/>
          </p:cNvSpPr>
          <p:nvPr>
            <p:ph type="body" sz="quarter" idx="48" hasCustomPrompt="1"/>
          </p:nvPr>
        </p:nvSpPr>
        <p:spPr>
          <a:xfrm>
            <a:off x="550861" y="3215665"/>
            <a:ext cx="3204353"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7" name="Text Placeholder 12">
            <a:extLst>
              <a:ext uri="{FF2B5EF4-FFF2-40B4-BE49-F238E27FC236}">
                <a16:creationId xmlns:a16="http://schemas.microsoft.com/office/drawing/2014/main" id="{465DB172-EA52-68C6-51D1-D92A6077E7ED}"/>
              </a:ext>
            </a:extLst>
          </p:cNvPr>
          <p:cNvSpPr>
            <a:spLocks noGrp="1"/>
          </p:cNvSpPr>
          <p:nvPr>
            <p:ph type="body" sz="quarter" idx="61" hasCustomPrompt="1"/>
          </p:nvPr>
        </p:nvSpPr>
        <p:spPr>
          <a:xfrm>
            <a:off x="550861" y="3546636"/>
            <a:ext cx="3204361"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18" name="Text Placeholder 12">
            <a:extLst>
              <a:ext uri="{FF2B5EF4-FFF2-40B4-BE49-F238E27FC236}">
                <a16:creationId xmlns:a16="http://schemas.microsoft.com/office/drawing/2014/main" id="{5D98A119-8A13-B65C-1498-57CF1EC991C8}"/>
              </a:ext>
            </a:extLst>
          </p:cNvPr>
          <p:cNvSpPr>
            <a:spLocks noGrp="1"/>
          </p:cNvSpPr>
          <p:nvPr>
            <p:ph type="body" sz="quarter" idx="47"/>
          </p:nvPr>
        </p:nvSpPr>
        <p:spPr>
          <a:xfrm>
            <a:off x="550862" y="3968750"/>
            <a:ext cx="3204363" cy="1436074"/>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a:p>
            <a:pPr lvl="2"/>
            <a:r>
              <a:rPr lang="en-US"/>
              <a:t>Third level</a:t>
            </a:r>
          </a:p>
        </p:txBody>
      </p:sp>
      <p:sp>
        <p:nvSpPr>
          <p:cNvPr id="20" name="Text Placeholder 12">
            <a:extLst>
              <a:ext uri="{FF2B5EF4-FFF2-40B4-BE49-F238E27FC236}">
                <a16:creationId xmlns:a16="http://schemas.microsoft.com/office/drawing/2014/main" id="{5003C5AF-64CA-1643-631B-7D24C7BF07D9}"/>
              </a:ext>
            </a:extLst>
          </p:cNvPr>
          <p:cNvSpPr>
            <a:spLocks noGrp="1"/>
          </p:cNvSpPr>
          <p:nvPr>
            <p:ph type="body" sz="quarter" idx="62" hasCustomPrompt="1"/>
          </p:nvPr>
        </p:nvSpPr>
        <p:spPr>
          <a:xfrm>
            <a:off x="550861" y="5885634"/>
            <a:ext cx="3600451"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surname@clarivate.com</a:t>
            </a:r>
          </a:p>
        </p:txBody>
      </p:sp>
      <p:sp>
        <p:nvSpPr>
          <p:cNvPr id="17" name="Text Placeholder 12">
            <a:extLst>
              <a:ext uri="{FF2B5EF4-FFF2-40B4-BE49-F238E27FC236}">
                <a16:creationId xmlns:a16="http://schemas.microsoft.com/office/drawing/2014/main" id="{00B51C69-D2CE-7E0C-9B76-FC92D77E47C8}"/>
              </a:ext>
            </a:extLst>
          </p:cNvPr>
          <p:cNvSpPr>
            <a:spLocks noGrp="1"/>
          </p:cNvSpPr>
          <p:nvPr>
            <p:ph type="body" sz="quarter" idx="14"/>
          </p:nvPr>
        </p:nvSpPr>
        <p:spPr>
          <a:xfrm>
            <a:off x="4674763" y="1808163"/>
            <a:ext cx="6966375" cy="4321175"/>
          </a:xfrm>
        </p:spPr>
        <p:txBody>
          <a:body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pic>
        <p:nvPicPr>
          <p:cNvPr id="7" name="Graphic 6">
            <a:extLst>
              <a:ext uri="{FF2B5EF4-FFF2-40B4-BE49-F238E27FC236}">
                <a16:creationId xmlns:a16="http://schemas.microsoft.com/office/drawing/2014/main" id="{A309F755-BDFE-AB87-7D82-E37F1564F407}"/>
              </a:ext>
            </a:extLst>
          </p:cNvPr>
          <p:cNvPicPr>
            <a:picLocks noChangeAspect="1"/>
          </p:cNvPicPr>
          <p:nvPr userDrawn="1"/>
        </p:nvPicPr>
        <p:blipFill>
          <a:blip r:embed="rId2">
            <a:extLst>
              <a:ext uri="{96DAC541-7B7A-43D3-8B79-37D633B846F1}">
                <asvg:svgBlip xmlns:asvg="http://schemas.microsoft.com/office/drawing/2016/SVG/main" r:embed="rId3"/>
              </a:ext>
            </a:extLst>
          </a:blip>
          <a:srcRect l="9263" t="23870" r="9262" b="23680"/>
          <a:stretch/>
        </p:blipFill>
        <p:spPr>
          <a:xfrm>
            <a:off x="550863" y="6329363"/>
            <a:ext cx="1296000" cy="254793"/>
          </a:xfrm>
          <a:prstGeom prst="rect">
            <a:avLst/>
          </a:prstGeom>
        </p:spPr>
      </p:pic>
    </p:spTree>
    <p:extLst>
      <p:ext uri="{BB962C8B-B14F-4D97-AF65-F5344CB8AC3E}">
        <p14:creationId xmlns:p14="http://schemas.microsoft.com/office/powerpoint/2010/main" val="221979779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4 Teams Profi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251885"/>
          </a:xfrm>
        </p:spPr>
        <p:txBody>
          <a:bodyPr/>
          <a:lstStyle>
            <a:lvl1pPr>
              <a:defRPr/>
            </a:lvl1pPr>
          </a:lstStyle>
          <a:p>
            <a:r>
              <a:rPr lang="en-US"/>
              <a:t>Header avenir demi</a:t>
            </a:r>
            <a:endParaRPr lang="en-GB"/>
          </a:p>
        </p:txBody>
      </p:sp>
      <p:sp>
        <p:nvSpPr>
          <p:cNvPr id="19" name="Text Placeholder 12">
            <a:extLst>
              <a:ext uri="{FF2B5EF4-FFF2-40B4-BE49-F238E27FC236}">
                <a16:creationId xmlns:a16="http://schemas.microsoft.com/office/drawing/2014/main" id="{026CE2A2-F93E-B1AA-3611-400C0319FE19}"/>
              </a:ext>
            </a:extLst>
          </p:cNvPr>
          <p:cNvSpPr>
            <a:spLocks noGrp="1"/>
          </p:cNvSpPr>
          <p:nvPr>
            <p:ph type="body" sz="quarter" idx="48" hasCustomPrompt="1"/>
          </p:nvPr>
        </p:nvSpPr>
        <p:spPr>
          <a:xfrm>
            <a:off x="550862" y="3215665"/>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37" name="Text Placeholder 12">
            <a:extLst>
              <a:ext uri="{FF2B5EF4-FFF2-40B4-BE49-F238E27FC236}">
                <a16:creationId xmlns:a16="http://schemas.microsoft.com/office/drawing/2014/main" id="{465DB172-EA52-68C6-51D1-D92A6077E7ED}"/>
              </a:ext>
            </a:extLst>
          </p:cNvPr>
          <p:cNvSpPr>
            <a:spLocks noGrp="1"/>
          </p:cNvSpPr>
          <p:nvPr>
            <p:ph type="body" sz="quarter" idx="61" hasCustomPrompt="1"/>
          </p:nvPr>
        </p:nvSpPr>
        <p:spPr>
          <a:xfrm>
            <a:off x="550862" y="3546636"/>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18" name="Text Placeholder 12">
            <a:extLst>
              <a:ext uri="{FF2B5EF4-FFF2-40B4-BE49-F238E27FC236}">
                <a16:creationId xmlns:a16="http://schemas.microsoft.com/office/drawing/2014/main" id="{5D98A119-8A13-B65C-1498-57CF1EC991C8}"/>
              </a:ext>
            </a:extLst>
          </p:cNvPr>
          <p:cNvSpPr>
            <a:spLocks noGrp="1"/>
          </p:cNvSpPr>
          <p:nvPr>
            <p:ph type="body" sz="quarter" idx="47"/>
          </p:nvPr>
        </p:nvSpPr>
        <p:spPr>
          <a:xfrm>
            <a:off x="550863" y="3968750"/>
            <a:ext cx="2268000" cy="1436074"/>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a:p>
            <a:pPr lvl="2"/>
            <a:r>
              <a:rPr lang="en-US"/>
              <a:t>Third level</a:t>
            </a:r>
          </a:p>
        </p:txBody>
      </p:sp>
      <p:sp>
        <p:nvSpPr>
          <p:cNvPr id="28" name="Text Placeholder 12">
            <a:extLst>
              <a:ext uri="{FF2B5EF4-FFF2-40B4-BE49-F238E27FC236}">
                <a16:creationId xmlns:a16="http://schemas.microsoft.com/office/drawing/2014/main" id="{BFE8DAEC-7AD2-5CC1-3FE9-5DCB967ECE53}"/>
              </a:ext>
            </a:extLst>
          </p:cNvPr>
          <p:cNvSpPr>
            <a:spLocks noGrp="1"/>
          </p:cNvSpPr>
          <p:nvPr>
            <p:ph type="body" sz="quarter" idx="50" hasCustomPrompt="1"/>
          </p:nvPr>
        </p:nvSpPr>
        <p:spPr>
          <a:xfrm>
            <a:off x="3359150" y="3215665"/>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8" name="Text Placeholder 12">
            <a:extLst>
              <a:ext uri="{FF2B5EF4-FFF2-40B4-BE49-F238E27FC236}">
                <a16:creationId xmlns:a16="http://schemas.microsoft.com/office/drawing/2014/main" id="{FB360039-77C5-A5D7-4360-BC7847A82BB0}"/>
              </a:ext>
            </a:extLst>
          </p:cNvPr>
          <p:cNvSpPr>
            <a:spLocks noGrp="1"/>
          </p:cNvSpPr>
          <p:nvPr>
            <p:ph type="body" sz="quarter" idx="62" hasCustomPrompt="1"/>
          </p:nvPr>
        </p:nvSpPr>
        <p:spPr>
          <a:xfrm>
            <a:off x="3359150" y="3546636"/>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41" name="Text Placeholder 12">
            <a:extLst>
              <a:ext uri="{FF2B5EF4-FFF2-40B4-BE49-F238E27FC236}">
                <a16:creationId xmlns:a16="http://schemas.microsoft.com/office/drawing/2014/main" id="{70F98EAF-C679-0B0F-8CF9-2B6386737BCC}"/>
              </a:ext>
            </a:extLst>
          </p:cNvPr>
          <p:cNvSpPr>
            <a:spLocks noGrp="1"/>
          </p:cNvSpPr>
          <p:nvPr>
            <p:ph type="body" sz="quarter" idx="65"/>
          </p:nvPr>
        </p:nvSpPr>
        <p:spPr>
          <a:xfrm>
            <a:off x="3359150" y="3968750"/>
            <a:ext cx="2268000" cy="1436074"/>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a:p>
            <a:pPr lvl="2"/>
            <a:r>
              <a:rPr lang="en-US"/>
              <a:t>Third level</a:t>
            </a:r>
          </a:p>
        </p:txBody>
      </p:sp>
      <p:sp>
        <p:nvSpPr>
          <p:cNvPr id="11" name="Text Placeholder 12">
            <a:extLst>
              <a:ext uri="{FF2B5EF4-FFF2-40B4-BE49-F238E27FC236}">
                <a16:creationId xmlns:a16="http://schemas.microsoft.com/office/drawing/2014/main" id="{97DA1409-93A0-C554-7ED9-E4C4F2EDDC29}"/>
              </a:ext>
            </a:extLst>
          </p:cNvPr>
          <p:cNvSpPr>
            <a:spLocks noGrp="1"/>
          </p:cNvSpPr>
          <p:nvPr>
            <p:ph type="body" sz="quarter" idx="41" hasCustomPrompt="1"/>
          </p:nvPr>
        </p:nvSpPr>
        <p:spPr>
          <a:xfrm>
            <a:off x="6167437" y="2311763"/>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5" name="Text Placeholder 12">
            <a:extLst>
              <a:ext uri="{FF2B5EF4-FFF2-40B4-BE49-F238E27FC236}">
                <a16:creationId xmlns:a16="http://schemas.microsoft.com/office/drawing/2014/main" id="{3FF6A6E9-42A0-7692-13DB-315CDEBD3F10}"/>
              </a:ext>
            </a:extLst>
          </p:cNvPr>
          <p:cNvSpPr>
            <a:spLocks noGrp="1"/>
          </p:cNvSpPr>
          <p:nvPr>
            <p:ph type="body" sz="quarter" idx="59" hasCustomPrompt="1"/>
          </p:nvPr>
        </p:nvSpPr>
        <p:spPr>
          <a:xfrm>
            <a:off x="6167437" y="2642734"/>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10" name="Text Placeholder 12">
            <a:extLst>
              <a:ext uri="{FF2B5EF4-FFF2-40B4-BE49-F238E27FC236}">
                <a16:creationId xmlns:a16="http://schemas.microsoft.com/office/drawing/2014/main" id="{C4150847-1F6F-857E-692F-5C4E2A9E42CE}"/>
              </a:ext>
            </a:extLst>
          </p:cNvPr>
          <p:cNvSpPr>
            <a:spLocks noGrp="1"/>
          </p:cNvSpPr>
          <p:nvPr>
            <p:ph type="body" sz="quarter" idx="40"/>
          </p:nvPr>
        </p:nvSpPr>
        <p:spPr>
          <a:xfrm>
            <a:off x="6167437"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31" name="Text Placeholder 12">
            <a:extLst>
              <a:ext uri="{FF2B5EF4-FFF2-40B4-BE49-F238E27FC236}">
                <a16:creationId xmlns:a16="http://schemas.microsoft.com/office/drawing/2014/main" id="{0391096C-37E5-CDDB-7C98-44F987E40A99}"/>
              </a:ext>
            </a:extLst>
          </p:cNvPr>
          <p:cNvSpPr>
            <a:spLocks noGrp="1"/>
          </p:cNvSpPr>
          <p:nvPr>
            <p:ph type="body" sz="quarter" idx="53" hasCustomPrompt="1"/>
          </p:nvPr>
        </p:nvSpPr>
        <p:spPr>
          <a:xfrm>
            <a:off x="6167437" y="4832349"/>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9" name="Text Placeholder 12">
            <a:extLst>
              <a:ext uri="{FF2B5EF4-FFF2-40B4-BE49-F238E27FC236}">
                <a16:creationId xmlns:a16="http://schemas.microsoft.com/office/drawing/2014/main" id="{3D6EC732-A113-2052-5F3D-C31549DD1CE1}"/>
              </a:ext>
            </a:extLst>
          </p:cNvPr>
          <p:cNvSpPr>
            <a:spLocks noGrp="1"/>
          </p:cNvSpPr>
          <p:nvPr>
            <p:ph type="body" sz="quarter" idx="63" hasCustomPrompt="1"/>
          </p:nvPr>
        </p:nvSpPr>
        <p:spPr>
          <a:xfrm>
            <a:off x="6167437" y="5163320"/>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30" name="Text Placeholder 12">
            <a:extLst>
              <a:ext uri="{FF2B5EF4-FFF2-40B4-BE49-F238E27FC236}">
                <a16:creationId xmlns:a16="http://schemas.microsoft.com/office/drawing/2014/main" id="{EC073910-0BCB-B148-CD87-2DBDC042DB9A}"/>
              </a:ext>
            </a:extLst>
          </p:cNvPr>
          <p:cNvSpPr>
            <a:spLocks noGrp="1"/>
          </p:cNvSpPr>
          <p:nvPr>
            <p:ph type="body" sz="quarter" idx="52"/>
          </p:nvPr>
        </p:nvSpPr>
        <p:spPr>
          <a:xfrm>
            <a:off x="6167437"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3EF370F-6715-1A9E-C31B-5779E12E9D9F}"/>
              </a:ext>
            </a:extLst>
          </p:cNvPr>
          <p:cNvSpPr>
            <a:spLocks noGrp="1"/>
          </p:cNvSpPr>
          <p:nvPr>
            <p:ph type="body" sz="quarter" idx="45" hasCustomPrompt="1"/>
          </p:nvPr>
        </p:nvSpPr>
        <p:spPr>
          <a:xfrm>
            <a:off x="8981446" y="2311763"/>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6" name="Text Placeholder 12">
            <a:extLst>
              <a:ext uri="{FF2B5EF4-FFF2-40B4-BE49-F238E27FC236}">
                <a16:creationId xmlns:a16="http://schemas.microsoft.com/office/drawing/2014/main" id="{897F3CE4-6AD8-DC5D-E112-48390B92FD4D}"/>
              </a:ext>
            </a:extLst>
          </p:cNvPr>
          <p:cNvSpPr>
            <a:spLocks noGrp="1"/>
          </p:cNvSpPr>
          <p:nvPr>
            <p:ph type="body" sz="quarter" idx="60" hasCustomPrompt="1"/>
          </p:nvPr>
        </p:nvSpPr>
        <p:spPr>
          <a:xfrm>
            <a:off x="8981446" y="2642734"/>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14" name="Text Placeholder 12">
            <a:extLst>
              <a:ext uri="{FF2B5EF4-FFF2-40B4-BE49-F238E27FC236}">
                <a16:creationId xmlns:a16="http://schemas.microsoft.com/office/drawing/2014/main" id="{96D08A06-8C27-0CD8-A99D-675CBC220935}"/>
              </a:ext>
            </a:extLst>
          </p:cNvPr>
          <p:cNvSpPr>
            <a:spLocks noGrp="1"/>
          </p:cNvSpPr>
          <p:nvPr>
            <p:ph type="body" sz="quarter" idx="44"/>
          </p:nvPr>
        </p:nvSpPr>
        <p:spPr>
          <a:xfrm>
            <a:off x="8981446"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34" name="Text Placeholder 12">
            <a:extLst>
              <a:ext uri="{FF2B5EF4-FFF2-40B4-BE49-F238E27FC236}">
                <a16:creationId xmlns:a16="http://schemas.microsoft.com/office/drawing/2014/main" id="{8FE81E16-B801-AA2F-8DCD-8F5AA1B99902}"/>
              </a:ext>
            </a:extLst>
          </p:cNvPr>
          <p:cNvSpPr>
            <a:spLocks noGrp="1"/>
          </p:cNvSpPr>
          <p:nvPr>
            <p:ph type="body" sz="quarter" idx="56" hasCustomPrompt="1"/>
          </p:nvPr>
        </p:nvSpPr>
        <p:spPr>
          <a:xfrm>
            <a:off x="8981446" y="4832349"/>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40" name="Text Placeholder 12">
            <a:extLst>
              <a:ext uri="{FF2B5EF4-FFF2-40B4-BE49-F238E27FC236}">
                <a16:creationId xmlns:a16="http://schemas.microsoft.com/office/drawing/2014/main" id="{88CC3C61-40E8-CFD0-A1E0-F7B743AC005B}"/>
              </a:ext>
            </a:extLst>
          </p:cNvPr>
          <p:cNvSpPr>
            <a:spLocks noGrp="1"/>
          </p:cNvSpPr>
          <p:nvPr>
            <p:ph type="body" sz="quarter" idx="64" hasCustomPrompt="1"/>
          </p:nvPr>
        </p:nvSpPr>
        <p:spPr>
          <a:xfrm>
            <a:off x="8981446" y="5163320"/>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33" name="Text Placeholder 12">
            <a:extLst>
              <a:ext uri="{FF2B5EF4-FFF2-40B4-BE49-F238E27FC236}">
                <a16:creationId xmlns:a16="http://schemas.microsoft.com/office/drawing/2014/main" id="{85D065AE-0699-C9BB-D780-27C3BE3A2A95}"/>
              </a:ext>
            </a:extLst>
          </p:cNvPr>
          <p:cNvSpPr>
            <a:spLocks noGrp="1"/>
          </p:cNvSpPr>
          <p:nvPr>
            <p:ph type="body" sz="quarter" idx="55"/>
          </p:nvPr>
        </p:nvSpPr>
        <p:spPr>
          <a:xfrm>
            <a:off x="8981446"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7" name="Picture Placeholder 15">
            <a:extLst>
              <a:ext uri="{FF2B5EF4-FFF2-40B4-BE49-F238E27FC236}">
                <a16:creationId xmlns:a16="http://schemas.microsoft.com/office/drawing/2014/main" id="{8575BBD5-17C3-1DCA-C387-5D44672EB054}"/>
              </a:ext>
              <a:ext uri="{C183D7F6-B498-43B3-948B-1728B52AA6E4}">
                <adec:decorative xmlns:adec="http://schemas.microsoft.com/office/drawing/2017/decorative" val="1"/>
              </a:ext>
            </a:extLst>
          </p:cNvPr>
          <p:cNvSpPr>
            <a:spLocks noGrp="1"/>
          </p:cNvSpPr>
          <p:nvPr>
            <p:ph type="pic" sz="quarter" idx="39" hasCustomPrompt="1"/>
          </p:nvPr>
        </p:nvSpPr>
        <p:spPr>
          <a:xfrm>
            <a:off x="6167437" y="1270001"/>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13" name="Picture Placeholder 15">
            <a:extLst>
              <a:ext uri="{FF2B5EF4-FFF2-40B4-BE49-F238E27FC236}">
                <a16:creationId xmlns:a16="http://schemas.microsoft.com/office/drawing/2014/main" id="{7746417C-B9E9-48F3-42E0-5744312D74A8}"/>
              </a:ext>
              <a:ext uri="{C183D7F6-B498-43B3-948B-1728B52AA6E4}">
                <adec:decorative xmlns:adec="http://schemas.microsoft.com/office/drawing/2017/decorative" val="1"/>
              </a:ext>
            </a:extLst>
          </p:cNvPr>
          <p:cNvSpPr>
            <a:spLocks noGrp="1"/>
          </p:cNvSpPr>
          <p:nvPr>
            <p:ph type="pic" sz="quarter" idx="42" hasCustomPrompt="1"/>
          </p:nvPr>
        </p:nvSpPr>
        <p:spPr>
          <a:xfrm>
            <a:off x="8981446" y="1270001"/>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16" name="Picture Placeholder 15">
            <a:extLst>
              <a:ext uri="{FF2B5EF4-FFF2-40B4-BE49-F238E27FC236}">
                <a16:creationId xmlns:a16="http://schemas.microsoft.com/office/drawing/2014/main" id="{DA05801B-112D-E8CC-61BD-A4834B349AA6}"/>
              </a:ext>
              <a:ext uri="{C183D7F6-B498-43B3-948B-1728B52AA6E4}">
                <adec:decorative xmlns:adec="http://schemas.microsoft.com/office/drawing/2017/decorative" val="1"/>
              </a:ext>
            </a:extLst>
          </p:cNvPr>
          <p:cNvSpPr>
            <a:spLocks noGrp="1"/>
          </p:cNvSpPr>
          <p:nvPr>
            <p:ph type="pic" sz="quarter" idx="46" hasCustomPrompt="1"/>
          </p:nvPr>
        </p:nvSpPr>
        <p:spPr>
          <a:xfrm>
            <a:off x="551231" y="1639334"/>
            <a:ext cx="1404000" cy="1404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27" name="Picture Placeholder 15">
            <a:extLst>
              <a:ext uri="{FF2B5EF4-FFF2-40B4-BE49-F238E27FC236}">
                <a16:creationId xmlns:a16="http://schemas.microsoft.com/office/drawing/2014/main" id="{C124DB5D-11D5-E18C-B3C8-AF86AD1E4C51}"/>
              </a:ext>
              <a:ext uri="{C183D7F6-B498-43B3-948B-1728B52AA6E4}">
                <adec:decorative xmlns:adec="http://schemas.microsoft.com/office/drawing/2017/decorative" val="1"/>
              </a:ext>
            </a:extLst>
          </p:cNvPr>
          <p:cNvSpPr>
            <a:spLocks noGrp="1"/>
          </p:cNvSpPr>
          <p:nvPr>
            <p:ph type="pic" sz="quarter" idx="49" hasCustomPrompt="1"/>
          </p:nvPr>
        </p:nvSpPr>
        <p:spPr>
          <a:xfrm>
            <a:off x="3359519" y="1639334"/>
            <a:ext cx="1404000" cy="1404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29" name="Picture Placeholder 15">
            <a:extLst>
              <a:ext uri="{FF2B5EF4-FFF2-40B4-BE49-F238E27FC236}">
                <a16:creationId xmlns:a16="http://schemas.microsoft.com/office/drawing/2014/main" id="{71F103AF-A0DA-F7D1-DABC-38F8B9946D24}"/>
              </a:ext>
              <a:ext uri="{C183D7F6-B498-43B3-948B-1728B52AA6E4}">
                <adec:decorative xmlns:adec="http://schemas.microsoft.com/office/drawing/2017/decorative" val="1"/>
              </a:ext>
            </a:extLst>
          </p:cNvPr>
          <p:cNvSpPr>
            <a:spLocks noGrp="1"/>
          </p:cNvSpPr>
          <p:nvPr>
            <p:ph type="pic" sz="quarter" idx="51" hasCustomPrompt="1"/>
          </p:nvPr>
        </p:nvSpPr>
        <p:spPr>
          <a:xfrm>
            <a:off x="6167437" y="3790587"/>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32" name="Picture Placeholder 15">
            <a:extLst>
              <a:ext uri="{FF2B5EF4-FFF2-40B4-BE49-F238E27FC236}">
                <a16:creationId xmlns:a16="http://schemas.microsoft.com/office/drawing/2014/main" id="{50DC4E27-BAC2-8A31-B3AA-FF1575614782}"/>
              </a:ext>
              <a:ext uri="{C183D7F6-B498-43B3-948B-1728B52AA6E4}">
                <adec:decorative xmlns:adec="http://schemas.microsoft.com/office/drawing/2017/decorative" val="1"/>
              </a:ext>
            </a:extLst>
          </p:cNvPr>
          <p:cNvSpPr>
            <a:spLocks noGrp="1"/>
          </p:cNvSpPr>
          <p:nvPr>
            <p:ph type="pic" sz="quarter" idx="54" hasCustomPrompt="1"/>
          </p:nvPr>
        </p:nvSpPr>
        <p:spPr>
          <a:xfrm>
            <a:off x="8981446" y="3790587"/>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spTree>
    <p:extLst>
      <p:ext uri="{BB962C8B-B14F-4D97-AF65-F5344CB8AC3E}">
        <p14:creationId xmlns:p14="http://schemas.microsoft.com/office/powerpoint/2010/main" val="156044902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6x Icon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5" y="368828"/>
            <a:ext cx="10693822"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5" y="752052"/>
            <a:ext cx="10693822"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3" y="2716212"/>
            <a:ext cx="3204000" cy="1079500"/>
          </a:xfrm>
        </p:spPr>
        <p:txBody>
          <a:bodyPr/>
          <a:lstStyle/>
          <a:p>
            <a:pPr lvl="0"/>
            <a:r>
              <a:rPr lang="en-US"/>
              <a:t>Click to edit Master text styles</a:t>
            </a:r>
          </a:p>
          <a:p>
            <a:pPr lvl="1"/>
            <a:r>
              <a:rPr lang="en-US"/>
              <a:t>Second level</a:t>
            </a:r>
          </a:p>
          <a:p>
            <a:pPr lvl="2"/>
            <a:r>
              <a:rPr lang="en-US"/>
              <a:t>Third level</a:t>
            </a:r>
          </a:p>
        </p:txBody>
      </p:sp>
      <p:sp>
        <p:nvSpPr>
          <p:cNvPr id="6" name="Text Placeholder 12">
            <a:extLst>
              <a:ext uri="{FF2B5EF4-FFF2-40B4-BE49-F238E27FC236}">
                <a16:creationId xmlns:a16="http://schemas.microsoft.com/office/drawing/2014/main" id="{41114B1E-A563-1101-CB97-0755E7E651D0}"/>
              </a:ext>
            </a:extLst>
          </p:cNvPr>
          <p:cNvSpPr>
            <a:spLocks noGrp="1"/>
          </p:cNvSpPr>
          <p:nvPr>
            <p:ph type="body" sz="quarter" idx="15"/>
          </p:nvPr>
        </p:nvSpPr>
        <p:spPr>
          <a:xfrm>
            <a:off x="4295776" y="2716213"/>
            <a:ext cx="3204000" cy="1079500"/>
          </a:xfrm>
        </p:spPr>
        <p:txBody>
          <a:bodyPr/>
          <a:lstStyle/>
          <a:p>
            <a:pPr lvl="0"/>
            <a:r>
              <a:rPr lang="en-US"/>
              <a:t>Click to edit Master text styles</a:t>
            </a:r>
          </a:p>
          <a:p>
            <a:pPr lvl="1"/>
            <a:r>
              <a:rPr lang="en-US"/>
              <a:t>Second level</a:t>
            </a:r>
          </a:p>
          <a:p>
            <a:pPr lvl="2"/>
            <a:r>
              <a:rPr lang="en-US"/>
              <a:t>Third level</a:t>
            </a:r>
            <a:endParaRPr lang="en-GB"/>
          </a:p>
        </p:txBody>
      </p:sp>
      <p:sp>
        <p:nvSpPr>
          <p:cNvPr id="7" name="Text Placeholder 12">
            <a:extLst>
              <a:ext uri="{FF2B5EF4-FFF2-40B4-BE49-F238E27FC236}">
                <a16:creationId xmlns:a16="http://schemas.microsoft.com/office/drawing/2014/main" id="{399FA75D-803B-3E4B-7183-E3994966E24B}"/>
              </a:ext>
            </a:extLst>
          </p:cNvPr>
          <p:cNvSpPr>
            <a:spLocks noGrp="1"/>
          </p:cNvSpPr>
          <p:nvPr>
            <p:ph type="body" sz="quarter" idx="16"/>
          </p:nvPr>
        </p:nvSpPr>
        <p:spPr>
          <a:xfrm>
            <a:off x="8040687" y="2716213"/>
            <a:ext cx="3204000" cy="1079500"/>
          </a:xfrm>
        </p:spPr>
        <p:txBody>
          <a:bodyPr/>
          <a:lstStyle/>
          <a:p>
            <a:pPr lvl="0"/>
            <a:r>
              <a:rPr lang="en-US"/>
              <a:t>Click to edit Master text styles</a:t>
            </a:r>
          </a:p>
          <a:p>
            <a:pPr lvl="1"/>
            <a:r>
              <a:rPr lang="en-US"/>
              <a:t>Second level</a:t>
            </a:r>
          </a:p>
          <a:p>
            <a:pPr lvl="2"/>
            <a:r>
              <a:rPr lang="en-US"/>
              <a:t>Third level</a:t>
            </a:r>
            <a:endParaRPr lang="en-GB"/>
          </a:p>
        </p:txBody>
      </p:sp>
      <p:sp>
        <p:nvSpPr>
          <p:cNvPr id="11" name="Text Placeholder 12">
            <a:extLst>
              <a:ext uri="{FF2B5EF4-FFF2-40B4-BE49-F238E27FC236}">
                <a16:creationId xmlns:a16="http://schemas.microsoft.com/office/drawing/2014/main" id="{956E8744-4447-9B41-C4EF-92000E2207C8}"/>
              </a:ext>
            </a:extLst>
          </p:cNvPr>
          <p:cNvSpPr>
            <a:spLocks noGrp="1"/>
          </p:cNvSpPr>
          <p:nvPr>
            <p:ph type="body" sz="quarter" idx="17"/>
          </p:nvPr>
        </p:nvSpPr>
        <p:spPr>
          <a:xfrm>
            <a:off x="550863" y="4883149"/>
            <a:ext cx="3204000" cy="1079500"/>
          </a:xfrm>
        </p:spPr>
        <p:txBody>
          <a:bodyPr/>
          <a:lstStyle/>
          <a:p>
            <a:pPr lvl="0"/>
            <a:r>
              <a:rPr lang="en-US"/>
              <a:t>Click to edit Master text styles</a:t>
            </a:r>
          </a:p>
          <a:p>
            <a:pPr lvl="1"/>
            <a:r>
              <a:rPr lang="en-US"/>
              <a:t>Second level</a:t>
            </a:r>
          </a:p>
          <a:p>
            <a:pPr lvl="2"/>
            <a:r>
              <a:rPr lang="en-US"/>
              <a:t>Third level</a:t>
            </a:r>
          </a:p>
        </p:txBody>
      </p:sp>
      <p:sp>
        <p:nvSpPr>
          <p:cNvPr id="12" name="Text Placeholder 12">
            <a:extLst>
              <a:ext uri="{FF2B5EF4-FFF2-40B4-BE49-F238E27FC236}">
                <a16:creationId xmlns:a16="http://schemas.microsoft.com/office/drawing/2014/main" id="{92D22F55-B345-13EA-70B9-B62C67DD2FB7}"/>
              </a:ext>
            </a:extLst>
          </p:cNvPr>
          <p:cNvSpPr>
            <a:spLocks noGrp="1"/>
          </p:cNvSpPr>
          <p:nvPr>
            <p:ph type="body" sz="quarter" idx="18"/>
          </p:nvPr>
        </p:nvSpPr>
        <p:spPr>
          <a:xfrm>
            <a:off x="4295776" y="4883150"/>
            <a:ext cx="3204000" cy="1079500"/>
          </a:xfrm>
        </p:spPr>
        <p:txBody>
          <a:bodyPr/>
          <a:lstStyle/>
          <a:p>
            <a:pPr lvl="0"/>
            <a:r>
              <a:rPr lang="en-US"/>
              <a:t>Click to edit Master text styles</a:t>
            </a:r>
          </a:p>
          <a:p>
            <a:pPr lvl="1"/>
            <a:r>
              <a:rPr lang="en-US"/>
              <a:t>Second level</a:t>
            </a:r>
          </a:p>
          <a:p>
            <a:pPr lvl="2"/>
            <a:r>
              <a:rPr lang="en-US"/>
              <a:t>Third level</a:t>
            </a:r>
            <a:endParaRPr lang="en-GB"/>
          </a:p>
        </p:txBody>
      </p:sp>
      <p:sp>
        <p:nvSpPr>
          <p:cNvPr id="14" name="Text Placeholder 12">
            <a:extLst>
              <a:ext uri="{FF2B5EF4-FFF2-40B4-BE49-F238E27FC236}">
                <a16:creationId xmlns:a16="http://schemas.microsoft.com/office/drawing/2014/main" id="{0876B04D-418A-408D-4B86-1F152EA3B9AC}"/>
              </a:ext>
            </a:extLst>
          </p:cNvPr>
          <p:cNvSpPr>
            <a:spLocks noGrp="1"/>
          </p:cNvSpPr>
          <p:nvPr>
            <p:ph type="body" sz="quarter" idx="19"/>
          </p:nvPr>
        </p:nvSpPr>
        <p:spPr>
          <a:xfrm>
            <a:off x="8040687" y="4883150"/>
            <a:ext cx="3204000" cy="1079500"/>
          </a:xfrm>
        </p:spPr>
        <p:txBody>
          <a:bodyPr/>
          <a:lstStyle/>
          <a:p>
            <a:pPr lvl="0"/>
            <a:r>
              <a:rPr lang="en-US"/>
              <a:t>Click to edit Master text styles</a:t>
            </a:r>
          </a:p>
          <a:p>
            <a:pPr lvl="1"/>
            <a:r>
              <a:rPr lang="en-US"/>
              <a:t>Second level</a:t>
            </a:r>
          </a:p>
          <a:p>
            <a:pPr lvl="2"/>
            <a:r>
              <a:rPr lang="en-US"/>
              <a:t>Third level</a:t>
            </a:r>
            <a:endParaRPr lang="en-GB"/>
          </a:p>
        </p:txBody>
      </p:sp>
      <p:sp>
        <p:nvSpPr>
          <p:cNvPr id="16" name="Picture Placeholder 15">
            <a:extLst>
              <a:ext uri="{FF2B5EF4-FFF2-40B4-BE49-F238E27FC236}">
                <a16:creationId xmlns:a16="http://schemas.microsoft.com/office/drawing/2014/main" id="{5EA0C833-46C2-988C-0074-D6A83249C216}"/>
              </a:ext>
            </a:extLst>
          </p:cNvPr>
          <p:cNvSpPr>
            <a:spLocks noGrp="1"/>
          </p:cNvSpPr>
          <p:nvPr>
            <p:ph type="pic" sz="quarter" idx="20" hasCustomPrompt="1"/>
          </p:nvPr>
        </p:nvSpPr>
        <p:spPr>
          <a:xfrm>
            <a:off x="550863" y="1815305"/>
            <a:ext cx="360362" cy="360362"/>
          </a:xfrm>
          <a:noFill/>
        </p:spPr>
        <p:txBody>
          <a:bodyPr anchor="ctr" anchorCtr="0"/>
          <a:lstStyle>
            <a:lvl1pPr marL="0" indent="0" algn="ctr">
              <a:buNone/>
              <a:defRPr sz="1000">
                <a:solidFill>
                  <a:schemeClr val="accent2"/>
                </a:solidFill>
                <a:latin typeface="+mn-lt"/>
              </a:defRPr>
            </a:lvl1pPr>
          </a:lstStyle>
          <a:p>
            <a:pPr lvl="0"/>
            <a:r>
              <a:rPr lang="en-GB"/>
              <a:t>icon</a:t>
            </a:r>
          </a:p>
        </p:txBody>
      </p:sp>
      <p:sp>
        <p:nvSpPr>
          <p:cNvPr id="17" name="Picture Placeholder 15">
            <a:extLst>
              <a:ext uri="{FF2B5EF4-FFF2-40B4-BE49-F238E27FC236}">
                <a16:creationId xmlns:a16="http://schemas.microsoft.com/office/drawing/2014/main" id="{CD8935F0-FF95-E453-E9F6-68893F7A504D}"/>
              </a:ext>
            </a:extLst>
          </p:cNvPr>
          <p:cNvSpPr>
            <a:spLocks noGrp="1"/>
          </p:cNvSpPr>
          <p:nvPr>
            <p:ph type="pic" sz="quarter" idx="21" hasCustomPrompt="1"/>
          </p:nvPr>
        </p:nvSpPr>
        <p:spPr>
          <a:xfrm>
            <a:off x="4295776" y="1815305"/>
            <a:ext cx="360362" cy="360362"/>
          </a:xfrm>
          <a:noFill/>
        </p:spPr>
        <p:txBody>
          <a:bodyPr anchor="ctr" anchorCtr="0"/>
          <a:lstStyle>
            <a:lvl1pPr marL="0" indent="0" algn="ctr">
              <a:buNone/>
              <a:defRPr sz="1000">
                <a:solidFill>
                  <a:schemeClr val="accent2"/>
                </a:solidFill>
                <a:latin typeface="+mn-lt"/>
              </a:defRPr>
            </a:lvl1pPr>
          </a:lstStyle>
          <a:p>
            <a:pPr lvl="0"/>
            <a:r>
              <a:rPr lang="en-GB"/>
              <a:t>icon</a:t>
            </a:r>
          </a:p>
        </p:txBody>
      </p:sp>
      <p:sp>
        <p:nvSpPr>
          <p:cNvPr id="18" name="Picture Placeholder 15">
            <a:extLst>
              <a:ext uri="{FF2B5EF4-FFF2-40B4-BE49-F238E27FC236}">
                <a16:creationId xmlns:a16="http://schemas.microsoft.com/office/drawing/2014/main" id="{222353BC-D3DC-BA3E-0558-E3C87FF2BDCC}"/>
              </a:ext>
            </a:extLst>
          </p:cNvPr>
          <p:cNvSpPr>
            <a:spLocks noGrp="1"/>
          </p:cNvSpPr>
          <p:nvPr>
            <p:ph type="pic" sz="quarter" idx="22" hasCustomPrompt="1"/>
          </p:nvPr>
        </p:nvSpPr>
        <p:spPr>
          <a:xfrm>
            <a:off x="8040687" y="1815305"/>
            <a:ext cx="360362" cy="360362"/>
          </a:xfrm>
          <a:noFill/>
        </p:spPr>
        <p:txBody>
          <a:bodyPr anchor="ctr" anchorCtr="0"/>
          <a:lstStyle>
            <a:lvl1pPr marL="0" indent="0" algn="ctr">
              <a:buNone/>
              <a:defRPr sz="1000">
                <a:solidFill>
                  <a:schemeClr val="accent2"/>
                </a:solidFill>
                <a:latin typeface="+mn-lt"/>
              </a:defRPr>
            </a:lvl1pPr>
          </a:lstStyle>
          <a:p>
            <a:pPr lvl="0"/>
            <a:r>
              <a:rPr lang="en-GB"/>
              <a:t>icon</a:t>
            </a:r>
          </a:p>
        </p:txBody>
      </p:sp>
      <p:sp>
        <p:nvSpPr>
          <p:cNvPr id="19" name="Picture Placeholder 15">
            <a:extLst>
              <a:ext uri="{FF2B5EF4-FFF2-40B4-BE49-F238E27FC236}">
                <a16:creationId xmlns:a16="http://schemas.microsoft.com/office/drawing/2014/main" id="{470F1949-6467-FE3B-E626-1F303399B974}"/>
              </a:ext>
            </a:extLst>
          </p:cNvPr>
          <p:cNvSpPr>
            <a:spLocks noGrp="1"/>
          </p:cNvSpPr>
          <p:nvPr>
            <p:ph type="pic" sz="quarter" idx="23" hasCustomPrompt="1"/>
          </p:nvPr>
        </p:nvSpPr>
        <p:spPr>
          <a:xfrm>
            <a:off x="550863" y="3975101"/>
            <a:ext cx="360362" cy="360362"/>
          </a:xfrm>
          <a:noFill/>
        </p:spPr>
        <p:txBody>
          <a:bodyPr anchor="ctr" anchorCtr="0"/>
          <a:lstStyle>
            <a:lvl1pPr marL="0" indent="0" algn="ctr">
              <a:buNone/>
              <a:defRPr sz="1000">
                <a:solidFill>
                  <a:schemeClr val="accent2"/>
                </a:solidFill>
                <a:latin typeface="+mn-lt"/>
              </a:defRPr>
            </a:lvl1pPr>
          </a:lstStyle>
          <a:p>
            <a:pPr lvl="0"/>
            <a:r>
              <a:rPr lang="en-GB"/>
              <a:t>icon</a:t>
            </a:r>
          </a:p>
        </p:txBody>
      </p:sp>
      <p:sp>
        <p:nvSpPr>
          <p:cNvPr id="20" name="Picture Placeholder 15">
            <a:extLst>
              <a:ext uri="{FF2B5EF4-FFF2-40B4-BE49-F238E27FC236}">
                <a16:creationId xmlns:a16="http://schemas.microsoft.com/office/drawing/2014/main" id="{ED0BCDCE-72FA-F3E6-C968-84566E1BEF5B}"/>
              </a:ext>
            </a:extLst>
          </p:cNvPr>
          <p:cNvSpPr>
            <a:spLocks noGrp="1"/>
          </p:cNvSpPr>
          <p:nvPr>
            <p:ph type="pic" sz="quarter" idx="24" hasCustomPrompt="1"/>
          </p:nvPr>
        </p:nvSpPr>
        <p:spPr>
          <a:xfrm>
            <a:off x="4295776" y="3975101"/>
            <a:ext cx="360362" cy="360362"/>
          </a:xfrm>
          <a:noFill/>
        </p:spPr>
        <p:txBody>
          <a:bodyPr anchor="ctr" anchorCtr="0"/>
          <a:lstStyle>
            <a:lvl1pPr marL="0" indent="0" algn="ctr">
              <a:buNone/>
              <a:defRPr sz="1000">
                <a:solidFill>
                  <a:schemeClr val="accent2"/>
                </a:solidFill>
                <a:latin typeface="+mn-lt"/>
              </a:defRPr>
            </a:lvl1pPr>
          </a:lstStyle>
          <a:p>
            <a:pPr lvl="0"/>
            <a:r>
              <a:rPr lang="en-GB"/>
              <a:t>icon</a:t>
            </a:r>
          </a:p>
        </p:txBody>
      </p:sp>
      <p:sp>
        <p:nvSpPr>
          <p:cNvPr id="21" name="Picture Placeholder 15">
            <a:extLst>
              <a:ext uri="{FF2B5EF4-FFF2-40B4-BE49-F238E27FC236}">
                <a16:creationId xmlns:a16="http://schemas.microsoft.com/office/drawing/2014/main" id="{95AC45EB-6812-379E-D631-F1DE40638311}"/>
              </a:ext>
            </a:extLst>
          </p:cNvPr>
          <p:cNvSpPr>
            <a:spLocks noGrp="1"/>
          </p:cNvSpPr>
          <p:nvPr>
            <p:ph type="pic" sz="quarter" idx="25" hasCustomPrompt="1"/>
          </p:nvPr>
        </p:nvSpPr>
        <p:spPr>
          <a:xfrm>
            <a:off x="8040687" y="3975101"/>
            <a:ext cx="360362" cy="360362"/>
          </a:xfrm>
          <a:noFill/>
        </p:spPr>
        <p:txBody>
          <a:bodyPr anchor="ctr" anchorCtr="0"/>
          <a:lstStyle>
            <a:lvl1pPr marL="0" indent="0" algn="ctr">
              <a:buNone/>
              <a:defRPr sz="1000">
                <a:solidFill>
                  <a:schemeClr val="accent2"/>
                </a:solidFill>
                <a:latin typeface="+mn-lt"/>
              </a:defRPr>
            </a:lvl1pPr>
          </a:lstStyle>
          <a:p>
            <a:pPr lvl="0"/>
            <a:r>
              <a:rPr lang="en-GB"/>
              <a:t>icon</a:t>
            </a:r>
          </a:p>
        </p:txBody>
      </p:sp>
      <p:sp>
        <p:nvSpPr>
          <p:cNvPr id="5" name="Text Placeholder 12">
            <a:extLst>
              <a:ext uri="{FF2B5EF4-FFF2-40B4-BE49-F238E27FC236}">
                <a16:creationId xmlns:a16="http://schemas.microsoft.com/office/drawing/2014/main" id="{9A6FB466-17DF-825B-8CFE-D36B7DFFAAC9}"/>
              </a:ext>
            </a:extLst>
          </p:cNvPr>
          <p:cNvSpPr>
            <a:spLocks noGrp="1"/>
          </p:cNvSpPr>
          <p:nvPr>
            <p:ph type="body" sz="quarter" idx="41" hasCustomPrompt="1"/>
          </p:nvPr>
        </p:nvSpPr>
        <p:spPr>
          <a:xfrm>
            <a:off x="550864" y="2354265"/>
            <a:ext cx="3204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One</a:t>
            </a:r>
          </a:p>
        </p:txBody>
      </p:sp>
      <p:sp>
        <p:nvSpPr>
          <p:cNvPr id="9" name="Text Placeholder 12">
            <a:extLst>
              <a:ext uri="{FF2B5EF4-FFF2-40B4-BE49-F238E27FC236}">
                <a16:creationId xmlns:a16="http://schemas.microsoft.com/office/drawing/2014/main" id="{EBA31540-DD60-C1FE-84D9-AB3B913DE24E}"/>
              </a:ext>
            </a:extLst>
          </p:cNvPr>
          <p:cNvSpPr>
            <a:spLocks noGrp="1"/>
          </p:cNvSpPr>
          <p:nvPr>
            <p:ph type="body" sz="quarter" idx="45" hasCustomPrompt="1"/>
          </p:nvPr>
        </p:nvSpPr>
        <p:spPr>
          <a:xfrm>
            <a:off x="4301240" y="2354265"/>
            <a:ext cx="3204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wo</a:t>
            </a:r>
          </a:p>
        </p:txBody>
      </p:sp>
      <p:sp>
        <p:nvSpPr>
          <p:cNvPr id="15" name="Text Placeholder 12">
            <a:extLst>
              <a:ext uri="{FF2B5EF4-FFF2-40B4-BE49-F238E27FC236}">
                <a16:creationId xmlns:a16="http://schemas.microsoft.com/office/drawing/2014/main" id="{47A08AD4-EF40-3EEE-D086-FAFE12BF8572}"/>
              </a:ext>
            </a:extLst>
          </p:cNvPr>
          <p:cNvSpPr>
            <a:spLocks noGrp="1"/>
          </p:cNvSpPr>
          <p:nvPr>
            <p:ph type="body" sz="quarter" idx="67" hasCustomPrompt="1"/>
          </p:nvPr>
        </p:nvSpPr>
        <p:spPr>
          <a:xfrm>
            <a:off x="8039099" y="2354265"/>
            <a:ext cx="3204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hree</a:t>
            </a:r>
          </a:p>
        </p:txBody>
      </p:sp>
      <p:sp>
        <p:nvSpPr>
          <p:cNvPr id="22" name="Text Placeholder 12">
            <a:extLst>
              <a:ext uri="{FF2B5EF4-FFF2-40B4-BE49-F238E27FC236}">
                <a16:creationId xmlns:a16="http://schemas.microsoft.com/office/drawing/2014/main" id="{488A00D0-DFE0-4018-7DEA-DB963BB63359}"/>
              </a:ext>
            </a:extLst>
          </p:cNvPr>
          <p:cNvSpPr>
            <a:spLocks noGrp="1"/>
          </p:cNvSpPr>
          <p:nvPr>
            <p:ph type="body" sz="quarter" idx="68" hasCustomPrompt="1"/>
          </p:nvPr>
        </p:nvSpPr>
        <p:spPr>
          <a:xfrm>
            <a:off x="550864" y="4514851"/>
            <a:ext cx="3204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Four</a:t>
            </a:r>
          </a:p>
        </p:txBody>
      </p:sp>
      <p:sp>
        <p:nvSpPr>
          <p:cNvPr id="23" name="Text Placeholder 12">
            <a:extLst>
              <a:ext uri="{FF2B5EF4-FFF2-40B4-BE49-F238E27FC236}">
                <a16:creationId xmlns:a16="http://schemas.microsoft.com/office/drawing/2014/main" id="{35021A18-46DC-3008-76D5-10DA7AF4F84A}"/>
              </a:ext>
            </a:extLst>
          </p:cNvPr>
          <p:cNvSpPr>
            <a:spLocks noGrp="1"/>
          </p:cNvSpPr>
          <p:nvPr>
            <p:ph type="body" sz="quarter" idx="69" hasCustomPrompt="1"/>
          </p:nvPr>
        </p:nvSpPr>
        <p:spPr>
          <a:xfrm>
            <a:off x="4301240" y="4514851"/>
            <a:ext cx="3204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Five</a:t>
            </a:r>
          </a:p>
        </p:txBody>
      </p:sp>
      <p:sp>
        <p:nvSpPr>
          <p:cNvPr id="24" name="Text Placeholder 12">
            <a:extLst>
              <a:ext uri="{FF2B5EF4-FFF2-40B4-BE49-F238E27FC236}">
                <a16:creationId xmlns:a16="http://schemas.microsoft.com/office/drawing/2014/main" id="{69000ADE-09E6-91EC-6A61-155867714C5E}"/>
              </a:ext>
            </a:extLst>
          </p:cNvPr>
          <p:cNvSpPr>
            <a:spLocks noGrp="1"/>
          </p:cNvSpPr>
          <p:nvPr>
            <p:ph type="body" sz="quarter" idx="70" hasCustomPrompt="1"/>
          </p:nvPr>
        </p:nvSpPr>
        <p:spPr>
          <a:xfrm>
            <a:off x="8039099" y="4514851"/>
            <a:ext cx="3204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Six</a:t>
            </a:r>
          </a:p>
        </p:txBody>
      </p:sp>
    </p:spTree>
    <p:extLst>
      <p:ext uri="{BB962C8B-B14F-4D97-AF65-F5344CB8AC3E}">
        <p14:creationId xmlns:p14="http://schemas.microsoft.com/office/powerpoint/2010/main" val="130463919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4x Profi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251885"/>
          </a:xfrm>
        </p:spPr>
        <p:txBody>
          <a:bodyPr/>
          <a:lstStyle>
            <a:lvl1pPr>
              <a:defRPr/>
            </a:lvl1pPr>
          </a:lstStyle>
          <a:p>
            <a:r>
              <a:rPr lang="en-US"/>
              <a:t>Header avenir demi</a:t>
            </a:r>
            <a:endParaRPr lang="en-GB"/>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1" name="Text Placeholder 12">
            <a:extLst>
              <a:ext uri="{FF2B5EF4-FFF2-40B4-BE49-F238E27FC236}">
                <a16:creationId xmlns:a16="http://schemas.microsoft.com/office/drawing/2014/main" id="{97DA1409-93A0-C554-7ED9-E4C4F2EDDC29}"/>
              </a:ext>
            </a:extLst>
          </p:cNvPr>
          <p:cNvSpPr>
            <a:spLocks noGrp="1"/>
          </p:cNvSpPr>
          <p:nvPr>
            <p:ph type="body" sz="quarter" idx="41" hasCustomPrompt="1"/>
          </p:nvPr>
        </p:nvSpPr>
        <p:spPr>
          <a:xfrm>
            <a:off x="550864" y="2311763"/>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5" name="Text Placeholder 12">
            <a:extLst>
              <a:ext uri="{FF2B5EF4-FFF2-40B4-BE49-F238E27FC236}">
                <a16:creationId xmlns:a16="http://schemas.microsoft.com/office/drawing/2014/main" id="{3FF6A6E9-42A0-7692-13DB-315CDEBD3F10}"/>
              </a:ext>
            </a:extLst>
          </p:cNvPr>
          <p:cNvSpPr>
            <a:spLocks noGrp="1"/>
          </p:cNvSpPr>
          <p:nvPr>
            <p:ph type="body" sz="quarter" idx="59" hasCustomPrompt="1"/>
          </p:nvPr>
        </p:nvSpPr>
        <p:spPr>
          <a:xfrm>
            <a:off x="550864" y="2642734"/>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10" name="Text Placeholder 12">
            <a:extLst>
              <a:ext uri="{FF2B5EF4-FFF2-40B4-BE49-F238E27FC236}">
                <a16:creationId xmlns:a16="http://schemas.microsoft.com/office/drawing/2014/main" id="{C4150847-1F6F-857E-692F-5C4E2A9E42CE}"/>
              </a:ext>
            </a:extLst>
          </p:cNvPr>
          <p:cNvSpPr>
            <a:spLocks noGrp="1"/>
          </p:cNvSpPr>
          <p:nvPr>
            <p:ph type="body" sz="quarter" idx="40"/>
          </p:nvPr>
        </p:nvSpPr>
        <p:spPr>
          <a:xfrm>
            <a:off x="550864"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3EF370F-6715-1A9E-C31B-5779E12E9D9F}"/>
              </a:ext>
            </a:extLst>
          </p:cNvPr>
          <p:cNvSpPr>
            <a:spLocks noGrp="1"/>
          </p:cNvSpPr>
          <p:nvPr>
            <p:ph type="body" sz="quarter" idx="45" hasCustomPrompt="1"/>
          </p:nvPr>
        </p:nvSpPr>
        <p:spPr>
          <a:xfrm>
            <a:off x="3364873" y="2311763"/>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6" name="Text Placeholder 12">
            <a:extLst>
              <a:ext uri="{FF2B5EF4-FFF2-40B4-BE49-F238E27FC236}">
                <a16:creationId xmlns:a16="http://schemas.microsoft.com/office/drawing/2014/main" id="{897F3CE4-6AD8-DC5D-E112-48390B92FD4D}"/>
              </a:ext>
            </a:extLst>
          </p:cNvPr>
          <p:cNvSpPr>
            <a:spLocks noGrp="1"/>
          </p:cNvSpPr>
          <p:nvPr>
            <p:ph type="body" sz="quarter" idx="60" hasCustomPrompt="1"/>
          </p:nvPr>
        </p:nvSpPr>
        <p:spPr>
          <a:xfrm>
            <a:off x="3364873" y="2642734"/>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14" name="Text Placeholder 12">
            <a:extLst>
              <a:ext uri="{FF2B5EF4-FFF2-40B4-BE49-F238E27FC236}">
                <a16:creationId xmlns:a16="http://schemas.microsoft.com/office/drawing/2014/main" id="{96D08A06-8C27-0CD8-A99D-675CBC220935}"/>
              </a:ext>
            </a:extLst>
          </p:cNvPr>
          <p:cNvSpPr>
            <a:spLocks noGrp="1"/>
          </p:cNvSpPr>
          <p:nvPr>
            <p:ph type="body" sz="quarter" idx="44"/>
          </p:nvPr>
        </p:nvSpPr>
        <p:spPr>
          <a:xfrm>
            <a:off x="3364873"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9" name="Text Placeholder 12">
            <a:extLst>
              <a:ext uri="{FF2B5EF4-FFF2-40B4-BE49-F238E27FC236}">
                <a16:creationId xmlns:a16="http://schemas.microsoft.com/office/drawing/2014/main" id="{EEB2D7DD-C214-FC47-587A-A689E46CA317}"/>
              </a:ext>
            </a:extLst>
          </p:cNvPr>
          <p:cNvSpPr>
            <a:spLocks noGrp="1"/>
          </p:cNvSpPr>
          <p:nvPr>
            <p:ph type="body" sz="quarter" idx="67" hasCustomPrompt="1"/>
          </p:nvPr>
        </p:nvSpPr>
        <p:spPr>
          <a:xfrm>
            <a:off x="6167438" y="2311763"/>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42" name="Text Placeholder 12">
            <a:extLst>
              <a:ext uri="{FF2B5EF4-FFF2-40B4-BE49-F238E27FC236}">
                <a16:creationId xmlns:a16="http://schemas.microsoft.com/office/drawing/2014/main" id="{B770DFBB-C159-C249-725B-DC15A247A240}"/>
              </a:ext>
            </a:extLst>
          </p:cNvPr>
          <p:cNvSpPr>
            <a:spLocks noGrp="1"/>
          </p:cNvSpPr>
          <p:nvPr>
            <p:ph type="body" sz="quarter" idx="77" hasCustomPrompt="1"/>
          </p:nvPr>
        </p:nvSpPr>
        <p:spPr>
          <a:xfrm>
            <a:off x="6167438" y="2642734"/>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8" name="Text Placeholder 12">
            <a:extLst>
              <a:ext uri="{FF2B5EF4-FFF2-40B4-BE49-F238E27FC236}">
                <a16:creationId xmlns:a16="http://schemas.microsoft.com/office/drawing/2014/main" id="{EDFB7F73-2CDA-0D25-68DB-68D4065E2EFB}"/>
              </a:ext>
            </a:extLst>
          </p:cNvPr>
          <p:cNvSpPr>
            <a:spLocks noGrp="1"/>
          </p:cNvSpPr>
          <p:nvPr>
            <p:ph type="body" sz="quarter" idx="66"/>
          </p:nvPr>
        </p:nvSpPr>
        <p:spPr>
          <a:xfrm>
            <a:off x="6167438"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626B44F3-03D8-5E28-57CB-031C8BA36E3E}"/>
              </a:ext>
            </a:extLst>
          </p:cNvPr>
          <p:cNvSpPr>
            <a:spLocks noGrp="1"/>
          </p:cNvSpPr>
          <p:nvPr>
            <p:ph type="body" sz="quarter" idx="70" hasCustomPrompt="1"/>
          </p:nvPr>
        </p:nvSpPr>
        <p:spPr>
          <a:xfrm>
            <a:off x="8982703" y="2311763"/>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43" name="Text Placeholder 12">
            <a:extLst>
              <a:ext uri="{FF2B5EF4-FFF2-40B4-BE49-F238E27FC236}">
                <a16:creationId xmlns:a16="http://schemas.microsoft.com/office/drawing/2014/main" id="{10A5C412-5937-A2B1-0F24-356981AA64A4}"/>
              </a:ext>
            </a:extLst>
          </p:cNvPr>
          <p:cNvSpPr>
            <a:spLocks noGrp="1"/>
          </p:cNvSpPr>
          <p:nvPr>
            <p:ph type="body" sz="quarter" idx="78" hasCustomPrompt="1"/>
          </p:nvPr>
        </p:nvSpPr>
        <p:spPr>
          <a:xfrm>
            <a:off x="8982703" y="2642734"/>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17" name="Text Placeholder 12">
            <a:extLst>
              <a:ext uri="{FF2B5EF4-FFF2-40B4-BE49-F238E27FC236}">
                <a16:creationId xmlns:a16="http://schemas.microsoft.com/office/drawing/2014/main" id="{61B398F2-4320-2608-763F-19F2EAD3DF7D}"/>
              </a:ext>
            </a:extLst>
          </p:cNvPr>
          <p:cNvSpPr>
            <a:spLocks noGrp="1"/>
          </p:cNvSpPr>
          <p:nvPr>
            <p:ph type="body" sz="quarter" idx="69"/>
          </p:nvPr>
        </p:nvSpPr>
        <p:spPr>
          <a:xfrm>
            <a:off x="8982703"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31" name="Text Placeholder 12">
            <a:extLst>
              <a:ext uri="{FF2B5EF4-FFF2-40B4-BE49-F238E27FC236}">
                <a16:creationId xmlns:a16="http://schemas.microsoft.com/office/drawing/2014/main" id="{0391096C-37E5-CDDB-7C98-44F987E40A99}"/>
              </a:ext>
            </a:extLst>
          </p:cNvPr>
          <p:cNvSpPr>
            <a:spLocks noGrp="1"/>
          </p:cNvSpPr>
          <p:nvPr>
            <p:ph type="body" sz="quarter" idx="53" hasCustomPrompt="1"/>
          </p:nvPr>
        </p:nvSpPr>
        <p:spPr>
          <a:xfrm>
            <a:off x="550864" y="4832349"/>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9" name="Text Placeholder 12">
            <a:extLst>
              <a:ext uri="{FF2B5EF4-FFF2-40B4-BE49-F238E27FC236}">
                <a16:creationId xmlns:a16="http://schemas.microsoft.com/office/drawing/2014/main" id="{3D6EC732-A113-2052-5F3D-C31549DD1CE1}"/>
              </a:ext>
            </a:extLst>
          </p:cNvPr>
          <p:cNvSpPr>
            <a:spLocks noGrp="1"/>
          </p:cNvSpPr>
          <p:nvPr>
            <p:ph type="body" sz="quarter" idx="63" hasCustomPrompt="1"/>
          </p:nvPr>
        </p:nvSpPr>
        <p:spPr>
          <a:xfrm>
            <a:off x="550864" y="5163320"/>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30" name="Text Placeholder 12">
            <a:extLst>
              <a:ext uri="{FF2B5EF4-FFF2-40B4-BE49-F238E27FC236}">
                <a16:creationId xmlns:a16="http://schemas.microsoft.com/office/drawing/2014/main" id="{EC073910-0BCB-B148-CD87-2DBDC042DB9A}"/>
              </a:ext>
            </a:extLst>
          </p:cNvPr>
          <p:cNvSpPr>
            <a:spLocks noGrp="1"/>
          </p:cNvSpPr>
          <p:nvPr>
            <p:ph type="body" sz="quarter" idx="52"/>
          </p:nvPr>
        </p:nvSpPr>
        <p:spPr>
          <a:xfrm>
            <a:off x="550864"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34" name="Text Placeholder 12">
            <a:extLst>
              <a:ext uri="{FF2B5EF4-FFF2-40B4-BE49-F238E27FC236}">
                <a16:creationId xmlns:a16="http://schemas.microsoft.com/office/drawing/2014/main" id="{8FE81E16-B801-AA2F-8DCD-8F5AA1B99902}"/>
              </a:ext>
            </a:extLst>
          </p:cNvPr>
          <p:cNvSpPr>
            <a:spLocks noGrp="1"/>
          </p:cNvSpPr>
          <p:nvPr>
            <p:ph type="body" sz="quarter" idx="56" hasCustomPrompt="1"/>
          </p:nvPr>
        </p:nvSpPr>
        <p:spPr>
          <a:xfrm>
            <a:off x="3364873" y="4832349"/>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40" name="Text Placeholder 12">
            <a:extLst>
              <a:ext uri="{FF2B5EF4-FFF2-40B4-BE49-F238E27FC236}">
                <a16:creationId xmlns:a16="http://schemas.microsoft.com/office/drawing/2014/main" id="{88CC3C61-40E8-CFD0-A1E0-F7B743AC005B}"/>
              </a:ext>
            </a:extLst>
          </p:cNvPr>
          <p:cNvSpPr>
            <a:spLocks noGrp="1"/>
          </p:cNvSpPr>
          <p:nvPr>
            <p:ph type="body" sz="quarter" idx="64" hasCustomPrompt="1"/>
          </p:nvPr>
        </p:nvSpPr>
        <p:spPr>
          <a:xfrm>
            <a:off x="3364873" y="5163320"/>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33" name="Text Placeholder 12">
            <a:extLst>
              <a:ext uri="{FF2B5EF4-FFF2-40B4-BE49-F238E27FC236}">
                <a16:creationId xmlns:a16="http://schemas.microsoft.com/office/drawing/2014/main" id="{85D065AE-0699-C9BB-D780-27C3BE3A2A95}"/>
              </a:ext>
            </a:extLst>
          </p:cNvPr>
          <p:cNvSpPr>
            <a:spLocks noGrp="1"/>
          </p:cNvSpPr>
          <p:nvPr>
            <p:ph type="body" sz="quarter" idx="55"/>
          </p:nvPr>
        </p:nvSpPr>
        <p:spPr>
          <a:xfrm>
            <a:off x="3364873"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23" name="Text Placeholder 12">
            <a:extLst>
              <a:ext uri="{FF2B5EF4-FFF2-40B4-BE49-F238E27FC236}">
                <a16:creationId xmlns:a16="http://schemas.microsoft.com/office/drawing/2014/main" id="{9AB4C234-EBBC-75A7-2F01-97E082284DFF}"/>
              </a:ext>
            </a:extLst>
          </p:cNvPr>
          <p:cNvSpPr>
            <a:spLocks noGrp="1"/>
          </p:cNvSpPr>
          <p:nvPr>
            <p:ph type="body" sz="quarter" idx="73" hasCustomPrompt="1"/>
          </p:nvPr>
        </p:nvSpPr>
        <p:spPr>
          <a:xfrm>
            <a:off x="6167438" y="4832349"/>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44" name="Text Placeholder 12">
            <a:extLst>
              <a:ext uri="{FF2B5EF4-FFF2-40B4-BE49-F238E27FC236}">
                <a16:creationId xmlns:a16="http://schemas.microsoft.com/office/drawing/2014/main" id="{B47DFAEF-1925-0117-D75F-D223750DD5F5}"/>
              </a:ext>
            </a:extLst>
          </p:cNvPr>
          <p:cNvSpPr>
            <a:spLocks noGrp="1"/>
          </p:cNvSpPr>
          <p:nvPr>
            <p:ph type="body" sz="quarter" idx="79" hasCustomPrompt="1"/>
          </p:nvPr>
        </p:nvSpPr>
        <p:spPr>
          <a:xfrm>
            <a:off x="6167438" y="5163320"/>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22" name="Text Placeholder 12">
            <a:extLst>
              <a:ext uri="{FF2B5EF4-FFF2-40B4-BE49-F238E27FC236}">
                <a16:creationId xmlns:a16="http://schemas.microsoft.com/office/drawing/2014/main" id="{E80292A4-F3B1-05FF-D679-13BCF59C7C94}"/>
              </a:ext>
            </a:extLst>
          </p:cNvPr>
          <p:cNvSpPr>
            <a:spLocks noGrp="1"/>
          </p:cNvSpPr>
          <p:nvPr>
            <p:ph type="body" sz="quarter" idx="72"/>
          </p:nvPr>
        </p:nvSpPr>
        <p:spPr>
          <a:xfrm>
            <a:off x="6167438"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26" name="Text Placeholder 12">
            <a:extLst>
              <a:ext uri="{FF2B5EF4-FFF2-40B4-BE49-F238E27FC236}">
                <a16:creationId xmlns:a16="http://schemas.microsoft.com/office/drawing/2014/main" id="{A7460C6C-C808-196C-F5E0-454921820765}"/>
              </a:ext>
            </a:extLst>
          </p:cNvPr>
          <p:cNvSpPr>
            <a:spLocks noGrp="1"/>
          </p:cNvSpPr>
          <p:nvPr>
            <p:ph type="body" sz="quarter" idx="76" hasCustomPrompt="1"/>
          </p:nvPr>
        </p:nvSpPr>
        <p:spPr>
          <a:xfrm>
            <a:off x="8982703" y="4832349"/>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45" name="Text Placeholder 12">
            <a:extLst>
              <a:ext uri="{FF2B5EF4-FFF2-40B4-BE49-F238E27FC236}">
                <a16:creationId xmlns:a16="http://schemas.microsoft.com/office/drawing/2014/main" id="{89BF951E-99C3-2209-D30F-3BEFE1C9319C}"/>
              </a:ext>
            </a:extLst>
          </p:cNvPr>
          <p:cNvSpPr>
            <a:spLocks noGrp="1"/>
          </p:cNvSpPr>
          <p:nvPr>
            <p:ph type="body" sz="quarter" idx="80" hasCustomPrompt="1"/>
          </p:nvPr>
        </p:nvSpPr>
        <p:spPr>
          <a:xfrm>
            <a:off x="8982703" y="5163320"/>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25" name="Text Placeholder 12">
            <a:extLst>
              <a:ext uri="{FF2B5EF4-FFF2-40B4-BE49-F238E27FC236}">
                <a16:creationId xmlns:a16="http://schemas.microsoft.com/office/drawing/2014/main" id="{28E7888C-B313-A876-D19E-25E7127C1E4E}"/>
              </a:ext>
            </a:extLst>
          </p:cNvPr>
          <p:cNvSpPr>
            <a:spLocks noGrp="1"/>
          </p:cNvSpPr>
          <p:nvPr>
            <p:ph type="body" sz="quarter" idx="75"/>
          </p:nvPr>
        </p:nvSpPr>
        <p:spPr>
          <a:xfrm>
            <a:off x="8982703"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7" name="Picture Placeholder 15">
            <a:extLst>
              <a:ext uri="{FF2B5EF4-FFF2-40B4-BE49-F238E27FC236}">
                <a16:creationId xmlns:a16="http://schemas.microsoft.com/office/drawing/2014/main" id="{8575BBD5-17C3-1DCA-C387-5D44672EB054}"/>
              </a:ext>
              <a:ext uri="{C183D7F6-B498-43B3-948B-1728B52AA6E4}">
                <adec:decorative xmlns:adec="http://schemas.microsoft.com/office/drawing/2017/decorative" val="1"/>
              </a:ext>
            </a:extLst>
          </p:cNvPr>
          <p:cNvSpPr>
            <a:spLocks noGrp="1"/>
          </p:cNvSpPr>
          <p:nvPr>
            <p:ph type="pic" sz="quarter" idx="39" hasCustomPrompt="1"/>
          </p:nvPr>
        </p:nvSpPr>
        <p:spPr>
          <a:xfrm>
            <a:off x="550864" y="1270001"/>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13" name="Picture Placeholder 15">
            <a:extLst>
              <a:ext uri="{FF2B5EF4-FFF2-40B4-BE49-F238E27FC236}">
                <a16:creationId xmlns:a16="http://schemas.microsoft.com/office/drawing/2014/main" id="{7746417C-B9E9-48F3-42E0-5744312D74A8}"/>
              </a:ext>
              <a:ext uri="{C183D7F6-B498-43B3-948B-1728B52AA6E4}">
                <adec:decorative xmlns:adec="http://schemas.microsoft.com/office/drawing/2017/decorative" val="1"/>
              </a:ext>
            </a:extLst>
          </p:cNvPr>
          <p:cNvSpPr>
            <a:spLocks noGrp="1"/>
          </p:cNvSpPr>
          <p:nvPr>
            <p:ph type="pic" sz="quarter" idx="42" hasCustomPrompt="1"/>
          </p:nvPr>
        </p:nvSpPr>
        <p:spPr>
          <a:xfrm>
            <a:off x="3364873" y="1270001"/>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29" name="Picture Placeholder 15">
            <a:extLst>
              <a:ext uri="{FF2B5EF4-FFF2-40B4-BE49-F238E27FC236}">
                <a16:creationId xmlns:a16="http://schemas.microsoft.com/office/drawing/2014/main" id="{71F103AF-A0DA-F7D1-DABC-38F8B9946D24}"/>
              </a:ext>
              <a:ext uri="{C183D7F6-B498-43B3-948B-1728B52AA6E4}">
                <adec:decorative xmlns:adec="http://schemas.microsoft.com/office/drawing/2017/decorative" val="1"/>
              </a:ext>
            </a:extLst>
          </p:cNvPr>
          <p:cNvSpPr>
            <a:spLocks noGrp="1"/>
          </p:cNvSpPr>
          <p:nvPr>
            <p:ph type="pic" sz="quarter" idx="51" hasCustomPrompt="1"/>
          </p:nvPr>
        </p:nvSpPr>
        <p:spPr>
          <a:xfrm>
            <a:off x="550864" y="3790587"/>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32" name="Picture Placeholder 15">
            <a:extLst>
              <a:ext uri="{FF2B5EF4-FFF2-40B4-BE49-F238E27FC236}">
                <a16:creationId xmlns:a16="http://schemas.microsoft.com/office/drawing/2014/main" id="{50DC4E27-BAC2-8A31-B3AA-FF1575614782}"/>
              </a:ext>
              <a:ext uri="{C183D7F6-B498-43B3-948B-1728B52AA6E4}">
                <adec:decorative xmlns:adec="http://schemas.microsoft.com/office/drawing/2017/decorative" val="1"/>
              </a:ext>
            </a:extLst>
          </p:cNvPr>
          <p:cNvSpPr>
            <a:spLocks noGrp="1"/>
          </p:cNvSpPr>
          <p:nvPr>
            <p:ph type="pic" sz="quarter" idx="54" hasCustomPrompt="1"/>
          </p:nvPr>
        </p:nvSpPr>
        <p:spPr>
          <a:xfrm>
            <a:off x="3364873" y="3790587"/>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5" name="Picture Placeholder 15">
            <a:extLst>
              <a:ext uri="{FF2B5EF4-FFF2-40B4-BE49-F238E27FC236}">
                <a16:creationId xmlns:a16="http://schemas.microsoft.com/office/drawing/2014/main" id="{579F519F-FF28-E95A-90FD-8ED476302122}"/>
              </a:ext>
              <a:ext uri="{C183D7F6-B498-43B3-948B-1728B52AA6E4}">
                <adec:decorative xmlns:adec="http://schemas.microsoft.com/office/drawing/2017/decorative" val="1"/>
              </a:ext>
            </a:extLst>
          </p:cNvPr>
          <p:cNvSpPr>
            <a:spLocks noGrp="1"/>
          </p:cNvSpPr>
          <p:nvPr>
            <p:ph type="pic" sz="quarter" idx="65" hasCustomPrompt="1"/>
          </p:nvPr>
        </p:nvSpPr>
        <p:spPr>
          <a:xfrm>
            <a:off x="6167438" y="1270001"/>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12" name="Picture Placeholder 15">
            <a:extLst>
              <a:ext uri="{FF2B5EF4-FFF2-40B4-BE49-F238E27FC236}">
                <a16:creationId xmlns:a16="http://schemas.microsoft.com/office/drawing/2014/main" id="{A16AFFED-3679-EC6F-38E4-BB141B3DC4A0}"/>
              </a:ext>
              <a:ext uri="{C183D7F6-B498-43B3-948B-1728B52AA6E4}">
                <adec:decorative xmlns:adec="http://schemas.microsoft.com/office/drawing/2017/decorative" val="1"/>
              </a:ext>
            </a:extLst>
          </p:cNvPr>
          <p:cNvSpPr>
            <a:spLocks noGrp="1"/>
          </p:cNvSpPr>
          <p:nvPr>
            <p:ph type="pic" sz="quarter" idx="68" hasCustomPrompt="1"/>
          </p:nvPr>
        </p:nvSpPr>
        <p:spPr>
          <a:xfrm>
            <a:off x="8982703" y="1270001"/>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21" name="Picture Placeholder 15">
            <a:extLst>
              <a:ext uri="{FF2B5EF4-FFF2-40B4-BE49-F238E27FC236}">
                <a16:creationId xmlns:a16="http://schemas.microsoft.com/office/drawing/2014/main" id="{40DA321B-E9DB-5413-41F7-007CC6996CC5}"/>
              </a:ext>
              <a:ext uri="{C183D7F6-B498-43B3-948B-1728B52AA6E4}">
                <adec:decorative xmlns:adec="http://schemas.microsoft.com/office/drawing/2017/decorative" val="1"/>
              </a:ext>
            </a:extLst>
          </p:cNvPr>
          <p:cNvSpPr>
            <a:spLocks noGrp="1"/>
          </p:cNvSpPr>
          <p:nvPr>
            <p:ph type="pic" sz="quarter" idx="71" hasCustomPrompt="1"/>
          </p:nvPr>
        </p:nvSpPr>
        <p:spPr>
          <a:xfrm>
            <a:off x="6167438" y="3790587"/>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24" name="Picture Placeholder 15">
            <a:extLst>
              <a:ext uri="{FF2B5EF4-FFF2-40B4-BE49-F238E27FC236}">
                <a16:creationId xmlns:a16="http://schemas.microsoft.com/office/drawing/2014/main" id="{D7DCA51C-09C7-C83C-64D8-CE36012B9682}"/>
              </a:ext>
              <a:ext uri="{C183D7F6-B498-43B3-948B-1728B52AA6E4}">
                <adec:decorative xmlns:adec="http://schemas.microsoft.com/office/drawing/2017/decorative" val="1"/>
              </a:ext>
            </a:extLst>
          </p:cNvPr>
          <p:cNvSpPr>
            <a:spLocks noGrp="1"/>
          </p:cNvSpPr>
          <p:nvPr>
            <p:ph type="pic" sz="quarter" idx="74" hasCustomPrompt="1"/>
          </p:nvPr>
        </p:nvSpPr>
        <p:spPr>
          <a:xfrm>
            <a:off x="8982703" y="3790587"/>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spTree>
    <p:extLst>
      <p:ext uri="{BB962C8B-B14F-4D97-AF65-F5344CB8AC3E}">
        <p14:creationId xmlns:p14="http://schemas.microsoft.com/office/powerpoint/2010/main" val="201138041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lide 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251885"/>
          </a:xfrm>
        </p:spPr>
        <p:txBody>
          <a:bodyPr/>
          <a:lstStyle>
            <a:lvl1pPr>
              <a:defRPr/>
            </a:lvl1pPr>
          </a:lstStyle>
          <a:p>
            <a:r>
              <a:rPr lang="en-US"/>
              <a:t>Header avenir demi</a:t>
            </a:r>
            <a:endParaRPr lang="en-GB"/>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7" name="Text Placeholder 12">
            <a:extLst>
              <a:ext uri="{FF2B5EF4-FFF2-40B4-BE49-F238E27FC236}">
                <a16:creationId xmlns:a16="http://schemas.microsoft.com/office/drawing/2014/main" id="{2DA8D027-1671-C417-E0C3-5993F02B96D9}"/>
              </a:ext>
              <a:ext uri="{C183D7F6-B498-43B3-948B-1728B52AA6E4}">
                <adec:decorative xmlns:adec="http://schemas.microsoft.com/office/drawing/2017/decorative" val="0"/>
              </a:ext>
            </a:extLst>
          </p:cNvPr>
          <p:cNvSpPr>
            <a:spLocks noGrp="1"/>
          </p:cNvSpPr>
          <p:nvPr>
            <p:ph type="body" sz="quarter" idx="39" hasCustomPrompt="1"/>
          </p:nvPr>
        </p:nvSpPr>
        <p:spPr>
          <a:xfrm>
            <a:off x="550863" y="1720850"/>
            <a:ext cx="3202897" cy="324000"/>
          </a:xfrm>
          <a:solidFill>
            <a:schemeClr val="accent2"/>
          </a:solidFill>
        </p:spPr>
        <p:txBody>
          <a:bodyPr anchor="ctr" anchorCtr="0"/>
          <a:lstStyle>
            <a:lvl1pPr marL="0" indent="0" algn="ctr">
              <a:buNone/>
              <a:defRPr sz="1600" b="0" baseline="0">
                <a:solidFill>
                  <a:schemeClr val="bg1"/>
                </a:solidFill>
                <a:latin typeface="+mj-lt"/>
              </a:defRPr>
            </a:lvl1pPr>
            <a:lvl4pPr>
              <a:buClr>
                <a:schemeClr val="accent1"/>
              </a:buClr>
              <a:defRPr/>
            </a:lvl4pPr>
            <a:lvl5pPr>
              <a:buClr>
                <a:schemeClr val="accent1"/>
              </a:buClr>
              <a:defRPr/>
            </a:lvl5pPr>
          </a:lstStyle>
          <a:p>
            <a:pPr lvl="0"/>
            <a:r>
              <a:rPr lang="en-US"/>
              <a:t>Section one</a:t>
            </a:r>
            <a:endParaRPr lang="en-GB"/>
          </a:p>
        </p:txBody>
      </p:sp>
      <p:sp>
        <p:nvSpPr>
          <p:cNvPr id="5" name="Picture Placeholder 15">
            <a:extLst>
              <a:ext uri="{FF2B5EF4-FFF2-40B4-BE49-F238E27FC236}">
                <a16:creationId xmlns:a16="http://schemas.microsoft.com/office/drawing/2014/main" id="{903F0106-157C-427D-4EE3-058FF2156B3C}"/>
              </a:ext>
              <a:ext uri="{C183D7F6-B498-43B3-948B-1728B52AA6E4}">
                <adec:decorative xmlns:adec="http://schemas.microsoft.com/office/drawing/2017/decorative" val="1"/>
              </a:ext>
            </a:extLst>
          </p:cNvPr>
          <p:cNvSpPr>
            <a:spLocks noGrp="1"/>
          </p:cNvSpPr>
          <p:nvPr>
            <p:ph type="pic" sz="quarter" idx="20" hasCustomPrompt="1"/>
          </p:nvPr>
        </p:nvSpPr>
        <p:spPr>
          <a:xfrm>
            <a:off x="551231" y="2044850"/>
            <a:ext cx="3202379" cy="1570035"/>
          </a:xfrm>
          <a:noFill/>
        </p:spPr>
        <p:txBody>
          <a:bodyPr tIns="144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23" name="Text Placeholder 12">
            <a:extLst>
              <a:ext uri="{FF2B5EF4-FFF2-40B4-BE49-F238E27FC236}">
                <a16:creationId xmlns:a16="http://schemas.microsoft.com/office/drawing/2014/main" id="{C531B205-D3A4-EA26-3CFE-0FB948EE2890}"/>
              </a:ext>
            </a:extLst>
          </p:cNvPr>
          <p:cNvSpPr>
            <a:spLocks noGrp="1"/>
          </p:cNvSpPr>
          <p:nvPr>
            <p:ph type="body" sz="quarter" idx="43"/>
          </p:nvPr>
        </p:nvSpPr>
        <p:spPr>
          <a:xfrm>
            <a:off x="550863" y="3792000"/>
            <a:ext cx="3202379" cy="1800000"/>
          </a:xfrm>
          <a:noFill/>
        </p:spPr>
        <p:txBody>
          <a:bodyPr/>
          <a:lstStyle/>
          <a:p>
            <a:pPr lvl="0"/>
            <a:r>
              <a:rPr lang="en-US"/>
              <a:t>Click to edit Master text styles</a:t>
            </a:r>
          </a:p>
          <a:p>
            <a:pPr lvl="1"/>
            <a:r>
              <a:rPr lang="en-US"/>
              <a:t>Second level</a:t>
            </a:r>
          </a:p>
          <a:p>
            <a:pPr lvl="2"/>
            <a:r>
              <a:rPr lang="en-US"/>
              <a:t>Third level</a:t>
            </a:r>
          </a:p>
        </p:txBody>
      </p:sp>
      <p:sp>
        <p:nvSpPr>
          <p:cNvPr id="20" name="Text Placeholder 12">
            <a:extLst>
              <a:ext uri="{FF2B5EF4-FFF2-40B4-BE49-F238E27FC236}">
                <a16:creationId xmlns:a16="http://schemas.microsoft.com/office/drawing/2014/main" id="{CD7185C1-17ED-4DDA-8D74-3D9B371C3A61}"/>
              </a:ext>
              <a:ext uri="{C183D7F6-B498-43B3-948B-1728B52AA6E4}">
                <adec:decorative xmlns:adec="http://schemas.microsoft.com/office/drawing/2017/decorative" val="0"/>
              </a:ext>
            </a:extLst>
          </p:cNvPr>
          <p:cNvSpPr>
            <a:spLocks noGrp="1"/>
          </p:cNvSpPr>
          <p:nvPr>
            <p:ph type="body" sz="quarter" idx="40" hasCustomPrompt="1"/>
          </p:nvPr>
        </p:nvSpPr>
        <p:spPr>
          <a:xfrm>
            <a:off x="4295560" y="1720850"/>
            <a:ext cx="3202898" cy="323997"/>
          </a:xfrm>
          <a:solidFill>
            <a:schemeClr val="accent2"/>
          </a:solidFill>
        </p:spPr>
        <p:txBody>
          <a:bodyPr anchor="ctr" anchorCtr="0"/>
          <a:lstStyle>
            <a:lvl1pPr marL="0" indent="0" algn="ctr">
              <a:buNone/>
              <a:defRPr sz="1600" b="0" baseline="0">
                <a:solidFill>
                  <a:schemeClr val="bg1"/>
                </a:solidFill>
                <a:latin typeface="+mj-lt"/>
              </a:defRPr>
            </a:lvl1pPr>
            <a:lvl4pPr>
              <a:buClr>
                <a:schemeClr val="accent1"/>
              </a:buClr>
              <a:defRPr/>
            </a:lvl4pPr>
            <a:lvl5pPr>
              <a:buClr>
                <a:schemeClr val="accent1"/>
              </a:buClr>
              <a:defRPr/>
            </a:lvl5pPr>
          </a:lstStyle>
          <a:p>
            <a:pPr lvl="0"/>
            <a:r>
              <a:rPr lang="en-US"/>
              <a:t> Section two</a:t>
            </a:r>
            <a:endParaRPr lang="en-GB"/>
          </a:p>
        </p:txBody>
      </p:sp>
      <p:sp>
        <p:nvSpPr>
          <p:cNvPr id="8" name="Picture Placeholder 15">
            <a:extLst>
              <a:ext uri="{FF2B5EF4-FFF2-40B4-BE49-F238E27FC236}">
                <a16:creationId xmlns:a16="http://schemas.microsoft.com/office/drawing/2014/main" id="{EC657CC3-F918-1A6E-4F80-19CFDA23FC11}"/>
              </a:ext>
              <a:ext uri="{C183D7F6-B498-43B3-948B-1728B52AA6E4}">
                <adec:decorative xmlns:adec="http://schemas.microsoft.com/office/drawing/2017/decorative" val="1"/>
              </a:ext>
            </a:extLst>
          </p:cNvPr>
          <p:cNvSpPr>
            <a:spLocks noGrp="1"/>
          </p:cNvSpPr>
          <p:nvPr>
            <p:ph type="pic" sz="quarter" idx="27" hasCustomPrompt="1"/>
          </p:nvPr>
        </p:nvSpPr>
        <p:spPr>
          <a:xfrm>
            <a:off x="4295775" y="2044848"/>
            <a:ext cx="3202379" cy="1570037"/>
          </a:xfrm>
          <a:noFill/>
        </p:spPr>
        <p:txBody>
          <a:bodyPr tIns="144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24" name="Text Placeholder 12">
            <a:extLst>
              <a:ext uri="{FF2B5EF4-FFF2-40B4-BE49-F238E27FC236}">
                <a16:creationId xmlns:a16="http://schemas.microsoft.com/office/drawing/2014/main" id="{5CD19475-61C5-E508-86C6-A6A43C37FD75}"/>
              </a:ext>
            </a:extLst>
          </p:cNvPr>
          <p:cNvSpPr>
            <a:spLocks noGrp="1"/>
          </p:cNvSpPr>
          <p:nvPr>
            <p:ph type="body" sz="quarter" idx="44"/>
          </p:nvPr>
        </p:nvSpPr>
        <p:spPr>
          <a:xfrm>
            <a:off x="4295529" y="3792000"/>
            <a:ext cx="3202379" cy="1800000"/>
          </a:xfrm>
          <a:noFill/>
        </p:spPr>
        <p:txBody>
          <a:bodyPr/>
          <a:lstStyle/>
          <a:p>
            <a:pPr lvl="0"/>
            <a:r>
              <a:rPr lang="en-US"/>
              <a:t>Click to edit Master text styles</a:t>
            </a:r>
          </a:p>
          <a:p>
            <a:pPr lvl="1"/>
            <a:r>
              <a:rPr lang="en-US"/>
              <a:t>Second level</a:t>
            </a:r>
          </a:p>
          <a:p>
            <a:pPr lvl="2"/>
            <a:r>
              <a:rPr lang="en-US"/>
              <a:t>Third level</a:t>
            </a:r>
          </a:p>
        </p:txBody>
      </p:sp>
      <p:sp>
        <p:nvSpPr>
          <p:cNvPr id="21" name="Text Placeholder 12">
            <a:extLst>
              <a:ext uri="{FF2B5EF4-FFF2-40B4-BE49-F238E27FC236}">
                <a16:creationId xmlns:a16="http://schemas.microsoft.com/office/drawing/2014/main" id="{C20373E0-93FA-5E07-BE29-2A7CDEAB21F9}"/>
              </a:ext>
              <a:ext uri="{C183D7F6-B498-43B3-948B-1728B52AA6E4}">
                <adec:decorative xmlns:adec="http://schemas.microsoft.com/office/drawing/2017/decorative" val="0"/>
              </a:ext>
            </a:extLst>
          </p:cNvPr>
          <p:cNvSpPr>
            <a:spLocks noGrp="1"/>
          </p:cNvSpPr>
          <p:nvPr>
            <p:ph type="body" sz="quarter" idx="41" hasCustomPrompt="1"/>
          </p:nvPr>
        </p:nvSpPr>
        <p:spPr>
          <a:xfrm>
            <a:off x="8040168" y="1720850"/>
            <a:ext cx="3204519" cy="323996"/>
          </a:xfrm>
          <a:solidFill>
            <a:schemeClr val="accent2"/>
          </a:solidFill>
        </p:spPr>
        <p:txBody>
          <a:bodyPr anchor="ctr" anchorCtr="0"/>
          <a:lstStyle>
            <a:lvl1pPr marL="0" indent="0" algn="ctr">
              <a:buNone/>
              <a:defRPr sz="1600" b="0" baseline="0">
                <a:solidFill>
                  <a:schemeClr val="bg1"/>
                </a:solidFill>
                <a:latin typeface="+mj-lt"/>
              </a:defRPr>
            </a:lvl1pPr>
            <a:lvl4pPr>
              <a:buClr>
                <a:schemeClr val="accent1"/>
              </a:buClr>
              <a:defRPr/>
            </a:lvl4pPr>
            <a:lvl5pPr>
              <a:buClr>
                <a:schemeClr val="accent1"/>
              </a:buClr>
              <a:defRPr/>
            </a:lvl5pPr>
          </a:lstStyle>
          <a:p>
            <a:pPr lvl="0"/>
            <a:r>
              <a:rPr lang="en-US"/>
              <a:t>Section three </a:t>
            </a:r>
            <a:endParaRPr lang="en-GB"/>
          </a:p>
        </p:txBody>
      </p:sp>
      <p:sp>
        <p:nvSpPr>
          <p:cNvPr id="9" name="Picture Placeholder 15">
            <a:extLst>
              <a:ext uri="{FF2B5EF4-FFF2-40B4-BE49-F238E27FC236}">
                <a16:creationId xmlns:a16="http://schemas.microsoft.com/office/drawing/2014/main" id="{8D0A983E-8A75-5B03-E6D8-3B461E3D79BB}"/>
              </a:ext>
              <a:ext uri="{C183D7F6-B498-43B3-948B-1728B52AA6E4}">
                <adec:decorative xmlns:adec="http://schemas.microsoft.com/office/drawing/2017/decorative" val="1"/>
              </a:ext>
            </a:extLst>
          </p:cNvPr>
          <p:cNvSpPr>
            <a:spLocks noGrp="1"/>
          </p:cNvSpPr>
          <p:nvPr>
            <p:ph type="pic" sz="quarter" idx="29" hasCustomPrompt="1"/>
          </p:nvPr>
        </p:nvSpPr>
        <p:spPr>
          <a:xfrm>
            <a:off x="8040688" y="2044848"/>
            <a:ext cx="3204000" cy="1570038"/>
          </a:xfrm>
          <a:noFill/>
        </p:spPr>
        <p:txBody>
          <a:bodyPr tIns="144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25" name="Text Placeholder 12">
            <a:extLst>
              <a:ext uri="{FF2B5EF4-FFF2-40B4-BE49-F238E27FC236}">
                <a16:creationId xmlns:a16="http://schemas.microsoft.com/office/drawing/2014/main" id="{BFA0A616-B625-CB56-07F5-2868451F4AE4}"/>
              </a:ext>
            </a:extLst>
          </p:cNvPr>
          <p:cNvSpPr>
            <a:spLocks noGrp="1"/>
          </p:cNvSpPr>
          <p:nvPr>
            <p:ph type="body" sz="quarter" idx="45"/>
          </p:nvPr>
        </p:nvSpPr>
        <p:spPr>
          <a:xfrm>
            <a:off x="8040688" y="3792000"/>
            <a:ext cx="3204000" cy="1800000"/>
          </a:xfrm>
          <a:noFill/>
        </p:spPr>
        <p:txBody>
          <a:bodyPr/>
          <a:lstStyle/>
          <a:p>
            <a:pPr lvl="0"/>
            <a:r>
              <a:rPr lang="en-US"/>
              <a:t>Click to edit Master text styles</a:t>
            </a:r>
          </a:p>
          <a:p>
            <a:pPr lvl="1"/>
            <a:r>
              <a:rPr lang="en-US"/>
              <a:t>Second level</a:t>
            </a:r>
          </a:p>
          <a:p>
            <a:pPr lvl="2"/>
            <a:r>
              <a:rPr lang="en-US"/>
              <a:t>Third level</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US"/>
              <a:t>© 2025 Clarivate. All rights reserved.</a:t>
            </a:r>
          </a:p>
        </p:txBody>
      </p:sp>
      <p:sp>
        <p:nvSpPr>
          <p:cNvPr id="7" name="Text Placeholder 50">
            <a:extLst>
              <a:ext uri="{FF2B5EF4-FFF2-40B4-BE49-F238E27FC236}">
                <a16:creationId xmlns:a16="http://schemas.microsoft.com/office/drawing/2014/main" id="{1469EF62-8266-4101-8454-C7A968E7EC07}"/>
              </a:ext>
              <a:ext uri="{C183D7F6-B498-43B3-948B-1728B52AA6E4}">
                <adec:decorative xmlns:adec="http://schemas.microsoft.com/office/drawing/2017/decorative" val="1"/>
              </a:ext>
            </a:extLst>
          </p:cNvPr>
          <p:cNvSpPr>
            <a:spLocks noGrp="1"/>
          </p:cNvSpPr>
          <p:nvPr>
            <p:ph type="body" sz="quarter" idx="12" hasCustomPrompt="1"/>
          </p:nvPr>
        </p:nvSpPr>
        <p:spPr>
          <a:xfrm>
            <a:off x="1" y="-680886"/>
            <a:ext cx="4716000" cy="607071"/>
          </a:xfrm>
          <a:solidFill>
            <a:schemeClr val="accent3"/>
          </a:solidFill>
        </p:spPr>
        <p:txBody>
          <a:bodyPr wrap="square" lIns="72000" tIns="72000" rIns="72000" bIns="72000">
            <a:spAutoFit/>
          </a:bodyPr>
          <a:lstStyle>
            <a:lvl1pPr marL="0" indent="0">
              <a:buNone/>
              <a:defRPr/>
            </a:lvl1pPr>
            <a:lvl2pPr marL="180000" indent="0">
              <a:buNone/>
              <a:defRPr/>
            </a:lvl2pPr>
            <a:lvl3pPr marL="360000" indent="0">
              <a:buNone/>
              <a:defRPr/>
            </a:lvl3pPr>
            <a:lvl4pPr marL="540000" indent="0">
              <a:buNone/>
              <a:defRPr/>
            </a:lvl4pPr>
            <a:lvl5pPr marL="720000" indent="0">
              <a:buNone/>
              <a:defRPr/>
            </a:lvl5pPr>
          </a:lstStyle>
          <a:p>
            <a:pPr lvl="0"/>
            <a:r>
              <a:rPr lang="en-GB"/>
              <a:t>Lorem ipsum dolor sit amet, consectetuer adipiscing elit. Maecenas porttitor </a:t>
            </a:r>
            <a:r>
              <a:rPr lang="en-GB" err="1"/>
              <a:t>congue</a:t>
            </a:r>
            <a:r>
              <a:rPr lang="en-GB"/>
              <a:t> </a:t>
            </a:r>
            <a:r>
              <a:rPr lang="en-GB" err="1"/>
              <a:t>massa</a:t>
            </a:r>
            <a:r>
              <a:rPr lang="en-GB"/>
              <a:t> </a:t>
            </a:r>
            <a:r>
              <a:rPr lang="en-GB" err="1"/>
              <a:t>posuere</a:t>
            </a:r>
            <a:r>
              <a:rPr lang="en-GB"/>
              <a:t>.</a:t>
            </a:r>
          </a:p>
        </p:txBody>
      </p:sp>
    </p:spTree>
    <p:extLst>
      <p:ext uri="{BB962C8B-B14F-4D97-AF65-F5344CB8AC3E}">
        <p14:creationId xmlns:p14="http://schemas.microsoft.com/office/powerpoint/2010/main" val="99155984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lide B">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AB8773E-2F29-ECD1-16FF-8BC5E75E1E40}"/>
              </a:ext>
              <a:ext uri="{C183D7F6-B498-43B3-948B-1728B52AA6E4}">
                <adec:decorative xmlns:adec="http://schemas.microsoft.com/office/drawing/2017/decorative" val="1"/>
              </a:ext>
            </a:extLst>
          </p:cNvPr>
          <p:cNvSpPr/>
          <p:nvPr userDrawn="1"/>
        </p:nvSpPr>
        <p:spPr>
          <a:xfrm rot="10800000">
            <a:off x="6095999" y="0"/>
            <a:ext cx="6096000" cy="6858000"/>
          </a:xfrm>
          <a:prstGeom prst="rect">
            <a:avLst/>
          </a:prstGeom>
          <a:gradFill>
            <a:gsLst>
              <a:gs pos="85000">
                <a:srgbClr val="3595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itle 1">
            <a:extLst>
              <a:ext uri="{FF2B5EF4-FFF2-40B4-BE49-F238E27FC236}">
                <a16:creationId xmlns:a16="http://schemas.microsoft.com/office/drawing/2014/main" id="{7DE71408-1F6A-1900-3166-8B0F27B91CF7}"/>
              </a:ext>
            </a:extLst>
          </p:cNvPr>
          <p:cNvSpPr>
            <a:spLocks noGrp="1"/>
          </p:cNvSpPr>
          <p:nvPr>
            <p:ph type="title" hasCustomPrompt="1"/>
          </p:nvPr>
        </p:nvSpPr>
        <p:spPr>
          <a:xfrm>
            <a:off x="550865" y="368828"/>
            <a:ext cx="5075998" cy="251885"/>
          </a:xfrm>
        </p:spPr>
        <p:txBody>
          <a:bodyPr/>
          <a:lstStyle>
            <a:lvl1pPr>
              <a:defRPr/>
            </a:lvl1pPr>
          </a:lstStyle>
          <a:p>
            <a:r>
              <a:rPr lang="en-US"/>
              <a:t>Header avenir demi 24pt</a:t>
            </a:r>
            <a:endParaRPr lang="en-GB"/>
          </a:p>
        </p:txBody>
      </p:sp>
      <p:sp>
        <p:nvSpPr>
          <p:cNvPr id="10" name="Text Placeholder 9">
            <a:extLst>
              <a:ext uri="{FF2B5EF4-FFF2-40B4-BE49-F238E27FC236}">
                <a16:creationId xmlns:a16="http://schemas.microsoft.com/office/drawing/2014/main" id="{E040A9B4-F93C-AB35-66CE-1690CFBC2581}"/>
              </a:ext>
            </a:extLst>
          </p:cNvPr>
          <p:cNvSpPr>
            <a:spLocks noGrp="1"/>
          </p:cNvSpPr>
          <p:nvPr>
            <p:ph type="body" sz="quarter" idx="13" hasCustomPrompt="1"/>
          </p:nvPr>
        </p:nvSpPr>
        <p:spPr>
          <a:xfrm>
            <a:off x="550865" y="753852"/>
            <a:ext cx="5075998"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03BC752C-CC9E-C49E-83BC-B6B704830335}"/>
              </a:ext>
            </a:extLst>
          </p:cNvPr>
          <p:cNvSpPr>
            <a:spLocks noGrp="1"/>
          </p:cNvSpPr>
          <p:nvPr>
            <p:ph type="body" sz="quarter" idx="14"/>
          </p:nvPr>
        </p:nvSpPr>
        <p:spPr>
          <a:xfrm>
            <a:off x="1956624" y="1808164"/>
            <a:ext cx="3670238" cy="900112"/>
          </a:xfrm>
        </p:spPr>
        <p:txBody>
          <a:bodyPr/>
          <a:lstStyle/>
          <a:p>
            <a:pPr lvl="0"/>
            <a:r>
              <a:rPr lang="en-US"/>
              <a:t>Click to edit Master text styles</a:t>
            </a:r>
          </a:p>
          <a:p>
            <a:pPr lvl="1"/>
            <a:r>
              <a:rPr lang="en-US"/>
              <a:t>Second level</a:t>
            </a:r>
          </a:p>
          <a:p>
            <a:pPr lvl="2"/>
            <a:r>
              <a:rPr lang="en-US"/>
              <a:t>Third level</a:t>
            </a:r>
          </a:p>
        </p:txBody>
      </p:sp>
      <p:sp>
        <p:nvSpPr>
          <p:cNvPr id="5" name="Picture Placeholder 15">
            <a:extLst>
              <a:ext uri="{FF2B5EF4-FFF2-40B4-BE49-F238E27FC236}">
                <a16:creationId xmlns:a16="http://schemas.microsoft.com/office/drawing/2014/main" id="{424352B5-9531-7227-7258-4FBE39AA6692}"/>
              </a:ext>
            </a:extLst>
          </p:cNvPr>
          <p:cNvSpPr>
            <a:spLocks noGrp="1"/>
          </p:cNvSpPr>
          <p:nvPr>
            <p:ph type="pic" sz="quarter" idx="20" hasCustomPrompt="1"/>
          </p:nvPr>
        </p:nvSpPr>
        <p:spPr>
          <a:xfrm>
            <a:off x="551231" y="1815304"/>
            <a:ext cx="936257" cy="892971"/>
          </a:xfrm>
          <a:noFill/>
        </p:spPr>
        <p:txBody>
          <a:bodyPr anchor="ctr" anchorCtr="0"/>
          <a:lstStyle>
            <a:lvl1pPr marL="0" indent="0" algn="ctr">
              <a:spcBef>
                <a:spcPts val="0"/>
              </a:spcBef>
              <a:buNone/>
              <a:defRPr sz="1000">
                <a:solidFill>
                  <a:schemeClr val="accent2"/>
                </a:solidFill>
                <a:latin typeface="+mn-lt"/>
              </a:defRPr>
            </a:lvl1pPr>
          </a:lstStyle>
          <a:p>
            <a:pPr lvl="0"/>
            <a:r>
              <a:rPr lang="en-GB"/>
              <a:t>click or drag </a:t>
            </a:r>
            <a:br>
              <a:rPr lang="en-GB"/>
            </a:br>
            <a:r>
              <a:rPr lang="en-GB"/>
              <a:t>to insert  pictogram</a:t>
            </a:r>
          </a:p>
        </p:txBody>
      </p:sp>
      <p:sp>
        <p:nvSpPr>
          <p:cNvPr id="6" name="Text Placeholder 12">
            <a:extLst>
              <a:ext uri="{FF2B5EF4-FFF2-40B4-BE49-F238E27FC236}">
                <a16:creationId xmlns:a16="http://schemas.microsoft.com/office/drawing/2014/main" id="{7C6399F0-91C7-1DA8-0F53-2C77DF6472C4}"/>
              </a:ext>
            </a:extLst>
          </p:cNvPr>
          <p:cNvSpPr>
            <a:spLocks noGrp="1"/>
          </p:cNvSpPr>
          <p:nvPr>
            <p:ph type="body" sz="quarter" idx="22"/>
          </p:nvPr>
        </p:nvSpPr>
        <p:spPr>
          <a:xfrm>
            <a:off x="1956624" y="2948518"/>
            <a:ext cx="3670238" cy="900112"/>
          </a:xfrm>
        </p:spPr>
        <p:txBody>
          <a:bodyPr/>
          <a:lstStyle/>
          <a:p>
            <a:pPr lvl="0"/>
            <a:r>
              <a:rPr lang="en-US"/>
              <a:t>Click to edit Master text styles</a:t>
            </a:r>
          </a:p>
          <a:p>
            <a:pPr lvl="1"/>
            <a:r>
              <a:rPr lang="en-US"/>
              <a:t>Second level</a:t>
            </a:r>
          </a:p>
          <a:p>
            <a:pPr lvl="2"/>
            <a:r>
              <a:rPr lang="en-US"/>
              <a:t>Third level</a:t>
            </a:r>
          </a:p>
        </p:txBody>
      </p:sp>
      <p:sp>
        <p:nvSpPr>
          <p:cNvPr id="11" name="Picture Placeholder 15">
            <a:extLst>
              <a:ext uri="{FF2B5EF4-FFF2-40B4-BE49-F238E27FC236}">
                <a16:creationId xmlns:a16="http://schemas.microsoft.com/office/drawing/2014/main" id="{3234BFD3-E1B2-D40A-A80A-F111064283A3}"/>
              </a:ext>
            </a:extLst>
          </p:cNvPr>
          <p:cNvSpPr>
            <a:spLocks noGrp="1"/>
          </p:cNvSpPr>
          <p:nvPr>
            <p:ph type="pic" sz="quarter" idx="23" hasCustomPrompt="1"/>
          </p:nvPr>
        </p:nvSpPr>
        <p:spPr>
          <a:xfrm>
            <a:off x="551231" y="2955658"/>
            <a:ext cx="936257" cy="892971"/>
          </a:xfrm>
          <a:noFill/>
        </p:spPr>
        <p:txBody>
          <a:bodyPr anchor="ctr" anchorCtr="0"/>
          <a:lstStyle>
            <a:lvl1pPr marL="0" indent="0" algn="ctr">
              <a:spcBef>
                <a:spcPts val="0"/>
              </a:spcBef>
              <a:buNone/>
              <a:defRPr sz="1000">
                <a:solidFill>
                  <a:schemeClr val="accent2"/>
                </a:solidFill>
                <a:latin typeface="+mn-lt"/>
              </a:defRPr>
            </a:lvl1pPr>
          </a:lstStyle>
          <a:p>
            <a:pPr lvl="0"/>
            <a:r>
              <a:rPr lang="en-GB"/>
              <a:t>click or drag </a:t>
            </a:r>
            <a:br>
              <a:rPr lang="en-GB"/>
            </a:br>
            <a:r>
              <a:rPr lang="en-GB"/>
              <a:t>to insert  pictogram</a:t>
            </a:r>
          </a:p>
        </p:txBody>
      </p:sp>
      <p:sp>
        <p:nvSpPr>
          <p:cNvPr id="12" name="Text Placeholder 12">
            <a:extLst>
              <a:ext uri="{FF2B5EF4-FFF2-40B4-BE49-F238E27FC236}">
                <a16:creationId xmlns:a16="http://schemas.microsoft.com/office/drawing/2014/main" id="{C3F003AE-DA6B-6A9F-EAAA-2E7B1562F831}"/>
              </a:ext>
            </a:extLst>
          </p:cNvPr>
          <p:cNvSpPr>
            <a:spLocks noGrp="1"/>
          </p:cNvSpPr>
          <p:nvPr>
            <p:ph type="body" sz="quarter" idx="24"/>
          </p:nvPr>
        </p:nvSpPr>
        <p:spPr>
          <a:xfrm>
            <a:off x="1956624" y="4088872"/>
            <a:ext cx="3670238" cy="900112"/>
          </a:xfrm>
        </p:spPr>
        <p:txBody>
          <a:bodyPr/>
          <a:lstStyle/>
          <a:p>
            <a:pPr lvl="0"/>
            <a:r>
              <a:rPr lang="en-US"/>
              <a:t>Click to edit Master text styles</a:t>
            </a:r>
          </a:p>
          <a:p>
            <a:pPr lvl="1"/>
            <a:r>
              <a:rPr lang="en-US"/>
              <a:t>Second level</a:t>
            </a:r>
          </a:p>
          <a:p>
            <a:pPr lvl="2"/>
            <a:r>
              <a:rPr lang="en-US"/>
              <a:t>Third level</a:t>
            </a:r>
          </a:p>
        </p:txBody>
      </p:sp>
      <p:sp>
        <p:nvSpPr>
          <p:cNvPr id="14" name="Picture Placeholder 15">
            <a:extLst>
              <a:ext uri="{FF2B5EF4-FFF2-40B4-BE49-F238E27FC236}">
                <a16:creationId xmlns:a16="http://schemas.microsoft.com/office/drawing/2014/main" id="{8E2ADA55-A25D-66AF-B55F-C60297B1080A}"/>
              </a:ext>
            </a:extLst>
          </p:cNvPr>
          <p:cNvSpPr>
            <a:spLocks noGrp="1"/>
          </p:cNvSpPr>
          <p:nvPr>
            <p:ph type="pic" sz="quarter" idx="25" hasCustomPrompt="1"/>
          </p:nvPr>
        </p:nvSpPr>
        <p:spPr>
          <a:xfrm>
            <a:off x="551231" y="4096012"/>
            <a:ext cx="936257" cy="892971"/>
          </a:xfrm>
          <a:noFill/>
        </p:spPr>
        <p:txBody>
          <a:bodyPr anchor="ctr" anchorCtr="0"/>
          <a:lstStyle>
            <a:lvl1pPr marL="0" indent="0" algn="ctr">
              <a:spcBef>
                <a:spcPts val="0"/>
              </a:spcBef>
              <a:buNone/>
              <a:defRPr sz="1000">
                <a:solidFill>
                  <a:schemeClr val="accent2"/>
                </a:solidFill>
                <a:latin typeface="+mn-lt"/>
              </a:defRPr>
            </a:lvl1pPr>
          </a:lstStyle>
          <a:p>
            <a:pPr lvl="0"/>
            <a:r>
              <a:rPr lang="en-GB"/>
              <a:t>click or drag </a:t>
            </a:r>
            <a:br>
              <a:rPr lang="en-GB"/>
            </a:br>
            <a:r>
              <a:rPr lang="en-GB"/>
              <a:t>to insert  pictogram</a:t>
            </a:r>
          </a:p>
        </p:txBody>
      </p:sp>
      <p:sp>
        <p:nvSpPr>
          <p:cNvPr id="15" name="Text Placeholder 12">
            <a:extLst>
              <a:ext uri="{FF2B5EF4-FFF2-40B4-BE49-F238E27FC236}">
                <a16:creationId xmlns:a16="http://schemas.microsoft.com/office/drawing/2014/main" id="{C5A01F48-7607-98AA-8DCD-AD30C977669E}"/>
              </a:ext>
            </a:extLst>
          </p:cNvPr>
          <p:cNvSpPr>
            <a:spLocks noGrp="1"/>
          </p:cNvSpPr>
          <p:nvPr>
            <p:ph type="body" sz="quarter" idx="26"/>
          </p:nvPr>
        </p:nvSpPr>
        <p:spPr>
          <a:xfrm>
            <a:off x="1956624" y="5229225"/>
            <a:ext cx="3670238" cy="900112"/>
          </a:xfrm>
        </p:spPr>
        <p:txBody>
          <a:bodyPr/>
          <a:lstStyle/>
          <a:p>
            <a:pPr lvl="0"/>
            <a:r>
              <a:rPr lang="en-US"/>
              <a:t>Click to edit Master text styles</a:t>
            </a:r>
          </a:p>
          <a:p>
            <a:pPr lvl="1"/>
            <a:r>
              <a:rPr lang="en-US"/>
              <a:t>Second level</a:t>
            </a:r>
          </a:p>
          <a:p>
            <a:pPr lvl="2"/>
            <a:r>
              <a:rPr lang="en-US"/>
              <a:t>Third level</a:t>
            </a:r>
          </a:p>
        </p:txBody>
      </p:sp>
      <p:sp>
        <p:nvSpPr>
          <p:cNvPr id="16" name="Picture Placeholder 15">
            <a:extLst>
              <a:ext uri="{FF2B5EF4-FFF2-40B4-BE49-F238E27FC236}">
                <a16:creationId xmlns:a16="http://schemas.microsoft.com/office/drawing/2014/main" id="{290C083D-C4ED-259B-48AB-A352EEBF7FD2}"/>
              </a:ext>
            </a:extLst>
          </p:cNvPr>
          <p:cNvSpPr>
            <a:spLocks noGrp="1"/>
          </p:cNvSpPr>
          <p:nvPr>
            <p:ph type="pic" sz="quarter" idx="27" hasCustomPrompt="1"/>
          </p:nvPr>
        </p:nvSpPr>
        <p:spPr>
          <a:xfrm>
            <a:off x="551231" y="5236365"/>
            <a:ext cx="936257" cy="892971"/>
          </a:xfrm>
          <a:noFill/>
        </p:spPr>
        <p:txBody>
          <a:bodyPr anchor="ctr" anchorCtr="0"/>
          <a:lstStyle>
            <a:lvl1pPr marL="0" indent="0" algn="ctr">
              <a:spcBef>
                <a:spcPts val="0"/>
              </a:spcBef>
              <a:buNone/>
              <a:defRPr sz="1000">
                <a:solidFill>
                  <a:schemeClr val="accent2"/>
                </a:solidFill>
                <a:latin typeface="+mn-lt"/>
              </a:defRPr>
            </a:lvl1pPr>
          </a:lstStyle>
          <a:p>
            <a:pPr lvl="0"/>
            <a:r>
              <a:rPr lang="en-GB"/>
              <a:t>click or drag </a:t>
            </a:r>
            <a:br>
              <a:rPr lang="en-GB"/>
            </a:br>
            <a:r>
              <a:rPr lang="en-GB"/>
              <a:t>to insert  pictogram</a:t>
            </a:r>
          </a:p>
        </p:txBody>
      </p:sp>
      <p:sp>
        <p:nvSpPr>
          <p:cNvPr id="19" name="Text Placeholder 12">
            <a:extLst>
              <a:ext uri="{FF2B5EF4-FFF2-40B4-BE49-F238E27FC236}">
                <a16:creationId xmlns:a16="http://schemas.microsoft.com/office/drawing/2014/main" id="{6B88FD4C-301B-A8C2-5ACF-167833A3A773}"/>
              </a:ext>
            </a:extLst>
          </p:cNvPr>
          <p:cNvSpPr>
            <a:spLocks noGrp="1"/>
          </p:cNvSpPr>
          <p:nvPr>
            <p:ph type="body" sz="quarter" idx="18"/>
          </p:nvPr>
        </p:nvSpPr>
        <p:spPr>
          <a:xfrm>
            <a:off x="6529387" y="1812926"/>
            <a:ext cx="5111749" cy="4321175"/>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US"/>
              <a:t>© 2025 Clarivate. All rights reserved.</a:t>
            </a:r>
          </a:p>
        </p:txBody>
      </p:sp>
      <p:sp>
        <p:nvSpPr>
          <p:cNvPr id="9" name="Text Placeholder 50">
            <a:extLst>
              <a:ext uri="{FF2B5EF4-FFF2-40B4-BE49-F238E27FC236}">
                <a16:creationId xmlns:a16="http://schemas.microsoft.com/office/drawing/2014/main" id="{71298670-8A67-0F0F-FD7E-ACB9ADC48867}"/>
              </a:ext>
              <a:ext uri="{C183D7F6-B498-43B3-948B-1728B52AA6E4}">
                <adec:decorative xmlns:adec="http://schemas.microsoft.com/office/drawing/2017/decorative" val="1"/>
              </a:ext>
            </a:extLst>
          </p:cNvPr>
          <p:cNvSpPr>
            <a:spLocks noGrp="1"/>
          </p:cNvSpPr>
          <p:nvPr>
            <p:ph type="body" sz="quarter" idx="12" hasCustomPrompt="1"/>
          </p:nvPr>
        </p:nvSpPr>
        <p:spPr>
          <a:xfrm>
            <a:off x="1" y="-680886"/>
            <a:ext cx="4716000" cy="607071"/>
          </a:xfrm>
          <a:solidFill>
            <a:schemeClr val="accent3"/>
          </a:solidFill>
        </p:spPr>
        <p:txBody>
          <a:bodyPr wrap="square" lIns="72000" tIns="72000" rIns="72000" bIns="72000">
            <a:spAutoFit/>
          </a:bodyPr>
          <a:lstStyle>
            <a:lvl1pPr marL="0" indent="0">
              <a:buNone/>
              <a:defRPr/>
            </a:lvl1pPr>
            <a:lvl2pPr marL="180000" indent="0">
              <a:buNone/>
              <a:defRPr/>
            </a:lvl2pPr>
            <a:lvl3pPr marL="360000" indent="0">
              <a:buNone/>
              <a:defRPr/>
            </a:lvl3pPr>
            <a:lvl4pPr marL="540000" indent="0">
              <a:buNone/>
              <a:defRPr/>
            </a:lvl4pPr>
            <a:lvl5pPr marL="720000" indent="0">
              <a:buNone/>
              <a:defRPr/>
            </a:lvl5pPr>
          </a:lstStyle>
          <a:p>
            <a:pPr lvl="0"/>
            <a:r>
              <a:rPr lang="en-GB"/>
              <a:t>Lorem ipsum dolor sit amet, consectetuer adipiscing elit. Maecenas porttitor </a:t>
            </a:r>
            <a:r>
              <a:rPr lang="en-GB" err="1"/>
              <a:t>congue</a:t>
            </a:r>
            <a:r>
              <a:rPr lang="en-GB"/>
              <a:t> </a:t>
            </a:r>
            <a:r>
              <a:rPr lang="en-GB" err="1"/>
              <a:t>massa</a:t>
            </a:r>
            <a:r>
              <a:rPr lang="en-GB"/>
              <a:t> </a:t>
            </a:r>
            <a:r>
              <a:rPr lang="en-GB" err="1"/>
              <a:t>posuere</a:t>
            </a:r>
            <a:r>
              <a:rPr lang="en-GB"/>
              <a:t>.</a:t>
            </a:r>
          </a:p>
        </p:txBody>
      </p:sp>
    </p:spTree>
    <p:extLst>
      <p:ext uri="{BB962C8B-B14F-4D97-AF65-F5344CB8AC3E}">
        <p14:creationId xmlns:p14="http://schemas.microsoft.com/office/powerpoint/2010/main" val="31671177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lide 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5" y="368828"/>
            <a:ext cx="10693822" cy="251885"/>
          </a:xfrm>
        </p:spPr>
        <p:txBody>
          <a:bodyPr/>
          <a:lstStyle>
            <a:lvl1pPr>
              <a:defRPr/>
            </a:lvl1pPr>
          </a:lstStyle>
          <a:p>
            <a:r>
              <a:rPr lang="en-US"/>
              <a:t>Header avenir demi 24pt</a:t>
            </a:r>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5" y="752052"/>
            <a:ext cx="10693822"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25" name="Text Placeholder 12">
            <a:extLst>
              <a:ext uri="{FF2B5EF4-FFF2-40B4-BE49-F238E27FC236}">
                <a16:creationId xmlns:a16="http://schemas.microsoft.com/office/drawing/2014/main" id="{AA2E112F-5FFF-32E4-5472-80BAA1776C58}"/>
              </a:ext>
            </a:extLst>
          </p:cNvPr>
          <p:cNvSpPr>
            <a:spLocks noGrp="1"/>
          </p:cNvSpPr>
          <p:nvPr>
            <p:ph type="body" sz="quarter" idx="71"/>
          </p:nvPr>
        </p:nvSpPr>
        <p:spPr>
          <a:xfrm>
            <a:off x="550864" y="1808163"/>
            <a:ext cx="2268963"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16" name="Picture Placeholder 15">
            <a:extLst>
              <a:ext uri="{FF2B5EF4-FFF2-40B4-BE49-F238E27FC236}">
                <a16:creationId xmlns:a16="http://schemas.microsoft.com/office/drawing/2014/main" id="{5EA0C833-46C2-988C-0074-D6A83249C216}"/>
              </a:ext>
              <a:ext uri="{C183D7F6-B498-43B3-948B-1728B52AA6E4}">
                <adec:decorative xmlns:adec="http://schemas.microsoft.com/office/drawing/2017/decorative" val="1"/>
              </a:ext>
            </a:extLst>
          </p:cNvPr>
          <p:cNvSpPr>
            <a:spLocks noGrp="1"/>
          </p:cNvSpPr>
          <p:nvPr>
            <p:ph type="pic" sz="quarter" idx="20" hasCustomPrompt="1"/>
          </p:nvPr>
        </p:nvSpPr>
        <p:spPr>
          <a:xfrm>
            <a:off x="3364614" y="1815305"/>
            <a:ext cx="360362" cy="360362"/>
          </a:xfrm>
          <a:noFill/>
        </p:spPr>
        <p:txBody>
          <a:bodyPr anchor="ctr" anchorCtr="0"/>
          <a:lstStyle>
            <a:lvl1pPr marL="0" indent="0" algn="ctr">
              <a:buNone/>
              <a:defRPr sz="1000">
                <a:solidFill>
                  <a:schemeClr val="accent2"/>
                </a:solidFill>
                <a:latin typeface="+mn-lt"/>
              </a:defRPr>
            </a:lvl1pPr>
          </a:lstStyle>
          <a:p>
            <a:pPr lvl="0"/>
            <a:r>
              <a:rPr lang="en-GB"/>
              <a:t>icon</a:t>
            </a:r>
          </a:p>
        </p:txBody>
      </p:sp>
      <p:sp>
        <p:nvSpPr>
          <p:cNvPr id="5" name="Text Placeholder 12">
            <a:extLst>
              <a:ext uri="{FF2B5EF4-FFF2-40B4-BE49-F238E27FC236}">
                <a16:creationId xmlns:a16="http://schemas.microsoft.com/office/drawing/2014/main" id="{9A6FB466-17DF-825B-8CFE-D36B7DFFAAC9}"/>
              </a:ext>
            </a:extLst>
          </p:cNvPr>
          <p:cNvSpPr>
            <a:spLocks noGrp="1"/>
          </p:cNvSpPr>
          <p:nvPr>
            <p:ph type="body" sz="quarter" idx="41" hasCustomPrompt="1"/>
          </p:nvPr>
        </p:nvSpPr>
        <p:spPr>
          <a:xfrm>
            <a:off x="3364615" y="2354265"/>
            <a:ext cx="2268963"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One</a:t>
            </a:r>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3364614" y="2716212"/>
            <a:ext cx="2268963" cy="1079500"/>
          </a:xfrm>
        </p:spPr>
        <p:txBody>
          <a:bodyPr/>
          <a:lstStyle/>
          <a:p>
            <a:pPr lvl="0"/>
            <a:r>
              <a:rPr lang="en-US"/>
              <a:t>Click to edit Master text styles</a:t>
            </a:r>
          </a:p>
          <a:p>
            <a:pPr lvl="1"/>
            <a:r>
              <a:rPr lang="en-US"/>
              <a:t>Second level</a:t>
            </a:r>
          </a:p>
          <a:p>
            <a:pPr lvl="2"/>
            <a:r>
              <a:rPr lang="en-US"/>
              <a:t>Third level</a:t>
            </a:r>
          </a:p>
        </p:txBody>
      </p:sp>
      <p:sp>
        <p:nvSpPr>
          <p:cNvPr id="17" name="Picture Placeholder 15">
            <a:extLst>
              <a:ext uri="{FF2B5EF4-FFF2-40B4-BE49-F238E27FC236}">
                <a16:creationId xmlns:a16="http://schemas.microsoft.com/office/drawing/2014/main" id="{CD8935F0-FF95-E453-E9F6-68893F7A504D}"/>
              </a:ext>
              <a:ext uri="{C183D7F6-B498-43B3-948B-1728B52AA6E4}">
                <adec:decorative xmlns:adec="http://schemas.microsoft.com/office/drawing/2017/decorative" val="1"/>
              </a:ext>
            </a:extLst>
          </p:cNvPr>
          <p:cNvSpPr>
            <a:spLocks noGrp="1"/>
          </p:cNvSpPr>
          <p:nvPr>
            <p:ph type="pic" sz="quarter" idx="21" hasCustomPrompt="1"/>
          </p:nvPr>
        </p:nvSpPr>
        <p:spPr>
          <a:xfrm>
            <a:off x="6161974" y="1815305"/>
            <a:ext cx="360362" cy="360362"/>
          </a:xfrm>
          <a:noFill/>
        </p:spPr>
        <p:txBody>
          <a:bodyPr anchor="ctr" anchorCtr="0"/>
          <a:lstStyle>
            <a:lvl1pPr marL="0" indent="0" algn="ctr">
              <a:buNone/>
              <a:defRPr sz="1000">
                <a:solidFill>
                  <a:schemeClr val="accent2"/>
                </a:solidFill>
                <a:latin typeface="+mn-lt"/>
              </a:defRPr>
            </a:lvl1pPr>
          </a:lstStyle>
          <a:p>
            <a:pPr lvl="0"/>
            <a:r>
              <a:rPr lang="en-GB"/>
              <a:t>icon</a:t>
            </a:r>
          </a:p>
        </p:txBody>
      </p:sp>
      <p:sp>
        <p:nvSpPr>
          <p:cNvPr id="9" name="Text Placeholder 12">
            <a:extLst>
              <a:ext uri="{FF2B5EF4-FFF2-40B4-BE49-F238E27FC236}">
                <a16:creationId xmlns:a16="http://schemas.microsoft.com/office/drawing/2014/main" id="{EBA31540-DD60-C1FE-84D9-AB3B913DE24E}"/>
              </a:ext>
            </a:extLst>
          </p:cNvPr>
          <p:cNvSpPr>
            <a:spLocks noGrp="1"/>
          </p:cNvSpPr>
          <p:nvPr>
            <p:ph type="body" sz="quarter" idx="45" hasCustomPrompt="1"/>
          </p:nvPr>
        </p:nvSpPr>
        <p:spPr>
          <a:xfrm>
            <a:off x="6167438" y="2354265"/>
            <a:ext cx="2268963"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wo</a:t>
            </a:r>
          </a:p>
        </p:txBody>
      </p:sp>
      <p:sp>
        <p:nvSpPr>
          <p:cNvPr id="6" name="Text Placeholder 12">
            <a:extLst>
              <a:ext uri="{FF2B5EF4-FFF2-40B4-BE49-F238E27FC236}">
                <a16:creationId xmlns:a16="http://schemas.microsoft.com/office/drawing/2014/main" id="{41114B1E-A563-1101-CB97-0755E7E651D0}"/>
              </a:ext>
            </a:extLst>
          </p:cNvPr>
          <p:cNvSpPr>
            <a:spLocks noGrp="1"/>
          </p:cNvSpPr>
          <p:nvPr>
            <p:ph type="body" sz="quarter" idx="15"/>
          </p:nvPr>
        </p:nvSpPr>
        <p:spPr>
          <a:xfrm>
            <a:off x="6161974" y="2716213"/>
            <a:ext cx="2268963" cy="1079500"/>
          </a:xfrm>
        </p:spPr>
        <p:txBody>
          <a:bodyPr/>
          <a:lstStyle/>
          <a:p>
            <a:pPr lvl="0"/>
            <a:r>
              <a:rPr lang="en-US"/>
              <a:t>Click to edit Master text styles</a:t>
            </a:r>
          </a:p>
          <a:p>
            <a:pPr lvl="1"/>
            <a:r>
              <a:rPr lang="en-US"/>
              <a:t>Second level</a:t>
            </a:r>
          </a:p>
          <a:p>
            <a:pPr lvl="2"/>
            <a:r>
              <a:rPr lang="en-US"/>
              <a:t>Third level</a:t>
            </a:r>
            <a:endParaRPr lang="en-GB"/>
          </a:p>
        </p:txBody>
      </p:sp>
      <p:sp>
        <p:nvSpPr>
          <p:cNvPr id="18" name="Picture Placeholder 15">
            <a:extLst>
              <a:ext uri="{FF2B5EF4-FFF2-40B4-BE49-F238E27FC236}">
                <a16:creationId xmlns:a16="http://schemas.microsoft.com/office/drawing/2014/main" id="{222353BC-D3DC-BA3E-0558-E3C87FF2BDCC}"/>
              </a:ext>
              <a:ext uri="{C183D7F6-B498-43B3-948B-1728B52AA6E4}">
                <adec:decorative xmlns:adec="http://schemas.microsoft.com/office/drawing/2017/decorative" val="1"/>
              </a:ext>
            </a:extLst>
          </p:cNvPr>
          <p:cNvSpPr>
            <a:spLocks noGrp="1"/>
          </p:cNvSpPr>
          <p:nvPr>
            <p:ph type="pic" sz="quarter" idx="22" hasCustomPrompt="1"/>
          </p:nvPr>
        </p:nvSpPr>
        <p:spPr>
          <a:xfrm>
            <a:off x="8975724" y="1815305"/>
            <a:ext cx="360362" cy="360362"/>
          </a:xfrm>
          <a:noFill/>
        </p:spPr>
        <p:txBody>
          <a:bodyPr anchor="ctr" anchorCtr="0"/>
          <a:lstStyle>
            <a:lvl1pPr marL="0" indent="0" algn="ctr">
              <a:buNone/>
              <a:defRPr sz="1000">
                <a:solidFill>
                  <a:schemeClr val="accent2"/>
                </a:solidFill>
                <a:latin typeface="+mn-lt"/>
              </a:defRPr>
            </a:lvl1pPr>
          </a:lstStyle>
          <a:p>
            <a:pPr lvl="0"/>
            <a:r>
              <a:rPr lang="en-GB"/>
              <a:t>icon</a:t>
            </a:r>
          </a:p>
        </p:txBody>
      </p:sp>
      <p:sp>
        <p:nvSpPr>
          <p:cNvPr id="15" name="Text Placeholder 12">
            <a:extLst>
              <a:ext uri="{FF2B5EF4-FFF2-40B4-BE49-F238E27FC236}">
                <a16:creationId xmlns:a16="http://schemas.microsoft.com/office/drawing/2014/main" id="{47A08AD4-EF40-3EEE-D086-FAFE12BF8572}"/>
              </a:ext>
            </a:extLst>
          </p:cNvPr>
          <p:cNvSpPr>
            <a:spLocks noGrp="1"/>
          </p:cNvSpPr>
          <p:nvPr>
            <p:ph type="body" sz="quarter" idx="67" hasCustomPrompt="1"/>
          </p:nvPr>
        </p:nvSpPr>
        <p:spPr>
          <a:xfrm>
            <a:off x="8974136" y="2354265"/>
            <a:ext cx="2268963"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hree</a:t>
            </a:r>
          </a:p>
        </p:txBody>
      </p:sp>
      <p:sp>
        <p:nvSpPr>
          <p:cNvPr id="7" name="Text Placeholder 12">
            <a:extLst>
              <a:ext uri="{FF2B5EF4-FFF2-40B4-BE49-F238E27FC236}">
                <a16:creationId xmlns:a16="http://schemas.microsoft.com/office/drawing/2014/main" id="{399FA75D-803B-3E4B-7183-E3994966E24B}"/>
              </a:ext>
            </a:extLst>
          </p:cNvPr>
          <p:cNvSpPr>
            <a:spLocks noGrp="1"/>
          </p:cNvSpPr>
          <p:nvPr>
            <p:ph type="body" sz="quarter" idx="16"/>
          </p:nvPr>
        </p:nvSpPr>
        <p:spPr>
          <a:xfrm>
            <a:off x="8975724" y="2716213"/>
            <a:ext cx="2268963" cy="1079500"/>
          </a:xfrm>
        </p:spPr>
        <p:txBody>
          <a:bodyPr/>
          <a:lstStyle/>
          <a:p>
            <a:pPr lvl="0"/>
            <a:r>
              <a:rPr lang="en-US"/>
              <a:t>Click to edit Master text styles</a:t>
            </a:r>
          </a:p>
          <a:p>
            <a:pPr lvl="1"/>
            <a:r>
              <a:rPr lang="en-US"/>
              <a:t>Second level</a:t>
            </a:r>
          </a:p>
          <a:p>
            <a:pPr lvl="2"/>
            <a:r>
              <a:rPr lang="en-US"/>
              <a:t>Third level</a:t>
            </a:r>
            <a:endParaRPr lang="en-GB"/>
          </a:p>
        </p:txBody>
      </p:sp>
      <p:sp>
        <p:nvSpPr>
          <p:cNvPr id="19" name="Picture Placeholder 15">
            <a:extLst>
              <a:ext uri="{FF2B5EF4-FFF2-40B4-BE49-F238E27FC236}">
                <a16:creationId xmlns:a16="http://schemas.microsoft.com/office/drawing/2014/main" id="{470F1949-6467-FE3B-E626-1F303399B974}"/>
              </a:ext>
              <a:ext uri="{C183D7F6-B498-43B3-948B-1728B52AA6E4}">
                <adec:decorative xmlns:adec="http://schemas.microsoft.com/office/drawing/2017/decorative" val="1"/>
              </a:ext>
            </a:extLst>
          </p:cNvPr>
          <p:cNvSpPr>
            <a:spLocks noGrp="1"/>
          </p:cNvSpPr>
          <p:nvPr>
            <p:ph type="pic" sz="quarter" idx="23" hasCustomPrompt="1"/>
          </p:nvPr>
        </p:nvSpPr>
        <p:spPr>
          <a:xfrm>
            <a:off x="3364614" y="3975101"/>
            <a:ext cx="360362" cy="360362"/>
          </a:xfrm>
          <a:noFill/>
        </p:spPr>
        <p:txBody>
          <a:bodyPr anchor="ctr" anchorCtr="0"/>
          <a:lstStyle>
            <a:lvl1pPr marL="0" indent="0" algn="ctr">
              <a:buNone/>
              <a:defRPr sz="1000">
                <a:solidFill>
                  <a:schemeClr val="accent2"/>
                </a:solidFill>
                <a:latin typeface="+mn-lt"/>
              </a:defRPr>
            </a:lvl1pPr>
          </a:lstStyle>
          <a:p>
            <a:pPr lvl="0"/>
            <a:r>
              <a:rPr lang="en-GB"/>
              <a:t>icon</a:t>
            </a:r>
          </a:p>
        </p:txBody>
      </p:sp>
      <p:sp>
        <p:nvSpPr>
          <p:cNvPr id="22" name="Text Placeholder 12">
            <a:extLst>
              <a:ext uri="{FF2B5EF4-FFF2-40B4-BE49-F238E27FC236}">
                <a16:creationId xmlns:a16="http://schemas.microsoft.com/office/drawing/2014/main" id="{488A00D0-DFE0-4018-7DEA-DB963BB63359}"/>
              </a:ext>
            </a:extLst>
          </p:cNvPr>
          <p:cNvSpPr>
            <a:spLocks noGrp="1"/>
          </p:cNvSpPr>
          <p:nvPr>
            <p:ph type="body" sz="quarter" idx="68" hasCustomPrompt="1"/>
          </p:nvPr>
        </p:nvSpPr>
        <p:spPr>
          <a:xfrm>
            <a:off x="3364615" y="4514851"/>
            <a:ext cx="2268963"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Four</a:t>
            </a:r>
          </a:p>
        </p:txBody>
      </p:sp>
      <p:sp>
        <p:nvSpPr>
          <p:cNvPr id="11" name="Text Placeholder 12">
            <a:extLst>
              <a:ext uri="{FF2B5EF4-FFF2-40B4-BE49-F238E27FC236}">
                <a16:creationId xmlns:a16="http://schemas.microsoft.com/office/drawing/2014/main" id="{956E8744-4447-9B41-C4EF-92000E2207C8}"/>
              </a:ext>
            </a:extLst>
          </p:cNvPr>
          <p:cNvSpPr>
            <a:spLocks noGrp="1"/>
          </p:cNvSpPr>
          <p:nvPr>
            <p:ph type="body" sz="quarter" idx="17"/>
          </p:nvPr>
        </p:nvSpPr>
        <p:spPr>
          <a:xfrm>
            <a:off x="3364614" y="4883149"/>
            <a:ext cx="2268963" cy="1079500"/>
          </a:xfrm>
        </p:spPr>
        <p:txBody>
          <a:bodyPr/>
          <a:lstStyle/>
          <a:p>
            <a:pPr lvl="0"/>
            <a:r>
              <a:rPr lang="en-US"/>
              <a:t>Click to edit Master text styles</a:t>
            </a:r>
          </a:p>
          <a:p>
            <a:pPr lvl="1"/>
            <a:r>
              <a:rPr lang="en-US"/>
              <a:t>Second level</a:t>
            </a:r>
          </a:p>
          <a:p>
            <a:pPr lvl="2"/>
            <a:r>
              <a:rPr lang="en-US"/>
              <a:t>Third level</a:t>
            </a:r>
          </a:p>
        </p:txBody>
      </p:sp>
      <p:sp>
        <p:nvSpPr>
          <p:cNvPr id="20" name="Picture Placeholder 15">
            <a:extLst>
              <a:ext uri="{FF2B5EF4-FFF2-40B4-BE49-F238E27FC236}">
                <a16:creationId xmlns:a16="http://schemas.microsoft.com/office/drawing/2014/main" id="{ED0BCDCE-72FA-F3E6-C968-84566E1BEF5B}"/>
              </a:ext>
              <a:ext uri="{C183D7F6-B498-43B3-948B-1728B52AA6E4}">
                <adec:decorative xmlns:adec="http://schemas.microsoft.com/office/drawing/2017/decorative" val="1"/>
              </a:ext>
            </a:extLst>
          </p:cNvPr>
          <p:cNvSpPr>
            <a:spLocks noGrp="1"/>
          </p:cNvSpPr>
          <p:nvPr>
            <p:ph type="pic" sz="quarter" idx="24" hasCustomPrompt="1"/>
          </p:nvPr>
        </p:nvSpPr>
        <p:spPr>
          <a:xfrm>
            <a:off x="6161974" y="3975101"/>
            <a:ext cx="360362" cy="360362"/>
          </a:xfrm>
          <a:noFill/>
        </p:spPr>
        <p:txBody>
          <a:bodyPr anchor="ctr" anchorCtr="0"/>
          <a:lstStyle>
            <a:lvl1pPr marL="0" indent="0" algn="ctr">
              <a:buNone/>
              <a:defRPr sz="1000">
                <a:solidFill>
                  <a:schemeClr val="accent2"/>
                </a:solidFill>
                <a:latin typeface="+mn-lt"/>
              </a:defRPr>
            </a:lvl1pPr>
          </a:lstStyle>
          <a:p>
            <a:pPr lvl="0"/>
            <a:r>
              <a:rPr lang="en-GB"/>
              <a:t>icon</a:t>
            </a:r>
          </a:p>
        </p:txBody>
      </p:sp>
      <p:sp>
        <p:nvSpPr>
          <p:cNvPr id="23" name="Text Placeholder 12">
            <a:extLst>
              <a:ext uri="{FF2B5EF4-FFF2-40B4-BE49-F238E27FC236}">
                <a16:creationId xmlns:a16="http://schemas.microsoft.com/office/drawing/2014/main" id="{35021A18-46DC-3008-76D5-10DA7AF4F84A}"/>
              </a:ext>
            </a:extLst>
          </p:cNvPr>
          <p:cNvSpPr>
            <a:spLocks noGrp="1"/>
          </p:cNvSpPr>
          <p:nvPr>
            <p:ph type="body" sz="quarter" idx="69" hasCustomPrompt="1"/>
          </p:nvPr>
        </p:nvSpPr>
        <p:spPr>
          <a:xfrm>
            <a:off x="6167438" y="4514851"/>
            <a:ext cx="2268963"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Five</a:t>
            </a:r>
          </a:p>
        </p:txBody>
      </p:sp>
      <p:sp>
        <p:nvSpPr>
          <p:cNvPr id="12" name="Text Placeholder 12">
            <a:extLst>
              <a:ext uri="{FF2B5EF4-FFF2-40B4-BE49-F238E27FC236}">
                <a16:creationId xmlns:a16="http://schemas.microsoft.com/office/drawing/2014/main" id="{92D22F55-B345-13EA-70B9-B62C67DD2FB7}"/>
              </a:ext>
            </a:extLst>
          </p:cNvPr>
          <p:cNvSpPr>
            <a:spLocks noGrp="1"/>
          </p:cNvSpPr>
          <p:nvPr>
            <p:ph type="body" sz="quarter" idx="18"/>
          </p:nvPr>
        </p:nvSpPr>
        <p:spPr>
          <a:xfrm>
            <a:off x="6161974" y="4883150"/>
            <a:ext cx="2268963" cy="1079500"/>
          </a:xfrm>
        </p:spPr>
        <p:txBody>
          <a:bodyPr/>
          <a:lstStyle/>
          <a:p>
            <a:pPr lvl="0"/>
            <a:r>
              <a:rPr lang="en-US"/>
              <a:t>Click to edit Master text styles</a:t>
            </a:r>
          </a:p>
          <a:p>
            <a:pPr lvl="1"/>
            <a:r>
              <a:rPr lang="en-US"/>
              <a:t>Second level</a:t>
            </a:r>
          </a:p>
          <a:p>
            <a:pPr lvl="2"/>
            <a:r>
              <a:rPr lang="en-US"/>
              <a:t>Third level</a:t>
            </a:r>
            <a:endParaRPr lang="en-GB"/>
          </a:p>
        </p:txBody>
      </p:sp>
      <p:sp>
        <p:nvSpPr>
          <p:cNvPr id="21" name="Picture Placeholder 15">
            <a:extLst>
              <a:ext uri="{FF2B5EF4-FFF2-40B4-BE49-F238E27FC236}">
                <a16:creationId xmlns:a16="http://schemas.microsoft.com/office/drawing/2014/main" id="{95AC45EB-6812-379E-D631-F1DE40638311}"/>
              </a:ext>
              <a:ext uri="{C183D7F6-B498-43B3-948B-1728B52AA6E4}">
                <adec:decorative xmlns:adec="http://schemas.microsoft.com/office/drawing/2017/decorative" val="1"/>
              </a:ext>
            </a:extLst>
          </p:cNvPr>
          <p:cNvSpPr>
            <a:spLocks noGrp="1"/>
          </p:cNvSpPr>
          <p:nvPr>
            <p:ph type="pic" sz="quarter" idx="25" hasCustomPrompt="1"/>
          </p:nvPr>
        </p:nvSpPr>
        <p:spPr>
          <a:xfrm>
            <a:off x="8975724" y="3975101"/>
            <a:ext cx="360362" cy="360362"/>
          </a:xfrm>
          <a:noFill/>
        </p:spPr>
        <p:txBody>
          <a:bodyPr anchor="ctr" anchorCtr="0"/>
          <a:lstStyle>
            <a:lvl1pPr marL="0" indent="0" algn="ctr">
              <a:buNone/>
              <a:defRPr sz="1000">
                <a:solidFill>
                  <a:schemeClr val="accent2"/>
                </a:solidFill>
                <a:latin typeface="+mn-lt"/>
              </a:defRPr>
            </a:lvl1pPr>
          </a:lstStyle>
          <a:p>
            <a:pPr lvl="0"/>
            <a:r>
              <a:rPr lang="en-GB"/>
              <a:t>icon</a:t>
            </a:r>
          </a:p>
        </p:txBody>
      </p:sp>
      <p:sp>
        <p:nvSpPr>
          <p:cNvPr id="24" name="Text Placeholder 12">
            <a:extLst>
              <a:ext uri="{FF2B5EF4-FFF2-40B4-BE49-F238E27FC236}">
                <a16:creationId xmlns:a16="http://schemas.microsoft.com/office/drawing/2014/main" id="{69000ADE-09E6-91EC-6A61-155867714C5E}"/>
              </a:ext>
            </a:extLst>
          </p:cNvPr>
          <p:cNvSpPr>
            <a:spLocks noGrp="1"/>
          </p:cNvSpPr>
          <p:nvPr>
            <p:ph type="body" sz="quarter" idx="70" hasCustomPrompt="1"/>
          </p:nvPr>
        </p:nvSpPr>
        <p:spPr>
          <a:xfrm>
            <a:off x="8974136" y="4514851"/>
            <a:ext cx="2268963"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Six</a:t>
            </a:r>
          </a:p>
        </p:txBody>
      </p:sp>
      <p:sp>
        <p:nvSpPr>
          <p:cNvPr id="14" name="Text Placeholder 12">
            <a:extLst>
              <a:ext uri="{FF2B5EF4-FFF2-40B4-BE49-F238E27FC236}">
                <a16:creationId xmlns:a16="http://schemas.microsoft.com/office/drawing/2014/main" id="{0876B04D-418A-408D-4B86-1F152EA3B9AC}"/>
              </a:ext>
            </a:extLst>
          </p:cNvPr>
          <p:cNvSpPr>
            <a:spLocks noGrp="1"/>
          </p:cNvSpPr>
          <p:nvPr>
            <p:ph type="body" sz="quarter" idx="19"/>
          </p:nvPr>
        </p:nvSpPr>
        <p:spPr>
          <a:xfrm>
            <a:off x="8975724" y="4883150"/>
            <a:ext cx="2268963" cy="1079500"/>
          </a:xfrm>
        </p:spPr>
        <p:txBody>
          <a:bodyPr/>
          <a:lstStyle/>
          <a:p>
            <a:pPr lvl="0"/>
            <a:r>
              <a:rPr lang="en-US"/>
              <a:t>Click to edit Master text styles</a:t>
            </a:r>
          </a:p>
          <a:p>
            <a:pPr lvl="1"/>
            <a:r>
              <a:rPr lang="en-US"/>
              <a:t>Second level</a:t>
            </a:r>
          </a:p>
          <a:p>
            <a:pPr lvl="2"/>
            <a:r>
              <a:rPr lang="en-US"/>
              <a:t>Third level</a:t>
            </a:r>
            <a:endParaRPr lang="en-GB"/>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5 Clarivate. All rights reserved.</a:t>
            </a:r>
          </a:p>
        </p:txBody>
      </p:sp>
      <p:sp>
        <p:nvSpPr>
          <p:cNvPr id="26" name="Text Placeholder 50">
            <a:extLst>
              <a:ext uri="{FF2B5EF4-FFF2-40B4-BE49-F238E27FC236}">
                <a16:creationId xmlns:a16="http://schemas.microsoft.com/office/drawing/2014/main" id="{1CD60F5F-1A30-45AD-3B55-764EF64C6E0B}"/>
              </a:ext>
              <a:ext uri="{C183D7F6-B498-43B3-948B-1728B52AA6E4}">
                <adec:decorative xmlns:adec="http://schemas.microsoft.com/office/drawing/2017/decorative" val="1"/>
              </a:ext>
            </a:extLst>
          </p:cNvPr>
          <p:cNvSpPr>
            <a:spLocks noGrp="1"/>
          </p:cNvSpPr>
          <p:nvPr>
            <p:ph type="body" sz="quarter" idx="12" hasCustomPrompt="1"/>
          </p:nvPr>
        </p:nvSpPr>
        <p:spPr>
          <a:xfrm>
            <a:off x="1" y="-680886"/>
            <a:ext cx="4716000" cy="607071"/>
          </a:xfrm>
          <a:solidFill>
            <a:schemeClr val="accent3"/>
          </a:solidFill>
        </p:spPr>
        <p:txBody>
          <a:bodyPr wrap="square" lIns="72000" tIns="72000" rIns="72000" bIns="72000">
            <a:spAutoFit/>
          </a:bodyPr>
          <a:lstStyle>
            <a:lvl1pPr marL="0" indent="0">
              <a:buNone/>
              <a:defRPr/>
            </a:lvl1pPr>
            <a:lvl2pPr marL="180000" indent="0">
              <a:buNone/>
              <a:defRPr/>
            </a:lvl2pPr>
            <a:lvl3pPr marL="360000" indent="0">
              <a:buNone/>
              <a:defRPr/>
            </a:lvl3pPr>
            <a:lvl4pPr marL="540000" indent="0">
              <a:buNone/>
              <a:defRPr/>
            </a:lvl4pPr>
            <a:lvl5pPr marL="720000" indent="0">
              <a:buNone/>
              <a:defRPr/>
            </a:lvl5pPr>
          </a:lstStyle>
          <a:p>
            <a:pPr lvl="0"/>
            <a:r>
              <a:rPr lang="en-GB"/>
              <a:t>Lorem ipsum dolor sit amet, consectetuer adipiscing elit. Maecenas porttitor </a:t>
            </a:r>
            <a:r>
              <a:rPr lang="en-GB" err="1"/>
              <a:t>congue</a:t>
            </a:r>
            <a:r>
              <a:rPr lang="en-GB"/>
              <a:t> </a:t>
            </a:r>
            <a:r>
              <a:rPr lang="en-GB" err="1"/>
              <a:t>massa</a:t>
            </a:r>
            <a:r>
              <a:rPr lang="en-GB"/>
              <a:t> </a:t>
            </a:r>
            <a:r>
              <a:rPr lang="en-GB" err="1"/>
              <a:t>posuere</a:t>
            </a:r>
            <a:r>
              <a:rPr lang="en-GB"/>
              <a:t>.</a:t>
            </a:r>
          </a:p>
        </p:txBody>
      </p:sp>
    </p:spTree>
    <p:extLst>
      <p:ext uri="{BB962C8B-B14F-4D97-AF65-F5344CB8AC3E}">
        <p14:creationId xmlns:p14="http://schemas.microsoft.com/office/powerpoint/2010/main" val="282019891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Title Bar-PQ Red">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hqprint">
            <a:alphaModFix amt="3000"/>
            <a:extLst>
              <a:ext uri="{28A0092B-C50C-407E-A947-70E740481C1C}">
                <a14:useLocalDpi xmlns:a14="http://schemas.microsoft.com/office/drawing/2010/main"/>
              </a:ext>
            </a:extLst>
          </a:blip>
          <a:srcRect l="4048" t="22189" r="7617" b="558"/>
          <a:stretch/>
        </p:blipFill>
        <p:spPr>
          <a:xfrm>
            <a:off x="0" y="0"/>
            <a:ext cx="9144000" cy="6858000"/>
          </a:xfrm>
          <a:prstGeom prst="rect">
            <a:avLst/>
          </a:prstGeom>
        </p:spPr>
      </p:pic>
      <p:sp>
        <p:nvSpPr>
          <p:cNvPr id="2" name="Title 1"/>
          <p:cNvSpPr>
            <a:spLocks noGrp="1"/>
          </p:cNvSpPr>
          <p:nvPr>
            <p:ph type="title"/>
          </p:nvPr>
        </p:nvSpPr>
        <p:spPr>
          <a:xfrm>
            <a:off x="0" y="2788920"/>
            <a:ext cx="12190268" cy="1280160"/>
          </a:xfrm>
          <a:solidFill>
            <a:srgbClr val="C21C22"/>
          </a:solidFill>
        </p:spPr>
        <p:txBody>
          <a:bodyPr tIns="274320" bIns="274320" anchor="b">
            <a:spAutoFit/>
          </a:bodyPr>
          <a:lstStyle>
            <a:lvl1pPr algn="ctr">
              <a:lnSpc>
                <a:spcPct val="100000"/>
              </a:lnSpc>
              <a:defRPr sz="4800" b="0" i="0">
                <a:solidFill>
                  <a:schemeClr val="bg1"/>
                </a:solidFill>
                <a:latin typeface="+mj-lt"/>
                <a:ea typeface="Open Sans Light" charset="0"/>
                <a:cs typeface="Open Sans Light" charset="0"/>
              </a:defRPr>
            </a:lvl1pPr>
          </a:lstStyle>
          <a:p>
            <a:r>
              <a:rPr lang="en-US"/>
              <a:t>Click to edit Master title style</a:t>
            </a:r>
          </a:p>
        </p:txBody>
      </p:sp>
      <p:sp>
        <p:nvSpPr>
          <p:cNvPr id="6" name="Slide Number Placeholder 5"/>
          <p:cNvSpPr>
            <a:spLocks noGrp="1"/>
          </p:cNvSpPr>
          <p:nvPr>
            <p:ph type="sldNum" sz="quarter" idx="12"/>
          </p:nvPr>
        </p:nvSpPr>
        <p:spPr>
          <a:xfrm>
            <a:off x="11708296" y="6420193"/>
            <a:ext cx="483704" cy="437807"/>
          </a:xfrm>
        </p:spPr>
        <p:txBody>
          <a:bodyPr/>
          <a:lstStyle>
            <a:lvl1pPr>
              <a:defRPr b="1" i="0">
                <a:solidFill>
                  <a:schemeClr val="tx1"/>
                </a:solidFill>
                <a:latin typeface="+mn-lt"/>
                <a:ea typeface="Open Sans Semibold" charset="0"/>
                <a:cs typeface="Open Sans Semibold" charset="0"/>
              </a:defRPr>
            </a:lvl1pPr>
          </a:lstStyle>
          <a:p>
            <a:fld id="{6476DBEE-108B-C54B-A71F-0F1E32E29253}" type="slidenum">
              <a:rPr lang="en-US" smtClean="0"/>
              <a:pPr/>
              <a:t>‹#›</a:t>
            </a:fld>
            <a:endParaRPr lang="en-US"/>
          </a:p>
        </p:txBody>
      </p:sp>
    </p:spTree>
    <p:extLst>
      <p:ext uri="{BB962C8B-B14F-4D97-AF65-F5344CB8AC3E}">
        <p14:creationId xmlns:p14="http://schemas.microsoft.com/office/powerpoint/2010/main" val="397100814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Main text 1 column white">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1AB9627D-36D4-F74B-893E-0B2B44A3E5E5}"/>
              </a:ext>
            </a:extLst>
          </p:cNvPr>
          <p:cNvSpPr>
            <a:spLocks noGrp="1"/>
          </p:cNvSpPr>
          <p:nvPr>
            <p:ph type="title" hasCustomPrompt="1"/>
          </p:nvPr>
        </p:nvSpPr>
        <p:spPr>
          <a:xfrm>
            <a:off x="576000" y="816951"/>
            <a:ext cx="7283711"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9" name="Text Placeholder 13">
            <a:extLst>
              <a:ext uri="{FF2B5EF4-FFF2-40B4-BE49-F238E27FC236}">
                <a16:creationId xmlns:a16="http://schemas.microsoft.com/office/drawing/2014/main" id="{C708081B-2A5A-E841-B642-F43CA803E59D}"/>
              </a:ext>
            </a:extLst>
          </p:cNvPr>
          <p:cNvSpPr>
            <a:spLocks noGrp="1"/>
          </p:cNvSpPr>
          <p:nvPr>
            <p:ph type="body" sz="quarter" idx="30" hasCustomPrompt="1"/>
          </p:nvPr>
        </p:nvSpPr>
        <p:spPr>
          <a:xfrm>
            <a:off x="576000" y="1828800"/>
            <a:ext cx="7283713" cy="42660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8D6893CA-DBDC-5540-A26C-AE48C0517D8C}"/>
              </a:ext>
            </a:extLst>
          </p:cNvPr>
          <p:cNvSpPr>
            <a:spLocks noGrp="1"/>
          </p:cNvSpPr>
          <p:nvPr>
            <p:ph type="ftr" sz="quarter" idx="32"/>
          </p:nvPr>
        </p:nvSpPr>
        <p:spPr/>
        <p:txBody>
          <a:bodyPr/>
          <a:lstStyle/>
          <a:p>
            <a:endParaRPr lang="en-GB"/>
          </a:p>
        </p:txBody>
      </p:sp>
      <p:sp>
        <p:nvSpPr>
          <p:cNvPr id="3" name="Slide Number Placeholder 2">
            <a:extLst>
              <a:ext uri="{FF2B5EF4-FFF2-40B4-BE49-F238E27FC236}">
                <a16:creationId xmlns:a16="http://schemas.microsoft.com/office/drawing/2014/main" id="{6CFAE913-424F-5646-A9A0-8E9C42C568CD}"/>
              </a:ext>
            </a:extLst>
          </p:cNvPr>
          <p:cNvSpPr>
            <a:spLocks noGrp="1"/>
          </p:cNvSpPr>
          <p:nvPr>
            <p:ph type="sldNum" sz="quarter" idx="33"/>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326912007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itle only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11090274" cy="443198"/>
          </a:xfrm>
        </p:spPr>
        <p:txBody>
          <a:bodyPr>
            <a:spAutoFit/>
          </a:bodyPr>
          <a:lstStyle>
            <a:lvl1pPr>
              <a:defRPr>
                <a:solidFill>
                  <a:schemeClr val="bg2"/>
                </a:solidFill>
              </a:defRPr>
            </a:lvl1pPr>
          </a:lstStyle>
          <a:p>
            <a:r>
              <a:rPr lang="en-US"/>
              <a:t>Header avenir demi 32pt</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4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US" smtClean="0"/>
              <a:pPr/>
              <a:t>‹#›</a:t>
            </a:fld>
            <a:endParaRPr lang="en-US"/>
          </a:p>
        </p:txBody>
      </p:sp>
    </p:spTree>
    <p:extLst>
      <p:ext uri="{BB962C8B-B14F-4D97-AF65-F5344CB8AC3E}">
        <p14:creationId xmlns:p14="http://schemas.microsoft.com/office/powerpoint/2010/main" val="353732010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Mint Pattern - 1 line only">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52BD9C-D948-D0D2-FB62-231BD39CDFEA}"/>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83" t="322" r="216" b="105"/>
          <a:stretch/>
        </p:blipFill>
        <p:spPr>
          <a:xfrm>
            <a:off x="0" y="0"/>
            <a:ext cx="12190728" cy="6858000"/>
          </a:xfrm>
          <a:prstGeom prst="rect">
            <a:avLst/>
          </a:prstGeom>
        </p:spPr>
      </p:pic>
      <p:grpSp>
        <p:nvGrpSpPr>
          <p:cNvPr id="6" name="Graphic 13">
            <a:extLst>
              <a:ext uri="{FF2B5EF4-FFF2-40B4-BE49-F238E27FC236}">
                <a16:creationId xmlns:a16="http://schemas.microsoft.com/office/drawing/2014/main" id="{D52C985B-47D7-433E-A866-3C0AB39DE64B}"/>
              </a:ext>
              <a:ext uri="{C183D7F6-B498-43B3-948B-1728B52AA6E4}">
                <adec:decorative xmlns:adec="http://schemas.microsoft.com/office/drawing/2017/decorative" val="1"/>
              </a:ext>
            </a:extLst>
          </p:cNvPr>
          <p:cNvGrpSpPr/>
          <p:nvPr userDrawn="1"/>
        </p:nvGrpSpPr>
        <p:grpSpPr>
          <a:xfrm>
            <a:off x="5916434" y="371476"/>
            <a:ext cx="341492" cy="376238"/>
            <a:chOff x="5408631" y="362875"/>
            <a:chExt cx="214296" cy="236100"/>
          </a:xfrm>
          <a:solidFill>
            <a:schemeClr val="tx1"/>
          </a:solidFill>
        </p:grpSpPr>
        <p:sp>
          <p:nvSpPr>
            <p:cNvPr id="8" name="Freeform: Shape 7">
              <a:extLst>
                <a:ext uri="{FF2B5EF4-FFF2-40B4-BE49-F238E27FC236}">
                  <a16:creationId xmlns:a16="http://schemas.microsoft.com/office/drawing/2014/main" id="{051CBA01-B8A4-42BF-DAC5-B83D0B7BC3FC}"/>
                </a:ext>
              </a:extLst>
            </p:cNvPr>
            <p:cNvSpPr/>
            <p:nvPr/>
          </p:nvSpPr>
          <p:spPr>
            <a:xfrm>
              <a:off x="5474917" y="481070"/>
              <a:ext cx="147913" cy="117904"/>
            </a:xfrm>
            <a:custGeom>
              <a:avLst/>
              <a:gdLst>
                <a:gd name="connsiteX0" fmla="*/ 97 w 147913"/>
                <a:gd name="connsiteY0" fmla="*/ 68342 h 117904"/>
                <a:gd name="connsiteX1" fmla="*/ 14036 w 147913"/>
                <a:gd name="connsiteY1" fmla="*/ 98061 h 117904"/>
                <a:gd name="connsiteX2" fmla="*/ 27105 w 147913"/>
                <a:gd name="connsiteY2" fmla="*/ 117905 h 117904"/>
                <a:gd name="connsiteX3" fmla="*/ 147913 w 147913"/>
                <a:gd name="connsiteY3" fmla="*/ 48111 h 117904"/>
                <a:gd name="connsiteX4" fmla="*/ 118486 w 147913"/>
                <a:gd name="connsiteY4" fmla="*/ 0 h 117904"/>
                <a:gd name="connsiteX5" fmla="*/ 0 w 147913"/>
                <a:gd name="connsiteY5" fmla="*/ 68536 h 117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13" h="117904">
                  <a:moveTo>
                    <a:pt x="97" y="68342"/>
                  </a:moveTo>
                  <a:cubicBezTo>
                    <a:pt x="3872" y="78506"/>
                    <a:pt x="8519" y="88477"/>
                    <a:pt x="14036" y="98061"/>
                  </a:cubicBezTo>
                  <a:cubicBezTo>
                    <a:pt x="18005" y="104933"/>
                    <a:pt x="22361" y="111516"/>
                    <a:pt x="27105" y="117905"/>
                  </a:cubicBezTo>
                  <a:cubicBezTo>
                    <a:pt x="73957" y="106386"/>
                    <a:pt x="115582" y="81798"/>
                    <a:pt x="147913" y="48111"/>
                  </a:cubicBezTo>
                  <a:cubicBezTo>
                    <a:pt x="140460" y="30589"/>
                    <a:pt x="130489" y="14424"/>
                    <a:pt x="118486" y="0"/>
                  </a:cubicBezTo>
                  <a:cubicBezTo>
                    <a:pt x="89058" y="35526"/>
                    <a:pt x="47336" y="60501"/>
                    <a:pt x="0" y="68536"/>
                  </a:cubicBezTo>
                  <a:close/>
                </a:path>
              </a:pathLst>
            </a:custGeom>
            <a:grpFill/>
            <a:ln w="965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Shape 9">
              <a:extLst>
                <a:ext uri="{FF2B5EF4-FFF2-40B4-BE49-F238E27FC236}">
                  <a16:creationId xmlns:a16="http://schemas.microsoft.com/office/drawing/2014/main" id="{1BCC4840-F4D7-AF6C-7D05-F1207870A5E0}"/>
                </a:ext>
              </a:extLst>
            </p:cNvPr>
            <p:cNvSpPr/>
            <p:nvPr/>
          </p:nvSpPr>
          <p:spPr>
            <a:xfrm>
              <a:off x="5475014" y="362875"/>
              <a:ext cx="147913" cy="118098"/>
            </a:xfrm>
            <a:custGeom>
              <a:avLst/>
              <a:gdLst>
                <a:gd name="connsiteX0" fmla="*/ 27008 w 147913"/>
                <a:gd name="connsiteY0" fmla="*/ 0 h 118098"/>
                <a:gd name="connsiteX1" fmla="*/ 0 w 147913"/>
                <a:gd name="connsiteY1" fmla="*/ 49563 h 118098"/>
                <a:gd name="connsiteX2" fmla="*/ 118486 w 147913"/>
                <a:gd name="connsiteY2" fmla="*/ 118099 h 118098"/>
                <a:gd name="connsiteX3" fmla="*/ 147913 w 147913"/>
                <a:gd name="connsiteY3" fmla="*/ 69988 h 118098"/>
                <a:gd name="connsiteX4" fmla="*/ 27008 w 147913"/>
                <a:gd name="connsiteY4" fmla="*/ 0 h 1180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913" h="118098">
                  <a:moveTo>
                    <a:pt x="27008" y="0"/>
                  </a:moveTo>
                  <a:cubicBezTo>
                    <a:pt x="15779" y="15004"/>
                    <a:pt x="6679" y="31654"/>
                    <a:pt x="0" y="49563"/>
                  </a:cubicBezTo>
                  <a:cubicBezTo>
                    <a:pt x="47433" y="57597"/>
                    <a:pt x="89058" y="82572"/>
                    <a:pt x="118486" y="118099"/>
                  </a:cubicBezTo>
                  <a:cubicBezTo>
                    <a:pt x="130489" y="103675"/>
                    <a:pt x="140460" y="87412"/>
                    <a:pt x="147913" y="69988"/>
                  </a:cubicBezTo>
                  <a:cubicBezTo>
                    <a:pt x="115582" y="36107"/>
                    <a:pt x="73860" y="11519"/>
                    <a:pt x="27008" y="0"/>
                  </a:cubicBezTo>
                  <a:close/>
                </a:path>
              </a:pathLst>
            </a:custGeom>
            <a:grpFill/>
            <a:ln w="965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Shape 10">
              <a:extLst>
                <a:ext uri="{FF2B5EF4-FFF2-40B4-BE49-F238E27FC236}">
                  <a16:creationId xmlns:a16="http://schemas.microsoft.com/office/drawing/2014/main" id="{81B78DFB-CACF-8A93-6F50-4B852508181E}"/>
                </a:ext>
              </a:extLst>
            </p:cNvPr>
            <p:cNvSpPr/>
            <p:nvPr/>
          </p:nvSpPr>
          <p:spPr>
            <a:xfrm>
              <a:off x="5408631" y="409727"/>
              <a:ext cx="66383" cy="142589"/>
            </a:xfrm>
            <a:custGeom>
              <a:avLst/>
              <a:gdLst>
                <a:gd name="connsiteX0" fmla="*/ 66383 w 66383"/>
                <a:gd name="connsiteY0" fmla="*/ 139685 h 142589"/>
                <a:gd name="connsiteX1" fmla="*/ 60769 w 66383"/>
                <a:gd name="connsiteY1" fmla="*/ 20328 h 142589"/>
                <a:gd name="connsiteX2" fmla="*/ 66383 w 66383"/>
                <a:gd name="connsiteY2" fmla="*/ 2710 h 142589"/>
                <a:gd name="connsiteX3" fmla="*/ 33567 w 66383"/>
                <a:gd name="connsiteY3" fmla="*/ 0 h 142589"/>
                <a:gd name="connsiteX4" fmla="*/ 9948 w 66383"/>
                <a:gd name="connsiteY4" fmla="*/ 1452 h 142589"/>
                <a:gd name="connsiteX5" fmla="*/ 9948 w 66383"/>
                <a:gd name="connsiteY5" fmla="*/ 141137 h 142589"/>
                <a:gd name="connsiteX6" fmla="*/ 33567 w 66383"/>
                <a:gd name="connsiteY6" fmla="*/ 142589 h 142589"/>
                <a:gd name="connsiteX7" fmla="*/ 66383 w 66383"/>
                <a:gd name="connsiteY7" fmla="*/ 139879 h 142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383" h="142589">
                  <a:moveTo>
                    <a:pt x="66383" y="139685"/>
                  </a:moveTo>
                  <a:cubicBezTo>
                    <a:pt x="52153" y="101642"/>
                    <a:pt x="50024" y="60308"/>
                    <a:pt x="60769" y="20328"/>
                  </a:cubicBezTo>
                  <a:cubicBezTo>
                    <a:pt x="62414" y="14327"/>
                    <a:pt x="64254" y="8422"/>
                    <a:pt x="66383" y="2710"/>
                  </a:cubicBezTo>
                  <a:cubicBezTo>
                    <a:pt x="55735" y="871"/>
                    <a:pt x="44796" y="0"/>
                    <a:pt x="33567" y="0"/>
                  </a:cubicBezTo>
                  <a:cubicBezTo>
                    <a:pt x="25630" y="0"/>
                    <a:pt x="17692" y="484"/>
                    <a:pt x="9948" y="1452"/>
                  </a:cubicBezTo>
                  <a:cubicBezTo>
                    <a:pt x="-3024" y="46368"/>
                    <a:pt x="-3605" y="94769"/>
                    <a:pt x="9948" y="141137"/>
                  </a:cubicBezTo>
                  <a:cubicBezTo>
                    <a:pt x="17692" y="142105"/>
                    <a:pt x="25533" y="142589"/>
                    <a:pt x="33567" y="142589"/>
                  </a:cubicBezTo>
                  <a:cubicBezTo>
                    <a:pt x="44700" y="142589"/>
                    <a:pt x="55735" y="141621"/>
                    <a:pt x="66383" y="139879"/>
                  </a:cubicBezTo>
                  <a:close/>
                </a:path>
              </a:pathLst>
            </a:custGeom>
            <a:grpFill/>
            <a:ln w="965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9" name="Text Placeholder 9">
            <a:extLst>
              <a:ext uri="{FF2B5EF4-FFF2-40B4-BE49-F238E27FC236}">
                <a16:creationId xmlns:a16="http://schemas.microsoft.com/office/drawing/2014/main" id="{41718DC0-4644-0FF2-8F4A-B6CD6022D8C8}"/>
              </a:ext>
            </a:extLst>
          </p:cNvPr>
          <p:cNvSpPr>
            <a:spLocks noGrp="1"/>
          </p:cNvSpPr>
          <p:nvPr>
            <p:ph type="body" sz="quarter" idx="17" hasCustomPrompt="1"/>
          </p:nvPr>
        </p:nvSpPr>
        <p:spPr>
          <a:xfrm>
            <a:off x="1487487" y="3659011"/>
            <a:ext cx="9213525" cy="281703"/>
          </a:xfrm>
          <a:prstGeom prst="rect">
            <a:avLst/>
          </a:prstGeom>
        </p:spPr>
        <p:txBody>
          <a:bodyPr lIns="0" tIns="36000" rIns="0" bIns="0" anchor="t" anchorCtr="0">
            <a:noAutofit/>
          </a:bodyPr>
          <a:lstStyle>
            <a:lvl1pPr marL="0" indent="0" algn="ctr">
              <a:lnSpc>
                <a:spcPct val="95000"/>
              </a:lnSpc>
              <a:buNone/>
              <a:defRPr sz="2000">
                <a:solidFill>
                  <a:schemeClr val="tx1"/>
                </a:solidFill>
                <a:latin typeface="+mn-lt"/>
              </a:defRPr>
            </a:lvl1pPr>
          </a:lstStyle>
          <a:p>
            <a:pPr lvl="0"/>
            <a:r>
              <a:rPr lang="en-US"/>
              <a:t>Section break subtitle here</a:t>
            </a:r>
          </a:p>
        </p:txBody>
      </p:sp>
      <p:sp>
        <p:nvSpPr>
          <p:cNvPr id="3" name="Footer Placeholder 4">
            <a:extLst>
              <a:ext uri="{FF2B5EF4-FFF2-40B4-BE49-F238E27FC236}">
                <a16:creationId xmlns:a16="http://schemas.microsoft.com/office/drawing/2014/main" id="{C15ABA69-B3D5-F3B7-4E43-69991F1131EC}"/>
              </a:ext>
              <a:ext uri="{C183D7F6-B498-43B3-948B-1728B52AA6E4}">
                <adec:decorative xmlns:adec="http://schemas.microsoft.com/office/drawing/2017/decorative" val="1"/>
              </a:ext>
            </a:extLst>
          </p:cNvPr>
          <p:cNvSpPr>
            <a:spLocks noGrp="1"/>
          </p:cNvSpPr>
          <p:nvPr>
            <p:ph type="ftr" sz="quarter" idx="3"/>
          </p:nvPr>
        </p:nvSpPr>
        <p:spPr>
          <a:xfrm>
            <a:off x="8040688" y="6348353"/>
            <a:ext cx="3292473" cy="215901"/>
          </a:xfrm>
          <a:prstGeom prst="rect">
            <a:avLst/>
          </a:prstGeom>
        </p:spPr>
        <p:txBody>
          <a:bodyPr vert="horz" lIns="0" tIns="0" rIns="0" bIns="0" rtlCol="0" anchor="ctr"/>
          <a:lstStyle>
            <a:lvl1pPr algn="r">
              <a:defRPr sz="900">
                <a:solidFill>
                  <a:schemeClr val="tx1"/>
                </a:solidFill>
              </a:defRPr>
            </a:lvl1pPr>
          </a:lstStyle>
          <a:p>
            <a:r>
              <a:rPr lang="en-US"/>
              <a:t>© 2025 Clarivate. All rights reserved.</a:t>
            </a:r>
          </a:p>
        </p:txBody>
      </p:sp>
      <p:sp>
        <p:nvSpPr>
          <p:cNvPr id="4" name="Slide Number Placeholder 5">
            <a:extLst>
              <a:ext uri="{FF2B5EF4-FFF2-40B4-BE49-F238E27FC236}">
                <a16:creationId xmlns:a16="http://schemas.microsoft.com/office/drawing/2014/main" id="{365B9859-F00E-8C63-F91B-5D91A8A28A0E}"/>
              </a:ext>
              <a:ext uri="{C183D7F6-B498-43B3-948B-1728B52AA6E4}">
                <adec:decorative xmlns:adec="http://schemas.microsoft.com/office/drawing/2017/decorative" val="1"/>
              </a:ext>
            </a:extLst>
          </p:cNvPr>
          <p:cNvSpPr>
            <a:spLocks noGrp="1"/>
          </p:cNvSpPr>
          <p:nvPr>
            <p:ph type="sldNum" sz="quarter" idx="4"/>
          </p:nvPr>
        </p:nvSpPr>
        <p:spPr>
          <a:xfrm>
            <a:off x="11507792" y="6348353"/>
            <a:ext cx="216000" cy="215900"/>
          </a:xfrm>
          <a:prstGeom prst="rect">
            <a:avLst/>
          </a:prstGeom>
        </p:spPr>
        <p:txBody>
          <a:bodyPr vert="horz" lIns="0" tIns="0" rIns="0" bIns="0" rtlCol="0" anchor="ctr"/>
          <a:lstStyle>
            <a:lvl1pPr algn="l">
              <a:defRPr sz="900">
                <a:solidFill>
                  <a:schemeClr val="tx1"/>
                </a:solidFill>
              </a:defRPr>
            </a:lvl1pPr>
          </a:lstStyle>
          <a:p>
            <a:fld id="{F59CD943-D024-467A-B36E-F11E1285ED75}" type="slidenum">
              <a:rPr lang="en-GB" smtClean="0"/>
              <a:pPr/>
              <a:t>‹#›</a:t>
            </a:fld>
            <a:endParaRPr lang="en-GB"/>
          </a:p>
        </p:txBody>
      </p:sp>
      <p:sp>
        <p:nvSpPr>
          <p:cNvPr id="7" name="Text Placeholder 9">
            <a:extLst>
              <a:ext uri="{FF2B5EF4-FFF2-40B4-BE49-F238E27FC236}">
                <a16:creationId xmlns:a16="http://schemas.microsoft.com/office/drawing/2014/main" id="{7540912D-D14E-55AC-C114-6C8756261DC1}"/>
              </a:ext>
            </a:extLst>
          </p:cNvPr>
          <p:cNvSpPr>
            <a:spLocks noGrp="1"/>
          </p:cNvSpPr>
          <p:nvPr>
            <p:ph type="body" sz="quarter" idx="16" hasCustomPrompt="1"/>
          </p:nvPr>
        </p:nvSpPr>
        <p:spPr>
          <a:xfrm>
            <a:off x="1487487" y="2523829"/>
            <a:ext cx="9217026" cy="1030130"/>
          </a:xfrm>
          <a:prstGeom prst="rect">
            <a:avLst/>
          </a:prstGeom>
        </p:spPr>
        <p:txBody>
          <a:bodyPr lIns="0" tIns="36000" rIns="0" bIns="0" anchor="b" anchorCtr="0">
            <a:noAutofit/>
          </a:bodyPr>
          <a:lstStyle>
            <a:lvl1pPr marL="0" indent="0" algn="ctr">
              <a:lnSpc>
                <a:spcPct val="95000"/>
              </a:lnSpc>
              <a:spcBef>
                <a:spcPts val="0"/>
              </a:spcBef>
              <a:buNone/>
              <a:defRPr sz="3600">
                <a:solidFill>
                  <a:schemeClr val="accent2"/>
                </a:solidFill>
                <a:latin typeface="+mj-lt"/>
              </a:defRPr>
            </a:lvl1pPr>
          </a:lstStyle>
          <a:p>
            <a:pPr lvl="0"/>
            <a:r>
              <a:rPr lang="en-US"/>
              <a:t>Section break one line</a:t>
            </a:r>
          </a:p>
        </p:txBody>
      </p:sp>
    </p:spTree>
    <p:extLst>
      <p:ext uri="{BB962C8B-B14F-4D97-AF65-F5344CB8AC3E}">
        <p14:creationId xmlns:p14="http://schemas.microsoft.com/office/powerpoint/2010/main" val="399694266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ext / Chart / Table_Light - 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8281986" cy="251885"/>
          </a:xfrm>
        </p:spPr>
        <p:txBody>
          <a:bodyPr/>
          <a:lstStyle>
            <a:lvl1pPr>
              <a:defRPr/>
            </a:lvl1pPr>
          </a:lstStyle>
          <a:p>
            <a:r>
              <a:rPr lang="en-US"/>
              <a:t>Header avenir demi 24pt</a:t>
            </a:r>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8281986"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Tree>
    <p:extLst>
      <p:ext uri="{BB962C8B-B14F-4D97-AF65-F5344CB8AC3E}">
        <p14:creationId xmlns:p14="http://schemas.microsoft.com/office/powerpoint/2010/main" val="173401298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ingle Textbo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8281986" cy="251885"/>
          </a:xfrm>
        </p:spPr>
        <p:txBody>
          <a:bodyPr/>
          <a:lstStyle>
            <a:lvl1pPr>
              <a:defRPr/>
            </a:lvl1pPr>
          </a:lstStyle>
          <a:p>
            <a:r>
              <a:rPr lang="en-US"/>
              <a:t>Header avenir demi 24pt</a:t>
            </a:r>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8281986"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8281986"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Tree>
    <p:extLst>
      <p:ext uri="{BB962C8B-B14F-4D97-AF65-F5344CB8AC3E}">
        <p14:creationId xmlns:p14="http://schemas.microsoft.com/office/powerpoint/2010/main" val="31593710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x Pictogram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5" y="368828"/>
            <a:ext cx="10692860"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5" y="752052"/>
            <a:ext cx="10692860"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6" name="Picture Placeholder 15">
            <a:extLst>
              <a:ext uri="{FF2B5EF4-FFF2-40B4-BE49-F238E27FC236}">
                <a16:creationId xmlns:a16="http://schemas.microsoft.com/office/drawing/2014/main" id="{5EA0C833-46C2-988C-0074-D6A83249C216}"/>
              </a:ext>
            </a:extLst>
          </p:cNvPr>
          <p:cNvSpPr>
            <a:spLocks noGrp="1"/>
          </p:cNvSpPr>
          <p:nvPr>
            <p:ph type="pic" sz="quarter" idx="20" hasCustomPrompt="1"/>
          </p:nvPr>
        </p:nvSpPr>
        <p:spPr>
          <a:xfrm>
            <a:off x="551231" y="1815305"/>
            <a:ext cx="936257" cy="892971"/>
          </a:xfrm>
          <a:noFill/>
        </p:spPr>
        <p:txBody>
          <a:bodyPr anchor="ctr" anchorCtr="0"/>
          <a:lstStyle>
            <a:lvl1pPr marL="0" indent="0" algn="ctr">
              <a:spcBef>
                <a:spcPts val="0"/>
              </a:spcBef>
              <a:buNone/>
              <a:defRPr sz="1050">
                <a:solidFill>
                  <a:schemeClr val="accent2"/>
                </a:solidFill>
                <a:latin typeface="+mn-lt"/>
              </a:defRPr>
            </a:lvl1pPr>
          </a:lstStyle>
          <a:p>
            <a:pPr lvl="0"/>
            <a:r>
              <a:rPr lang="en-GB"/>
              <a:t>click or drag </a:t>
            </a:r>
            <a:br>
              <a:rPr lang="en-GB"/>
            </a:br>
            <a:r>
              <a:rPr lang="en-GB"/>
              <a:t>to insert pictogram</a:t>
            </a:r>
          </a:p>
        </p:txBody>
      </p:sp>
      <p:sp>
        <p:nvSpPr>
          <p:cNvPr id="15" name="Text Placeholder 12">
            <a:extLst>
              <a:ext uri="{FF2B5EF4-FFF2-40B4-BE49-F238E27FC236}">
                <a16:creationId xmlns:a16="http://schemas.microsoft.com/office/drawing/2014/main" id="{7E826685-2A04-0F68-4915-A118119AB364}"/>
              </a:ext>
            </a:extLst>
          </p:cNvPr>
          <p:cNvSpPr>
            <a:spLocks noGrp="1"/>
          </p:cNvSpPr>
          <p:nvPr>
            <p:ph type="body" sz="quarter" idx="26"/>
          </p:nvPr>
        </p:nvSpPr>
        <p:spPr>
          <a:xfrm>
            <a:off x="563381" y="3435900"/>
            <a:ext cx="3204000" cy="1979613"/>
          </a:xfrm>
        </p:spPr>
        <p:txBody>
          <a:bodyPr/>
          <a:lstStyle/>
          <a:p>
            <a:pPr lvl="0"/>
            <a:r>
              <a:rPr lang="en-US"/>
              <a:t>Click to edit Master text styles</a:t>
            </a:r>
          </a:p>
          <a:p>
            <a:pPr lvl="1"/>
            <a:r>
              <a:rPr lang="en-US"/>
              <a:t>Second level</a:t>
            </a:r>
          </a:p>
          <a:p>
            <a:pPr lvl="2"/>
            <a:r>
              <a:rPr lang="en-US"/>
              <a:t>Third level</a:t>
            </a:r>
          </a:p>
        </p:txBody>
      </p:sp>
      <p:sp>
        <p:nvSpPr>
          <p:cNvPr id="22" name="Picture Placeholder 15">
            <a:extLst>
              <a:ext uri="{FF2B5EF4-FFF2-40B4-BE49-F238E27FC236}">
                <a16:creationId xmlns:a16="http://schemas.microsoft.com/office/drawing/2014/main" id="{164A5E75-1C3A-DC3D-81BD-E0B3A4964763}"/>
              </a:ext>
            </a:extLst>
          </p:cNvPr>
          <p:cNvSpPr>
            <a:spLocks noGrp="1"/>
          </p:cNvSpPr>
          <p:nvPr>
            <p:ph type="pic" sz="quarter" idx="27" hasCustomPrompt="1"/>
          </p:nvPr>
        </p:nvSpPr>
        <p:spPr>
          <a:xfrm>
            <a:off x="4301608" y="1816649"/>
            <a:ext cx="930792" cy="892971"/>
          </a:xfrm>
          <a:noFill/>
        </p:spPr>
        <p:txBody>
          <a:bodyPr anchor="ctr" anchorCtr="0"/>
          <a:lstStyle>
            <a:lvl1pPr marL="0" indent="0" algn="ctr">
              <a:spcBef>
                <a:spcPts val="0"/>
              </a:spcBef>
              <a:buNone/>
              <a:defRPr sz="1050">
                <a:solidFill>
                  <a:schemeClr val="accent2"/>
                </a:solidFill>
                <a:latin typeface="+mn-lt"/>
              </a:defRPr>
            </a:lvl1pPr>
          </a:lstStyle>
          <a:p>
            <a:pPr lvl="0"/>
            <a:r>
              <a:rPr lang="en-GB"/>
              <a:t>click or drag </a:t>
            </a:r>
            <a:br>
              <a:rPr lang="en-GB"/>
            </a:br>
            <a:r>
              <a:rPr lang="en-GB"/>
              <a:t>to insert pictogram</a:t>
            </a:r>
          </a:p>
        </p:txBody>
      </p:sp>
      <p:sp>
        <p:nvSpPr>
          <p:cNvPr id="23" name="Text Placeholder 12">
            <a:extLst>
              <a:ext uri="{FF2B5EF4-FFF2-40B4-BE49-F238E27FC236}">
                <a16:creationId xmlns:a16="http://schemas.microsoft.com/office/drawing/2014/main" id="{5371896C-3F0D-4AC8-A11F-BDE72D75131C}"/>
              </a:ext>
            </a:extLst>
          </p:cNvPr>
          <p:cNvSpPr>
            <a:spLocks noGrp="1"/>
          </p:cNvSpPr>
          <p:nvPr>
            <p:ph type="body" sz="quarter" idx="28"/>
          </p:nvPr>
        </p:nvSpPr>
        <p:spPr>
          <a:xfrm>
            <a:off x="4301240" y="3437244"/>
            <a:ext cx="3204000" cy="1979613"/>
          </a:xfrm>
        </p:spPr>
        <p:txBody>
          <a:bodyPr/>
          <a:lstStyle/>
          <a:p>
            <a:pPr lvl="0"/>
            <a:r>
              <a:rPr lang="en-US"/>
              <a:t>Click to edit Master text styles</a:t>
            </a:r>
          </a:p>
          <a:p>
            <a:pPr lvl="1"/>
            <a:r>
              <a:rPr lang="en-US"/>
              <a:t>Second level</a:t>
            </a:r>
          </a:p>
          <a:p>
            <a:pPr lvl="2"/>
            <a:r>
              <a:rPr lang="en-US"/>
              <a:t>Third level</a:t>
            </a:r>
          </a:p>
        </p:txBody>
      </p:sp>
      <p:sp>
        <p:nvSpPr>
          <p:cNvPr id="24" name="Picture Placeholder 15">
            <a:extLst>
              <a:ext uri="{FF2B5EF4-FFF2-40B4-BE49-F238E27FC236}">
                <a16:creationId xmlns:a16="http://schemas.microsoft.com/office/drawing/2014/main" id="{113F9B6D-211A-B9B6-4248-1FACCD47C162}"/>
              </a:ext>
            </a:extLst>
          </p:cNvPr>
          <p:cNvSpPr>
            <a:spLocks noGrp="1"/>
          </p:cNvSpPr>
          <p:nvPr>
            <p:ph type="pic" sz="quarter" idx="29" hasCustomPrompt="1"/>
          </p:nvPr>
        </p:nvSpPr>
        <p:spPr>
          <a:xfrm>
            <a:off x="8039099" y="1816892"/>
            <a:ext cx="936257" cy="892971"/>
          </a:xfrm>
          <a:noFill/>
        </p:spPr>
        <p:txBody>
          <a:bodyPr anchor="ctr" anchorCtr="0"/>
          <a:lstStyle>
            <a:lvl1pPr marL="0" indent="0" algn="ctr">
              <a:spcBef>
                <a:spcPts val="0"/>
              </a:spcBef>
              <a:buNone/>
              <a:defRPr sz="1050">
                <a:solidFill>
                  <a:schemeClr val="accent2"/>
                </a:solidFill>
                <a:latin typeface="+mn-lt"/>
              </a:defRPr>
            </a:lvl1pPr>
          </a:lstStyle>
          <a:p>
            <a:pPr lvl="0"/>
            <a:r>
              <a:rPr lang="en-GB"/>
              <a:t>click or drag </a:t>
            </a:r>
            <a:br>
              <a:rPr lang="en-GB"/>
            </a:br>
            <a:r>
              <a:rPr lang="en-GB"/>
              <a:t>to insert pictogram</a:t>
            </a:r>
          </a:p>
        </p:txBody>
      </p:sp>
      <p:sp>
        <p:nvSpPr>
          <p:cNvPr id="25" name="Text Placeholder 12">
            <a:extLst>
              <a:ext uri="{FF2B5EF4-FFF2-40B4-BE49-F238E27FC236}">
                <a16:creationId xmlns:a16="http://schemas.microsoft.com/office/drawing/2014/main" id="{9319EC4E-4AC2-69F0-186B-251CEA53F4F3}"/>
              </a:ext>
            </a:extLst>
          </p:cNvPr>
          <p:cNvSpPr>
            <a:spLocks noGrp="1"/>
          </p:cNvSpPr>
          <p:nvPr>
            <p:ph type="body" sz="quarter" idx="30"/>
          </p:nvPr>
        </p:nvSpPr>
        <p:spPr>
          <a:xfrm>
            <a:off x="8039099" y="3437487"/>
            <a:ext cx="3204000" cy="1979613"/>
          </a:xfrm>
        </p:spPr>
        <p:txBody>
          <a:bodyPr/>
          <a:lstStyle/>
          <a:p>
            <a:pPr lvl="0"/>
            <a:r>
              <a:rPr lang="en-US"/>
              <a:t>Click to edit Master text styles</a:t>
            </a:r>
          </a:p>
          <a:p>
            <a:pPr lvl="1"/>
            <a:r>
              <a:rPr lang="en-US"/>
              <a:t>Second level</a:t>
            </a:r>
          </a:p>
          <a:p>
            <a:pPr lvl="2"/>
            <a:r>
              <a:rPr lang="en-US"/>
              <a:t>Third level</a:t>
            </a:r>
          </a:p>
        </p:txBody>
      </p:sp>
      <p:sp>
        <p:nvSpPr>
          <p:cNvPr id="5" name="Text Placeholder 12">
            <a:extLst>
              <a:ext uri="{FF2B5EF4-FFF2-40B4-BE49-F238E27FC236}">
                <a16:creationId xmlns:a16="http://schemas.microsoft.com/office/drawing/2014/main" id="{B2482E55-CD47-6253-53E5-42929A12AC26}"/>
              </a:ext>
            </a:extLst>
          </p:cNvPr>
          <p:cNvSpPr>
            <a:spLocks noGrp="1"/>
          </p:cNvSpPr>
          <p:nvPr>
            <p:ph type="body" sz="quarter" idx="41" hasCustomPrompt="1"/>
          </p:nvPr>
        </p:nvSpPr>
        <p:spPr>
          <a:xfrm>
            <a:off x="550864" y="3068637"/>
            <a:ext cx="3204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One</a:t>
            </a:r>
          </a:p>
        </p:txBody>
      </p:sp>
      <p:sp>
        <p:nvSpPr>
          <p:cNvPr id="6" name="Text Placeholder 12">
            <a:extLst>
              <a:ext uri="{FF2B5EF4-FFF2-40B4-BE49-F238E27FC236}">
                <a16:creationId xmlns:a16="http://schemas.microsoft.com/office/drawing/2014/main" id="{78A5A533-705A-55BF-9640-A52E87924F43}"/>
              </a:ext>
            </a:extLst>
          </p:cNvPr>
          <p:cNvSpPr>
            <a:spLocks noGrp="1"/>
          </p:cNvSpPr>
          <p:nvPr>
            <p:ph type="body" sz="quarter" idx="45" hasCustomPrompt="1"/>
          </p:nvPr>
        </p:nvSpPr>
        <p:spPr>
          <a:xfrm>
            <a:off x="4301240" y="3068637"/>
            <a:ext cx="3204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wo</a:t>
            </a:r>
          </a:p>
        </p:txBody>
      </p:sp>
      <p:sp>
        <p:nvSpPr>
          <p:cNvPr id="7" name="Text Placeholder 12">
            <a:extLst>
              <a:ext uri="{FF2B5EF4-FFF2-40B4-BE49-F238E27FC236}">
                <a16:creationId xmlns:a16="http://schemas.microsoft.com/office/drawing/2014/main" id="{6B81F170-703F-7395-84C2-03E6D0796583}"/>
              </a:ext>
            </a:extLst>
          </p:cNvPr>
          <p:cNvSpPr>
            <a:spLocks noGrp="1"/>
          </p:cNvSpPr>
          <p:nvPr>
            <p:ph type="body" sz="quarter" idx="67" hasCustomPrompt="1"/>
          </p:nvPr>
        </p:nvSpPr>
        <p:spPr>
          <a:xfrm>
            <a:off x="8039099" y="3068637"/>
            <a:ext cx="3204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hree</a:t>
            </a:r>
          </a:p>
        </p:txBody>
      </p:sp>
    </p:spTree>
    <p:extLst>
      <p:ext uri="{BB962C8B-B14F-4D97-AF65-F5344CB8AC3E}">
        <p14:creationId xmlns:p14="http://schemas.microsoft.com/office/powerpoint/2010/main" val="398322360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ingle Textbox - Three Line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8281986" cy="251885"/>
          </a:xfrm>
        </p:spPr>
        <p:txBody>
          <a:bodyPr/>
          <a:lstStyle>
            <a:lvl1pPr>
              <a:defRPr>
                <a:solidFill>
                  <a:schemeClr val="tx1"/>
                </a:solidFill>
              </a:defRPr>
            </a:lvl1pPr>
          </a:lstStyle>
          <a:p>
            <a:r>
              <a:rPr lang="en-US"/>
              <a:t>Header avenir demi 24pt</a:t>
            </a:r>
            <a:br>
              <a:rPr lang="en-US"/>
            </a:br>
            <a:r>
              <a:rPr lang="en-US"/>
              <a:t>Optional second line</a:t>
            </a:r>
            <a:br>
              <a:rPr lang="en-US"/>
            </a:br>
            <a:r>
              <a:rPr lang="en-US"/>
              <a:t>Third line</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8281986"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Tree>
    <p:extLst>
      <p:ext uri="{BB962C8B-B14F-4D97-AF65-F5344CB8AC3E}">
        <p14:creationId xmlns:p14="http://schemas.microsoft.com/office/powerpoint/2010/main" val="360526885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2x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10692574" cy="251885"/>
          </a:xfrm>
        </p:spPr>
        <p:txBody>
          <a:bodyPr/>
          <a:lstStyle>
            <a:lvl1pPr>
              <a:defRPr/>
            </a:lvl1pPr>
          </a:lstStyle>
          <a:p>
            <a:r>
              <a:rPr lang="en-US"/>
              <a:t>Header avenir demi 24pt</a:t>
            </a:r>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10692574"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5076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5" name="Text Placeholder 12">
            <a:extLst>
              <a:ext uri="{FF2B5EF4-FFF2-40B4-BE49-F238E27FC236}">
                <a16:creationId xmlns:a16="http://schemas.microsoft.com/office/drawing/2014/main" id="{5B8B4328-59C1-D6A0-2D23-526CB791C2DF}"/>
              </a:ext>
            </a:extLst>
          </p:cNvPr>
          <p:cNvSpPr>
            <a:spLocks noGrp="1"/>
          </p:cNvSpPr>
          <p:nvPr>
            <p:ph type="body" sz="quarter" idx="15"/>
          </p:nvPr>
        </p:nvSpPr>
        <p:spPr>
          <a:xfrm>
            <a:off x="6167438" y="1808163"/>
            <a:ext cx="5076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Tree>
    <p:extLst>
      <p:ext uri="{BB962C8B-B14F-4D97-AF65-F5344CB8AC3E}">
        <p14:creationId xmlns:p14="http://schemas.microsoft.com/office/powerpoint/2010/main" val="354678622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3x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10692574" cy="251885"/>
          </a:xfrm>
        </p:spPr>
        <p:txBody>
          <a:bodyPr/>
          <a:lstStyle>
            <a:lvl1pPr>
              <a:defRPr/>
            </a:lvl1pPr>
          </a:lstStyle>
          <a:p>
            <a:r>
              <a:rPr lang="en-US"/>
              <a:t>Header avenir demi 24pt</a:t>
            </a:r>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10692574"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6" name="Text Placeholder 12">
            <a:extLst>
              <a:ext uri="{FF2B5EF4-FFF2-40B4-BE49-F238E27FC236}">
                <a16:creationId xmlns:a16="http://schemas.microsoft.com/office/drawing/2014/main" id="{E79289D7-5C2E-68CE-3B90-A9A8960FA82B}"/>
              </a:ext>
            </a:extLst>
          </p:cNvPr>
          <p:cNvSpPr>
            <a:spLocks noGrp="1"/>
          </p:cNvSpPr>
          <p:nvPr>
            <p:ph type="body" sz="quarter" idx="16"/>
          </p:nvPr>
        </p:nvSpPr>
        <p:spPr>
          <a:xfrm>
            <a:off x="4295151"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8" name="Text Placeholder 12">
            <a:extLst>
              <a:ext uri="{FF2B5EF4-FFF2-40B4-BE49-F238E27FC236}">
                <a16:creationId xmlns:a16="http://schemas.microsoft.com/office/drawing/2014/main" id="{49E19914-A73D-36ED-F704-267D2EE80CB7}"/>
              </a:ext>
            </a:extLst>
          </p:cNvPr>
          <p:cNvSpPr>
            <a:spLocks noGrp="1"/>
          </p:cNvSpPr>
          <p:nvPr>
            <p:ph type="body" sz="quarter" idx="17"/>
          </p:nvPr>
        </p:nvSpPr>
        <p:spPr>
          <a:xfrm>
            <a:off x="8039438"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Tree>
    <p:extLst>
      <p:ext uri="{BB962C8B-B14F-4D97-AF65-F5344CB8AC3E}">
        <p14:creationId xmlns:p14="http://schemas.microsoft.com/office/powerpoint/2010/main" val="27478291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6x Icon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5" y="368828"/>
            <a:ext cx="10693822" cy="251885"/>
          </a:xfrm>
        </p:spPr>
        <p:txBody>
          <a:bodyPr/>
          <a:lstStyle>
            <a:lvl1pPr>
              <a:defRPr/>
            </a:lvl1pPr>
          </a:lstStyle>
          <a:p>
            <a:r>
              <a:rPr lang="en-US"/>
              <a:t>Header avenir demi 24pt</a:t>
            </a:r>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5" y="752052"/>
            <a:ext cx="10693822"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6" name="Picture Placeholder 15">
            <a:extLst>
              <a:ext uri="{FF2B5EF4-FFF2-40B4-BE49-F238E27FC236}">
                <a16:creationId xmlns:a16="http://schemas.microsoft.com/office/drawing/2014/main" id="{5EA0C833-46C2-988C-0074-D6A83249C216}"/>
              </a:ext>
              <a:ext uri="{C183D7F6-B498-43B3-948B-1728B52AA6E4}">
                <adec:decorative xmlns:adec="http://schemas.microsoft.com/office/drawing/2017/decorative" val="0"/>
              </a:ext>
            </a:extLst>
          </p:cNvPr>
          <p:cNvSpPr>
            <a:spLocks noGrp="1"/>
          </p:cNvSpPr>
          <p:nvPr>
            <p:ph type="pic" sz="quarter" idx="20" hasCustomPrompt="1"/>
          </p:nvPr>
        </p:nvSpPr>
        <p:spPr>
          <a:xfrm>
            <a:off x="550863" y="1815305"/>
            <a:ext cx="360362" cy="360362"/>
          </a:xfrm>
          <a:noFill/>
        </p:spPr>
        <p:txBody>
          <a:bodyPr anchor="ctr" anchorCtr="0"/>
          <a:lstStyle>
            <a:lvl1pPr marL="0" indent="0" algn="ctr">
              <a:buNone/>
              <a:defRPr sz="1000">
                <a:solidFill>
                  <a:schemeClr val="accent2"/>
                </a:solidFill>
                <a:latin typeface="+mn-lt"/>
              </a:defRPr>
            </a:lvl1pPr>
          </a:lstStyle>
          <a:p>
            <a:pPr lvl="0"/>
            <a:r>
              <a:rPr lang="en-GB"/>
              <a:t>icon</a:t>
            </a:r>
          </a:p>
        </p:txBody>
      </p:sp>
      <p:sp>
        <p:nvSpPr>
          <p:cNvPr id="5" name="Text Placeholder 12">
            <a:extLst>
              <a:ext uri="{FF2B5EF4-FFF2-40B4-BE49-F238E27FC236}">
                <a16:creationId xmlns:a16="http://schemas.microsoft.com/office/drawing/2014/main" id="{9A6FB466-17DF-825B-8CFE-D36B7DFFAAC9}"/>
              </a:ext>
            </a:extLst>
          </p:cNvPr>
          <p:cNvSpPr>
            <a:spLocks noGrp="1"/>
          </p:cNvSpPr>
          <p:nvPr>
            <p:ph type="body" sz="quarter" idx="41" hasCustomPrompt="1"/>
          </p:nvPr>
        </p:nvSpPr>
        <p:spPr>
          <a:xfrm>
            <a:off x="550864" y="2354265"/>
            <a:ext cx="3204000"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One</a:t>
            </a:r>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3" y="2716212"/>
            <a:ext cx="3204000" cy="1079500"/>
          </a:xfrm>
        </p:spPr>
        <p:txBody>
          <a:bodyPr/>
          <a:lstStyle/>
          <a:p>
            <a:pPr lvl="0"/>
            <a:r>
              <a:rPr lang="en-US"/>
              <a:t>Click to edit Master text styles</a:t>
            </a:r>
          </a:p>
          <a:p>
            <a:pPr lvl="1"/>
            <a:r>
              <a:rPr lang="en-US"/>
              <a:t>Second level</a:t>
            </a:r>
          </a:p>
          <a:p>
            <a:pPr lvl="2"/>
            <a:r>
              <a:rPr lang="en-US"/>
              <a:t>Third level</a:t>
            </a:r>
          </a:p>
        </p:txBody>
      </p:sp>
      <p:sp>
        <p:nvSpPr>
          <p:cNvPr id="17" name="Picture Placeholder 15">
            <a:extLst>
              <a:ext uri="{FF2B5EF4-FFF2-40B4-BE49-F238E27FC236}">
                <a16:creationId xmlns:a16="http://schemas.microsoft.com/office/drawing/2014/main" id="{CD8935F0-FF95-E453-E9F6-68893F7A504D}"/>
              </a:ext>
            </a:extLst>
          </p:cNvPr>
          <p:cNvSpPr>
            <a:spLocks noGrp="1"/>
          </p:cNvSpPr>
          <p:nvPr>
            <p:ph type="pic" sz="quarter" idx="21" hasCustomPrompt="1"/>
          </p:nvPr>
        </p:nvSpPr>
        <p:spPr>
          <a:xfrm>
            <a:off x="4295776" y="1815305"/>
            <a:ext cx="360362" cy="360362"/>
          </a:xfrm>
          <a:noFill/>
        </p:spPr>
        <p:txBody>
          <a:bodyPr anchor="ctr" anchorCtr="0"/>
          <a:lstStyle>
            <a:lvl1pPr marL="0" indent="0" algn="ctr">
              <a:buNone/>
              <a:defRPr sz="1000">
                <a:solidFill>
                  <a:schemeClr val="accent2"/>
                </a:solidFill>
                <a:latin typeface="+mn-lt"/>
              </a:defRPr>
            </a:lvl1pPr>
          </a:lstStyle>
          <a:p>
            <a:pPr lvl="0"/>
            <a:r>
              <a:rPr lang="en-GB"/>
              <a:t>icon</a:t>
            </a:r>
          </a:p>
        </p:txBody>
      </p:sp>
      <p:sp>
        <p:nvSpPr>
          <p:cNvPr id="9" name="Text Placeholder 12">
            <a:extLst>
              <a:ext uri="{FF2B5EF4-FFF2-40B4-BE49-F238E27FC236}">
                <a16:creationId xmlns:a16="http://schemas.microsoft.com/office/drawing/2014/main" id="{EBA31540-DD60-C1FE-84D9-AB3B913DE24E}"/>
              </a:ext>
            </a:extLst>
          </p:cNvPr>
          <p:cNvSpPr>
            <a:spLocks noGrp="1"/>
          </p:cNvSpPr>
          <p:nvPr>
            <p:ph type="body" sz="quarter" idx="45" hasCustomPrompt="1"/>
          </p:nvPr>
        </p:nvSpPr>
        <p:spPr>
          <a:xfrm>
            <a:off x="4301240" y="2354265"/>
            <a:ext cx="3204000"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wo</a:t>
            </a:r>
          </a:p>
        </p:txBody>
      </p:sp>
      <p:sp>
        <p:nvSpPr>
          <p:cNvPr id="6" name="Text Placeholder 12">
            <a:extLst>
              <a:ext uri="{FF2B5EF4-FFF2-40B4-BE49-F238E27FC236}">
                <a16:creationId xmlns:a16="http://schemas.microsoft.com/office/drawing/2014/main" id="{41114B1E-A563-1101-CB97-0755E7E651D0}"/>
              </a:ext>
            </a:extLst>
          </p:cNvPr>
          <p:cNvSpPr>
            <a:spLocks noGrp="1"/>
          </p:cNvSpPr>
          <p:nvPr>
            <p:ph type="body" sz="quarter" idx="15"/>
          </p:nvPr>
        </p:nvSpPr>
        <p:spPr>
          <a:xfrm>
            <a:off x="4295776" y="2716213"/>
            <a:ext cx="3204000" cy="1079500"/>
          </a:xfrm>
        </p:spPr>
        <p:txBody>
          <a:bodyPr/>
          <a:lstStyle/>
          <a:p>
            <a:pPr lvl="0"/>
            <a:r>
              <a:rPr lang="en-US"/>
              <a:t>Click to edit Master text styles</a:t>
            </a:r>
          </a:p>
          <a:p>
            <a:pPr lvl="1"/>
            <a:r>
              <a:rPr lang="en-US"/>
              <a:t>Second level</a:t>
            </a:r>
          </a:p>
          <a:p>
            <a:pPr lvl="2"/>
            <a:r>
              <a:rPr lang="en-US"/>
              <a:t>Third level</a:t>
            </a:r>
            <a:endParaRPr lang="en-GB"/>
          </a:p>
        </p:txBody>
      </p:sp>
      <p:sp>
        <p:nvSpPr>
          <p:cNvPr id="18" name="Picture Placeholder 15">
            <a:extLst>
              <a:ext uri="{FF2B5EF4-FFF2-40B4-BE49-F238E27FC236}">
                <a16:creationId xmlns:a16="http://schemas.microsoft.com/office/drawing/2014/main" id="{222353BC-D3DC-BA3E-0558-E3C87FF2BDCC}"/>
              </a:ext>
            </a:extLst>
          </p:cNvPr>
          <p:cNvSpPr>
            <a:spLocks noGrp="1"/>
          </p:cNvSpPr>
          <p:nvPr>
            <p:ph type="pic" sz="quarter" idx="22" hasCustomPrompt="1"/>
          </p:nvPr>
        </p:nvSpPr>
        <p:spPr>
          <a:xfrm>
            <a:off x="8040687" y="1815305"/>
            <a:ext cx="360362" cy="360362"/>
          </a:xfrm>
          <a:noFill/>
        </p:spPr>
        <p:txBody>
          <a:bodyPr anchor="ctr" anchorCtr="0"/>
          <a:lstStyle>
            <a:lvl1pPr marL="0" indent="0" algn="ctr">
              <a:buNone/>
              <a:defRPr sz="1000">
                <a:solidFill>
                  <a:schemeClr val="accent2"/>
                </a:solidFill>
                <a:latin typeface="+mn-lt"/>
              </a:defRPr>
            </a:lvl1pPr>
          </a:lstStyle>
          <a:p>
            <a:pPr lvl="0"/>
            <a:r>
              <a:rPr lang="en-GB"/>
              <a:t>icon</a:t>
            </a:r>
          </a:p>
        </p:txBody>
      </p:sp>
      <p:sp>
        <p:nvSpPr>
          <p:cNvPr id="15" name="Text Placeholder 12">
            <a:extLst>
              <a:ext uri="{FF2B5EF4-FFF2-40B4-BE49-F238E27FC236}">
                <a16:creationId xmlns:a16="http://schemas.microsoft.com/office/drawing/2014/main" id="{47A08AD4-EF40-3EEE-D086-FAFE12BF8572}"/>
              </a:ext>
            </a:extLst>
          </p:cNvPr>
          <p:cNvSpPr>
            <a:spLocks noGrp="1"/>
          </p:cNvSpPr>
          <p:nvPr>
            <p:ph type="body" sz="quarter" idx="67" hasCustomPrompt="1"/>
          </p:nvPr>
        </p:nvSpPr>
        <p:spPr>
          <a:xfrm>
            <a:off x="8039099" y="2354265"/>
            <a:ext cx="3204000"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hree</a:t>
            </a:r>
          </a:p>
        </p:txBody>
      </p:sp>
      <p:sp>
        <p:nvSpPr>
          <p:cNvPr id="7" name="Text Placeholder 12">
            <a:extLst>
              <a:ext uri="{FF2B5EF4-FFF2-40B4-BE49-F238E27FC236}">
                <a16:creationId xmlns:a16="http://schemas.microsoft.com/office/drawing/2014/main" id="{399FA75D-803B-3E4B-7183-E3994966E24B}"/>
              </a:ext>
            </a:extLst>
          </p:cNvPr>
          <p:cNvSpPr>
            <a:spLocks noGrp="1"/>
          </p:cNvSpPr>
          <p:nvPr>
            <p:ph type="body" sz="quarter" idx="16"/>
          </p:nvPr>
        </p:nvSpPr>
        <p:spPr>
          <a:xfrm>
            <a:off x="8040687" y="2716213"/>
            <a:ext cx="3204000" cy="1079500"/>
          </a:xfrm>
        </p:spPr>
        <p:txBody>
          <a:bodyPr/>
          <a:lstStyle/>
          <a:p>
            <a:pPr lvl="0"/>
            <a:r>
              <a:rPr lang="en-US"/>
              <a:t>Click to edit Master text styles</a:t>
            </a:r>
          </a:p>
          <a:p>
            <a:pPr lvl="1"/>
            <a:r>
              <a:rPr lang="en-US"/>
              <a:t>Second level</a:t>
            </a:r>
          </a:p>
          <a:p>
            <a:pPr lvl="2"/>
            <a:r>
              <a:rPr lang="en-US"/>
              <a:t>Third level</a:t>
            </a:r>
            <a:endParaRPr lang="en-GB"/>
          </a:p>
        </p:txBody>
      </p:sp>
      <p:sp>
        <p:nvSpPr>
          <p:cNvPr id="19" name="Picture Placeholder 15">
            <a:extLst>
              <a:ext uri="{FF2B5EF4-FFF2-40B4-BE49-F238E27FC236}">
                <a16:creationId xmlns:a16="http://schemas.microsoft.com/office/drawing/2014/main" id="{470F1949-6467-FE3B-E626-1F303399B974}"/>
              </a:ext>
            </a:extLst>
          </p:cNvPr>
          <p:cNvSpPr>
            <a:spLocks noGrp="1"/>
          </p:cNvSpPr>
          <p:nvPr>
            <p:ph type="pic" sz="quarter" idx="23" hasCustomPrompt="1"/>
          </p:nvPr>
        </p:nvSpPr>
        <p:spPr>
          <a:xfrm>
            <a:off x="550863" y="3975101"/>
            <a:ext cx="360362" cy="360362"/>
          </a:xfrm>
          <a:noFill/>
        </p:spPr>
        <p:txBody>
          <a:bodyPr anchor="ctr" anchorCtr="0"/>
          <a:lstStyle>
            <a:lvl1pPr marL="0" indent="0" algn="ctr">
              <a:buNone/>
              <a:defRPr sz="1000">
                <a:solidFill>
                  <a:schemeClr val="accent2"/>
                </a:solidFill>
                <a:latin typeface="+mn-lt"/>
              </a:defRPr>
            </a:lvl1pPr>
          </a:lstStyle>
          <a:p>
            <a:pPr lvl="0"/>
            <a:r>
              <a:rPr lang="en-GB"/>
              <a:t>icon</a:t>
            </a:r>
          </a:p>
        </p:txBody>
      </p:sp>
      <p:sp>
        <p:nvSpPr>
          <p:cNvPr id="22" name="Text Placeholder 12">
            <a:extLst>
              <a:ext uri="{FF2B5EF4-FFF2-40B4-BE49-F238E27FC236}">
                <a16:creationId xmlns:a16="http://schemas.microsoft.com/office/drawing/2014/main" id="{488A00D0-DFE0-4018-7DEA-DB963BB63359}"/>
              </a:ext>
            </a:extLst>
          </p:cNvPr>
          <p:cNvSpPr>
            <a:spLocks noGrp="1"/>
          </p:cNvSpPr>
          <p:nvPr>
            <p:ph type="body" sz="quarter" idx="68" hasCustomPrompt="1"/>
          </p:nvPr>
        </p:nvSpPr>
        <p:spPr>
          <a:xfrm>
            <a:off x="550864" y="4514851"/>
            <a:ext cx="3204000"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Four</a:t>
            </a:r>
          </a:p>
        </p:txBody>
      </p:sp>
      <p:sp>
        <p:nvSpPr>
          <p:cNvPr id="11" name="Text Placeholder 12">
            <a:extLst>
              <a:ext uri="{FF2B5EF4-FFF2-40B4-BE49-F238E27FC236}">
                <a16:creationId xmlns:a16="http://schemas.microsoft.com/office/drawing/2014/main" id="{956E8744-4447-9B41-C4EF-92000E2207C8}"/>
              </a:ext>
            </a:extLst>
          </p:cNvPr>
          <p:cNvSpPr>
            <a:spLocks noGrp="1"/>
          </p:cNvSpPr>
          <p:nvPr>
            <p:ph type="body" sz="quarter" idx="17"/>
          </p:nvPr>
        </p:nvSpPr>
        <p:spPr>
          <a:xfrm>
            <a:off x="550863" y="4883149"/>
            <a:ext cx="3204000" cy="1079500"/>
          </a:xfrm>
        </p:spPr>
        <p:txBody>
          <a:bodyPr/>
          <a:lstStyle/>
          <a:p>
            <a:pPr lvl="0"/>
            <a:r>
              <a:rPr lang="en-US"/>
              <a:t>Click to edit Master text styles</a:t>
            </a:r>
          </a:p>
          <a:p>
            <a:pPr lvl="1"/>
            <a:r>
              <a:rPr lang="en-US"/>
              <a:t>Second level</a:t>
            </a:r>
          </a:p>
          <a:p>
            <a:pPr lvl="2"/>
            <a:r>
              <a:rPr lang="en-US"/>
              <a:t>Third level</a:t>
            </a:r>
          </a:p>
        </p:txBody>
      </p:sp>
      <p:sp>
        <p:nvSpPr>
          <p:cNvPr id="20" name="Picture Placeholder 15">
            <a:extLst>
              <a:ext uri="{FF2B5EF4-FFF2-40B4-BE49-F238E27FC236}">
                <a16:creationId xmlns:a16="http://schemas.microsoft.com/office/drawing/2014/main" id="{ED0BCDCE-72FA-F3E6-C968-84566E1BEF5B}"/>
              </a:ext>
            </a:extLst>
          </p:cNvPr>
          <p:cNvSpPr>
            <a:spLocks noGrp="1"/>
          </p:cNvSpPr>
          <p:nvPr>
            <p:ph type="pic" sz="quarter" idx="24" hasCustomPrompt="1"/>
          </p:nvPr>
        </p:nvSpPr>
        <p:spPr>
          <a:xfrm>
            <a:off x="4295776" y="3975101"/>
            <a:ext cx="360362" cy="360362"/>
          </a:xfrm>
          <a:noFill/>
        </p:spPr>
        <p:txBody>
          <a:bodyPr anchor="ctr" anchorCtr="0"/>
          <a:lstStyle>
            <a:lvl1pPr marL="0" indent="0" algn="ctr">
              <a:buNone/>
              <a:defRPr sz="1000">
                <a:solidFill>
                  <a:schemeClr val="accent2"/>
                </a:solidFill>
                <a:latin typeface="+mn-lt"/>
              </a:defRPr>
            </a:lvl1pPr>
          </a:lstStyle>
          <a:p>
            <a:pPr lvl="0"/>
            <a:r>
              <a:rPr lang="en-GB"/>
              <a:t>icon</a:t>
            </a:r>
          </a:p>
        </p:txBody>
      </p:sp>
      <p:sp>
        <p:nvSpPr>
          <p:cNvPr id="23" name="Text Placeholder 12">
            <a:extLst>
              <a:ext uri="{FF2B5EF4-FFF2-40B4-BE49-F238E27FC236}">
                <a16:creationId xmlns:a16="http://schemas.microsoft.com/office/drawing/2014/main" id="{35021A18-46DC-3008-76D5-10DA7AF4F84A}"/>
              </a:ext>
            </a:extLst>
          </p:cNvPr>
          <p:cNvSpPr>
            <a:spLocks noGrp="1"/>
          </p:cNvSpPr>
          <p:nvPr>
            <p:ph type="body" sz="quarter" idx="69" hasCustomPrompt="1"/>
          </p:nvPr>
        </p:nvSpPr>
        <p:spPr>
          <a:xfrm>
            <a:off x="4301240" y="4514851"/>
            <a:ext cx="3204000"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Five</a:t>
            </a:r>
          </a:p>
        </p:txBody>
      </p:sp>
      <p:sp>
        <p:nvSpPr>
          <p:cNvPr id="12" name="Text Placeholder 12">
            <a:extLst>
              <a:ext uri="{FF2B5EF4-FFF2-40B4-BE49-F238E27FC236}">
                <a16:creationId xmlns:a16="http://schemas.microsoft.com/office/drawing/2014/main" id="{92D22F55-B345-13EA-70B9-B62C67DD2FB7}"/>
              </a:ext>
            </a:extLst>
          </p:cNvPr>
          <p:cNvSpPr>
            <a:spLocks noGrp="1"/>
          </p:cNvSpPr>
          <p:nvPr>
            <p:ph type="body" sz="quarter" idx="18"/>
          </p:nvPr>
        </p:nvSpPr>
        <p:spPr>
          <a:xfrm>
            <a:off x="4295776" y="4883150"/>
            <a:ext cx="3204000" cy="1079500"/>
          </a:xfrm>
        </p:spPr>
        <p:txBody>
          <a:bodyPr/>
          <a:lstStyle/>
          <a:p>
            <a:pPr lvl="0"/>
            <a:r>
              <a:rPr lang="en-US"/>
              <a:t>Click to edit Master text styles</a:t>
            </a:r>
          </a:p>
          <a:p>
            <a:pPr lvl="1"/>
            <a:r>
              <a:rPr lang="en-US"/>
              <a:t>Second level</a:t>
            </a:r>
          </a:p>
          <a:p>
            <a:pPr lvl="2"/>
            <a:r>
              <a:rPr lang="en-US"/>
              <a:t>Third level</a:t>
            </a:r>
            <a:endParaRPr lang="en-GB"/>
          </a:p>
        </p:txBody>
      </p:sp>
      <p:sp>
        <p:nvSpPr>
          <p:cNvPr id="21" name="Picture Placeholder 15">
            <a:extLst>
              <a:ext uri="{FF2B5EF4-FFF2-40B4-BE49-F238E27FC236}">
                <a16:creationId xmlns:a16="http://schemas.microsoft.com/office/drawing/2014/main" id="{95AC45EB-6812-379E-D631-F1DE40638311}"/>
              </a:ext>
            </a:extLst>
          </p:cNvPr>
          <p:cNvSpPr>
            <a:spLocks noGrp="1"/>
          </p:cNvSpPr>
          <p:nvPr>
            <p:ph type="pic" sz="quarter" idx="25" hasCustomPrompt="1"/>
          </p:nvPr>
        </p:nvSpPr>
        <p:spPr>
          <a:xfrm>
            <a:off x="8040687" y="3975101"/>
            <a:ext cx="360362" cy="360362"/>
          </a:xfrm>
          <a:noFill/>
        </p:spPr>
        <p:txBody>
          <a:bodyPr anchor="ctr" anchorCtr="0"/>
          <a:lstStyle>
            <a:lvl1pPr marL="0" indent="0" algn="ctr">
              <a:buNone/>
              <a:defRPr sz="1000">
                <a:solidFill>
                  <a:schemeClr val="accent2"/>
                </a:solidFill>
                <a:latin typeface="+mn-lt"/>
              </a:defRPr>
            </a:lvl1pPr>
          </a:lstStyle>
          <a:p>
            <a:pPr lvl="0"/>
            <a:r>
              <a:rPr lang="en-GB"/>
              <a:t>icon</a:t>
            </a:r>
          </a:p>
        </p:txBody>
      </p:sp>
      <p:sp>
        <p:nvSpPr>
          <p:cNvPr id="24" name="Text Placeholder 12">
            <a:extLst>
              <a:ext uri="{FF2B5EF4-FFF2-40B4-BE49-F238E27FC236}">
                <a16:creationId xmlns:a16="http://schemas.microsoft.com/office/drawing/2014/main" id="{69000ADE-09E6-91EC-6A61-155867714C5E}"/>
              </a:ext>
            </a:extLst>
          </p:cNvPr>
          <p:cNvSpPr>
            <a:spLocks noGrp="1"/>
          </p:cNvSpPr>
          <p:nvPr>
            <p:ph type="body" sz="quarter" idx="70" hasCustomPrompt="1"/>
          </p:nvPr>
        </p:nvSpPr>
        <p:spPr>
          <a:xfrm>
            <a:off x="8039099" y="4514851"/>
            <a:ext cx="3204000"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Six</a:t>
            </a:r>
          </a:p>
        </p:txBody>
      </p:sp>
      <p:sp>
        <p:nvSpPr>
          <p:cNvPr id="14" name="Text Placeholder 12">
            <a:extLst>
              <a:ext uri="{FF2B5EF4-FFF2-40B4-BE49-F238E27FC236}">
                <a16:creationId xmlns:a16="http://schemas.microsoft.com/office/drawing/2014/main" id="{0876B04D-418A-408D-4B86-1F152EA3B9AC}"/>
              </a:ext>
            </a:extLst>
          </p:cNvPr>
          <p:cNvSpPr>
            <a:spLocks noGrp="1"/>
          </p:cNvSpPr>
          <p:nvPr>
            <p:ph type="body" sz="quarter" idx="19"/>
          </p:nvPr>
        </p:nvSpPr>
        <p:spPr>
          <a:xfrm>
            <a:off x="8040687" y="4883150"/>
            <a:ext cx="3204000" cy="1079500"/>
          </a:xfrm>
        </p:spPr>
        <p:txBody>
          <a:bodyPr/>
          <a:lstStyle/>
          <a:p>
            <a:pPr lvl="0"/>
            <a:r>
              <a:rPr lang="en-US"/>
              <a:t>Click to edit Master text styles</a:t>
            </a:r>
          </a:p>
          <a:p>
            <a:pPr lvl="1"/>
            <a:r>
              <a:rPr lang="en-US"/>
              <a:t>Second level</a:t>
            </a:r>
          </a:p>
          <a:p>
            <a:pPr lvl="2"/>
            <a:r>
              <a:rPr lang="en-US"/>
              <a:t>Third level</a:t>
            </a:r>
            <a:endParaRPr lang="en-GB"/>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Tree>
    <p:extLst>
      <p:ext uri="{BB962C8B-B14F-4D97-AF65-F5344CB8AC3E}">
        <p14:creationId xmlns:p14="http://schemas.microsoft.com/office/powerpoint/2010/main" val="77353128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x Pictogram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5" y="368828"/>
            <a:ext cx="10692860" cy="251885"/>
          </a:xfrm>
        </p:spPr>
        <p:txBody>
          <a:bodyPr/>
          <a:lstStyle>
            <a:lvl1pPr>
              <a:defRPr/>
            </a:lvl1pPr>
          </a:lstStyle>
          <a:p>
            <a:r>
              <a:rPr lang="en-US"/>
              <a:t>Header avenir demi 24pt</a:t>
            </a:r>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5" y="752052"/>
            <a:ext cx="10692860"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6" name="Picture Placeholder 15">
            <a:extLst>
              <a:ext uri="{FF2B5EF4-FFF2-40B4-BE49-F238E27FC236}">
                <a16:creationId xmlns:a16="http://schemas.microsoft.com/office/drawing/2014/main" id="{5EA0C833-46C2-988C-0074-D6A83249C216}"/>
              </a:ext>
            </a:extLst>
          </p:cNvPr>
          <p:cNvSpPr>
            <a:spLocks noGrp="1"/>
          </p:cNvSpPr>
          <p:nvPr>
            <p:ph type="pic" sz="quarter" idx="20" hasCustomPrompt="1"/>
          </p:nvPr>
        </p:nvSpPr>
        <p:spPr>
          <a:xfrm>
            <a:off x="551231" y="1815305"/>
            <a:ext cx="936257" cy="892971"/>
          </a:xfrm>
          <a:noFill/>
        </p:spPr>
        <p:txBody>
          <a:bodyPr anchor="ctr" anchorCtr="0"/>
          <a:lstStyle>
            <a:lvl1pPr marL="0" indent="0" algn="ctr">
              <a:spcBef>
                <a:spcPts val="0"/>
              </a:spcBef>
              <a:buNone/>
              <a:defRPr sz="1050">
                <a:solidFill>
                  <a:schemeClr val="accent2"/>
                </a:solidFill>
                <a:latin typeface="+mn-lt"/>
              </a:defRPr>
            </a:lvl1pPr>
          </a:lstStyle>
          <a:p>
            <a:pPr lvl="0"/>
            <a:r>
              <a:rPr lang="en-GB"/>
              <a:t>click or drag </a:t>
            </a:r>
            <a:br>
              <a:rPr lang="en-GB"/>
            </a:br>
            <a:r>
              <a:rPr lang="en-GB"/>
              <a:t>to insert  pictogram</a:t>
            </a:r>
          </a:p>
        </p:txBody>
      </p:sp>
      <p:sp>
        <p:nvSpPr>
          <p:cNvPr id="5" name="Text Placeholder 12">
            <a:extLst>
              <a:ext uri="{FF2B5EF4-FFF2-40B4-BE49-F238E27FC236}">
                <a16:creationId xmlns:a16="http://schemas.microsoft.com/office/drawing/2014/main" id="{B2482E55-CD47-6253-53E5-42929A12AC26}"/>
              </a:ext>
            </a:extLst>
          </p:cNvPr>
          <p:cNvSpPr>
            <a:spLocks noGrp="1"/>
          </p:cNvSpPr>
          <p:nvPr>
            <p:ph type="body" sz="quarter" idx="41" hasCustomPrompt="1"/>
          </p:nvPr>
        </p:nvSpPr>
        <p:spPr>
          <a:xfrm>
            <a:off x="550864" y="3068637"/>
            <a:ext cx="3204000"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One</a:t>
            </a:r>
          </a:p>
        </p:txBody>
      </p:sp>
      <p:sp>
        <p:nvSpPr>
          <p:cNvPr id="15" name="Text Placeholder 12">
            <a:extLst>
              <a:ext uri="{FF2B5EF4-FFF2-40B4-BE49-F238E27FC236}">
                <a16:creationId xmlns:a16="http://schemas.microsoft.com/office/drawing/2014/main" id="{7E826685-2A04-0F68-4915-A118119AB364}"/>
              </a:ext>
            </a:extLst>
          </p:cNvPr>
          <p:cNvSpPr>
            <a:spLocks noGrp="1"/>
          </p:cNvSpPr>
          <p:nvPr>
            <p:ph type="body" sz="quarter" idx="26"/>
          </p:nvPr>
        </p:nvSpPr>
        <p:spPr>
          <a:xfrm>
            <a:off x="563381" y="3435900"/>
            <a:ext cx="3204000" cy="1979613"/>
          </a:xfrm>
        </p:spPr>
        <p:txBody>
          <a:bodyPr/>
          <a:lstStyle/>
          <a:p>
            <a:pPr lvl="0"/>
            <a:r>
              <a:rPr lang="en-US"/>
              <a:t>Click to edit Master text styles</a:t>
            </a:r>
          </a:p>
          <a:p>
            <a:pPr lvl="1"/>
            <a:r>
              <a:rPr lang="en-US"/>
              <a:t>Second level</a:t>
            </a:r>
          </a:p>
          <a:p>
            <a:pPr lvl="2"/>
            <a:r>
              <a:rPr lang="en-US"/>
              <a:t>Third level</a:t>
            </a:r>
          </a:p>
        </p:txBody>
      </p:sp>
      <p:sp>
        <p:nvSpPr>
          <p:cNvPr id="22" name="Picture Placeholder 15">
            <a:extLst>
              <a:ext uri="{FF2B5EF4-FFF2-40B4-BE49-F238E27FC236}">
                <a16:creationId xmlns:a16="http://schemas.microsoft.com/office/drawing/2014/main" id="{164A5E75-1C3A-DC3D-81BD-E0B3A4964763}"/>
              </a:ext>
            </a:extLst>
          </p:cNvPr>
          <p:cNvSpPr>
            <a:spLocks noGrp="1"/>
          </p:cNvSpPr>
          <p:nvPr>
            <p:ph type="pic" sz="quarter" idx="27" hasCustomPrompt="1"/>
          </p:nvPr>
        </p:nvSpPr>
        <p:spPr>
          <a:xfrm>
            <a:off x="6173271" y="1816649"/>
            <a:ext cx="930792" cy="892971"/>
          </a:xfrm>
          <a:noFill/>
        </p:spPr>
        <p:txBody>
          <a:bodyPr anchor="ctr" anchorCtr="0"/>
          <a:lstStyle>
            <a:lvl1pPr marL="0" indent="0" algn="ctr">
              <a:spcBef>
                <a:spcPts val="0"/>
              </a:spcBef>
              <a:buNone/>
              <a:defRPr sz="1050">
                <a:solidFill>
                  <a:schemeClr val="accent2"/>
                </a:solidFill>
                <a:latin typeface="+mn-lt"/>
              </a:defRPr>
            </a:lvl1pPr>
          </a:lstStyle>
          <a:p>
            <a:pPr lvl="0"/>
            <a:r>
              <a:rPr lang="en-GB"/>
              <a:t>click or drag </a:t>
            </a:r>
            <a:br>
              <a:rPr lang="en-GB"/>
            </a:br>
            <a:r>
              <a:rPr lang="en-GB"/>
              <a:t>to insert  pictogram</a:t>
            </a:r>
          </a:p>
        </p:txBody>
      </p:sp>
      <p:sp>
        <p:nvSpPr>
          <p:cNvPr id="6" name="Text Placeholder 12">
            <a:extLst>
              <a:ext uri="{FF2B5EF4-FFF2-40B4-BE49-F238E27FC236}">
                <a16:creationId xmlns:a16="http://schemas.microsoft.com/office/drawing/2014/main" id="{78A5A533-705A-55BF-9640-A52E87924F43}"/>
              </a:ext>
            </a:extLst>
          </p:cNvPr>
          <p:cNvSpPr>
            <a:spLocks noGrp="1"/>
          </p:cNvSpPr>
          <p:nvPr>
            <p:ph type="body" sz="quarter" idx="45" hasCustomPrompt="1"/>
          </p:nvPr>
        </p:nvSpPr>
        <p:spPr>
          <a:xfrm>
            <a:off x="6172903" y="3068637"/>
            <a:ext cx="3204000"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wo</a:t>
            </a:r>
          </a:p>
        </p:txBody>
      </p:sp>
      <p:sp>
        <p:nvSpPr>
          <p:cNvPr id="23" name="Text Placeholder 12">
            <a:extLst>
              <a:ext uri="{FF2B5EF4-FFF2-40B4-BE49-F238E27FC236}">
                <a16:creationId xmlns:a16="http://schemas.microsoft.com/office/drawing/2014/main" id="{5371896C-3F0D-4AC8-A11F-BDE72D75131C}"/>
              </a:ext>
            </a:extLst>
          </p:cNvPr>
          <p:cNvSpPr>
            <a:spLocks noGrp="1"/>
          </p:cNvSpPr>
          <p:nvPr>
            <p:ph type="body" sz="quarter" idx="28"/>
          </p:nvPr>
        </p:nvSpPr>
        <p:spPr>
          <a:xfrm>
            <a:off x="6172903" y="3437244"/>
            <a:ext cx="3204000" cy="1979613"/>
          </a:xfrm>
        </p:spPr>
        <p:txBody>
          <a:body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Tree>
    <p:extLst>
      <p:ext uri="{BB962C8B-B14F-4D97-AF65-F5344CB8AC3E}">
        <p14:creationId xmlns:p14="http://schemas.microsoft.com/office/powerpoint/2010/main" val="210053485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3x Pictogram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5" y="368828"/>
            <a:ext cx="10692860" cy="251885"/>
          </a:xfrm>
        </p:spPr>
        <p:txBody>
          <a:bodyPr/>
          <a:lstStyle>
            <a:lvl1pPr>
              <a:defRPr/>
            </a:lvl1pPr>
          </a:lstStyle>
          <a:p>
            <a:r>
              <a:rPr lang="en-US"/>
              <a:t>Header avenir demi 24pt</a:t>
            </a:r>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5" y="752052"/>
            <a:ext cx="10692860"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6" name="Picture Placeholder 15">
            <a:extLst>
              <a:ext uri="{FF2B5EF4-FFF2-40B4-BE49-F238E27FC236}">
                <a16:creationId xmlns:a16="http://schemas.microsoft.com/office/drawing/2014/main" id="{5EA0C833-46C2-988C-0074-D6A83249C216}"/>
              </a:ext>
            </a:extLst>
          </p:cNvPr>
          <p:cNvSpPr>
            <a:spLocks noGrp="1"/>
          </p:cNvSpPr>
          <p:nvPr>
            <p:ph type="pic" sz="quarter" idx="20" hasCustomPrompt="1"/>
          </p:nvPr>
        </p:nvSpPr>
        <p:spPr>
          <a:xfrm>
            <a:off x="551231" y="1815305"/>
            <a:ext cx="936257" cy="892971"/>
          </a:xfrm>
          <a:noFill/>
        </p:spPr>
        <p:txBody>
          <a:bodyPr anchor="ctr" anchorCtr="0"/>
          <a:lstStyle>
            <a:lvl1pPr marL="0" indent="0" algn="ctr">
              <a:spcBef>
                <a:spcPts val="0"/>
              </a:spcBef>
              <a:buNone/>
              <a:defRPr sz="1050">
                <a:solidFill>
                  <a:schemeClr val="accent2"/>
                </a:solidFill>
                <a:latin typeface="+mn-lt"/>
              </a:defRPr>
            </a:lvl1pPr>
          </a:lstStyle>
          <a:p>
            <a:pPr lvl="0"/>
            <a:r>
              <a:rPr lang="en-GB"/>
              <a:t>click or drag </a:t>
            </a:r>
            <a:br>
              <a:rPr lang="en-GB"/>
            </a:br>
            <a:r>
              <a:rPr lang="en-GB"/>
              <a:t>to insert  pictogram</a:t>
            </a:r>
          </a:p>
        </p:txBody>
      </p:sp>
      <p:sp>
        <p:nvSpPr>
          <p:cNvPr id="5" name="Text Placeholder 12">
            <a:extLst>
              <a:ext uri="{FF2B5EF4-FFF2-40B4-BE49-F238E27FC236}">
                <a16:creationId xmlns:a16="http://schemas.microsoft.com/office/drawing/2014/main" id="{B2482E55-CD47-6253-53E5-42929A12AC26}"/>
              </a:ext>
            </a:extLst>
          </p:cNvPr>
          <p:cNvSpPr>
            <a:spLocks noGrp="1"/>
          </p:cNvSpPr>
          <p:nvPr>
            <p:ph type="body" sz="quarter" idx="41" hasCustomPrompt="1"/>
          </p:nvPr>
        </p:nvSpPr>
        <p:spPr>
          <a:xfrm>
            <a:off x="550864" y="3068637"/>
            <a:ext cx="3204000"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One</a:t>
            </a:r>
          </a:p>
        </p:txBody>
      </p:sp>
      <p:sp>
        <p:nvSpPr>
          <p:cNvPr id="15" name="Text Placeholder 12">
            <a:extLst>
              <a:ext uri="{FF2B5EF4-FFF2-40B4-BE49-F238E27FC236}">
                <a16:creationId xmlns:a16="http://schemas.microsoft.com/office/drawing/2014/main" id="{7E826685-2A04-0F68-4915-A118119AB364}"/>
              </a:ext>
            </a:extLst>
          </p:cNvPr>
          <p:cNvSpPr>
            <a:spLocks noGrp="1"/>
          </p:cNvSpPr>
          <p:nvPr>
            <p:ph type="body" sz="quarter" idx="26"/>
          </p:nvPr>
        </p:nvSpPr>
        <p:spPr>
          <a:xfrm>
            <a:off x="563381" y="3435900"/>
            <a:ext cx="3204000" cy="1979613"/>
          </a:xfrm>
        </p:spPr>
        <p:txBody>
          <a:bodyPr/>
          <a:lstStyle/>
          <a:p>
            <a:pPr lvl="0"/>
            <a:r>
              <a:rPr lang="en-US"/>
              <a:t>Click to edit Master text styles</a:t>
            </a:r>
          </a:p>
          <a:p>
            <a:pPr lvl="1"/>
            <a:r>
              <a:rPr lang="en-US"/>
              <a:t>Second level</a:t>
            </a:r>
          </a:p>
          <a:p>
            <a:pPr lvl="2"/>
            <a:r>
              <a:rPr lang="en-US"/>
              <a:t>Third level</a:t>
            </a:r>
          </a:p>
        </p:txBody>
      </p:sp>
      <p:sp>
        <p:nvSpPr>
          <p:cNvPr id="22" name="Picture Placeholder 15">
            <a:extLst>
              <a:ext uri="{FF2B5EF4-FFF2-40B4-BE49-F238E27FC236}">
                <a16:creationId xmlns:a16="http://schemas.microsoft.com/office/drawing/2014/main" id="{164A5E75-1C3A-DC3D-81BD-E0B3A4964763}"/>
              </a:ext>
            </a:extLst>
          </p:cNvPr>
          <p:cNvSpPr>
            <a:spLocks noGrp="1"/>
          </p:cNvSpPr>
          <p:nvPr>
            <p:ph type="pic" sz="quarter" idx="27" hasCustomPrompt="1"/>
          </p:nvPr>
        </p:nvSpPr>
        <p:spPr>
          <a:xfrm>
            <a:off x="4301608" y="1816649"/>
            <a:ext cx="930792" cy="892971"/>
          </a:xfrm>
          <a:noFill/>
        </p:spPr>
        <p:txBody>
          <a:bodyPr anchor="ctr" anchorCtr="0"/>
          <a:lstStyle>
            <a:lvl1pPr marL="0" indent="0" algn="ctr">
              <a:spcBef>
                <a:spcPts val="0"/>
              </a:spcBef>
              <a:buNone/>
              <a:defRPr sz="1050">
                <a:solidFill>
                  <a:schemeClr val="accent2"/>
                </a:solidFill>
                <a:latin typeface="+mn-lt"/>
              </a:defRPr>
            </a:lvl1pPr>
          </a:lstStyle>
          <a:p>
            <a:pPr lvl="0"/>
            <a:r>
              <a:rPr lang="en-GB"/>
              <a:t>click or drag </a:t>
            </a:r>
            <a:br>
              <a:rPr lang="en-GB"/>
            </a:br>
            <a:r>
              <a:rPr lang="en-GB"/>
              <a:t>to insert  pictogram</a:t>
            </a:r>
          </a:p>
        </p:txBody>
      </p:sp>
      <p:sp>
        <p:nvSpPr>
          <p:cNvPr id="6" name="Text Placeholder 12">
            <a:extLst>
              <a:ext uri="{FF2B5EF4-FFF2-40B4-BE49-F238E27FC236}">
                <a16:creationId xmlns:a16="http://schemas.microsoft.com/office/drawing/2014/main" id="{78A5A533-705A-55BF-9640-A52E87924F43}"/>
              </a:ext>
            </a:extLst>
          </p:cNvPr>
          <p:cNvSpPr>
            <a:spLocks noGrp="1"/>
          </p:cNvSpPr>
          <p:nvPr>
            <p:ph type="body" sz="quarter" idx="45" hasCustomPrompt="1"/>
          </p:nvPr>
        </p:nvSpPr>
        <p:spPr>
          <a:xfrm>
            <a:off x="4301240" y="3068637"/>
            <a:ext cx="3204000"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wo</a:t>
            </a:r>
          </a:p>
        </p:txBody>
      </p:sp>
      <p:sp>
        <p:nvSpPr>
          <p:cNvPr id="23" name="Text Placeholder 12">
            <a:extLst>
              <a:ext uri="{FF2B5EF4-FFF2-40B4-BE49-F238E27FC236}">
                <a16:creationId xmlns:a16="http://schemas.microsoft.com/office/drawing/2014/main" id="{5371896C-3F0D-4AC8-A11F-BDE72D75131C}"/>
              </a:ext>
            </a:extLst>
          </p:cNvPr>
          <p:cNvSpPr>
            <a:spLocks noGrp="1"/>
          </p:cNvSpPr>
          <p:nvPr>
            <p:ph type="body" sz="quarter" idx="28"/>
          </p:nvPr>
        </p:nvSpPr>
        <p:spPr>
          <a:xfrm>
            <a:off x="4301240" y="3437244"/>
            <a:ext cx="3204000" cy="1979613"/>
          </a:xfrm>
        </p:spPr>
        <p:txBody>
          <a:bodyPr/>
          <a:lstStyle/>
          <a:p>
            <a:pPr lvl="0"/>
            <a:r>
              <a:rPr lang="en-US"/>
              <a:t>Click to edit Master text styles</a:t>
            </a:r>
          </a:p>
          <a:p>
            <a:pPr lvl="1"/>
            <a:r>
              <a:rPr lang="en-US"/>
              <a:t>Second level</a:t>
            </a:r>
          </a:p>
          <a:p>
            <a:pPr lvl="2"/>
            <a:r>
              <a:rPr lang="en-US"/>
              <a:t>Third level</a:t>
            </a:r>
          </a:p>
        </p:txBody>
      </p:sp>
      <p:sp>
        <p:nvSpPr>
          <p:cNvPr id="24" name="Picture Placeholder 15">
            <a:extLst>
              <a:ext uri="{FF2B5EF4-FFF2-40B4-BE49-F238E27FC236}">
                <a16:creationId xmlns:a16="http://schemas.microsoft.com/office/drawing/2014/main" id="{113F9B6D-211A-B9B6-4248-1FACCD47C162}"/>
              </a:ext>
            </a:extLst>
          </p:cNvPr>
          <p:cNvSpPr>
            <a:spLocks noGrp="1"/>
          </p:cNvSpPr>
          <p:nvPr>
            <p:ph type="pic" sz="quarter" idx="29" hasCustomPrompt="1"/>
          </p:nvPr>
        </p:nvSpPr>
        <p:spPr>
          <a:xfrm>
            <a:off x="8039099" y="1816892"/>
            <a:ext cx="936257" cy="892971"/>
          </a:xfrm>
          <a:noFill/>
        </p:spPr>
        <p:txBody>
          <a:bodyPr anchor="ctr" anchorCtr="0"/>
          <a:lstStyle>
            <a:lvl1pPr marL="0" indent="0" algn="ctr">
              <a:spcBef>
                <a:spcPts val="0"/>
              </a:spcBef>
              <a:buNone/>
              <a:defRPr sz="1050">
                <a:solidFill>
                  <a:schemeClr val="accent2"/>
                </a:solidFill>
                <a:latin typeface="+mn-lt"/>
              </a:defRPr>
            </a:lvl1pPr>
          </a:lstStyle>
          <a:p>
            <a:pPr lvl="0"/>
            <a:r>
              <a:rPr lang="en-GB"/>
              <a:t>click or drag </a:t>
            </a:r>
            <a:br>
              <a:rPr lang="en-GB"/>
            </a:br>
            <a:r>
              <a:rPr lang="en-GB"/>
              <a:t>to insert  pictogram</a:t>
            </a:r>
          </a:p>
        </p:txBody>
      </p:sp>
      <p:sp>
        <p:nvSpPr>
          <p:cNvPr id="7" name="Text Placeholder 12">
            <a:extLst>
              <a:ext uri="{FF2B5EF4-FFF2-40B4-BE49-F238E27FC236}">
                <a16:creationId xmlns:a16="http://schemas.microsoft.com/office/drawing/2014/main" id="{6B81F170-703F-7395-84C2-03E6D0796583}"/>
              </a:ext>
            </a:extLst>
          </p:cNvPr>
          <p:cNvSpPr>
            <a:spLocks noGrp="1"/>
          </p:cNvSpPr>
          <p:nvPr>
            <p:ph type="body" sz="quarter" idx="67" hasCustomPrompt="1"/>
          </p:nvPr>
        </p:nvSpPr>
        <p:spPr>
          <a:xfrm>
            <a:off x="8039099" y="3068637"/>
            <a:ext cx="3204000"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hree</a:t>
            </a:r>
          </a:p>
        </p:txBody>
      </p:sp>
      <p:sp>
        <p:nvSpPr>
          <p:cNvPr id="25" name="Text Placeholder 12">
            <a:extLst>
              <a:ext uri="{FF2B5EF4-FFF2-40B4-BE49-F238E27FC236}">
                <a16:creationId xmlns:a16="http://schemas.microsoft.com/office/drawing/2014/main" id="{9319EC4E-4AC2-69F0-186B-251CEA53F4F3}"/>
              </a:ext>
            </a:extLst>
          </p:cNvPr>
          <p:cNvSpPr>
            <a:spLocks noGrp="1"/>
          </p:cNvSpPr>
          <p:nvPr>
            <p:ph type="body" sz="quarter" idx="30"/>
          </p:nvPr>
        </p:nvSpPr>
        <p:spPr>
          <a:xfrm>
            <a:off x="8039099" y="3437487"/>
            <a:ext cx="3204000" cy="1979613"/>
          </a:xfrm>
        </p:spPr>
        <p:txBody>
          <a:body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Tree>
    <p:extLst>
      <p:ext uri="{BB962C8B-B14F-4D97-AF65-F5344CB8AC3E}">
        <p14:creationId xmlns:p14="http://schemas.microsoft.com/office/powerpoint/2010/main" val="226205885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4x Pictogram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10692859" cy="251885"/>
          </a:xfrm>
        </p:spPr>
        <p:txBody>
          <a:bodyPr/>
          <a:lstStyle>
            <a:lvl1pPr>
              <a:defRPr/>
            </a:lvl1pPr>
          </a:lstStyle>
          <a:p>
            <a:r>
              <a:rPr lang="en-US"/>
              <a:t>Header avenir demi 24pt</a:t>
            </a:r>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5" y="752052"/>
            <a:ext cx="10692858"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6" name="Picture Placeholder 15">
            <a:extLst>
              <a:ext uri="{FF2B5EF4-FFF2-40B4-BE49-F238E27FC236}">
                <a16:creationId xmlns:a16="http://schemas.microsoft.com/office/drawing/2014/main" id="{5EA0C833-46C2-988C-0074-D6A83249C216}"/>
              </a:ext>
            </a:extLst>
          </p:cNvPr>
          <p:cNvSpPr>
            <a:spLocks noGrp="1"/>
          </p:cNvSpPr>
          <p:nvPr>
            <p:ph type="pic" sz="quarter" idx="20" hasCustomPrompt="1"/>
          </p:nvPr>
        </p:nvSpPr>
        <p:spPr>
          <a:xfrm>
            <a:off x="551231" y="1815304"/>
            <a:ext cx="936257" cy="892971"/>
          </a:xfrm>
          <a:noFill/>
        </p:spPr>
        <p:txBody>
          <a:bodyPr anchor="ctr" anchorCtr="0"/>
          <a:lstStyle>
            <a:lvl1pPr marL="0" indent="0" algn="ctr">
              <a:spcBef>
                <a:spcPts val="0"/>
              </a:spcBef>
              <a:buNone/>
              <a:defRPr sz="1000">
                <a:solidFill>
                  <a:schemeClr val="accent2"/>
                </a:solidFill>
                <a:latin typeface="+mn-lt"/>
              </a:defRPr>
            </a:lvl1pPr>
          </a:lstStyle>
          <a:p>
            <a:pPr lvl="0"/>
            <a:r>
              <a:rPr lang="en-GB"/>
              <a:t>click or drag </a:t>
            </a:r>
            <a:br>
              <a:rPr lang="en-GB"/>
            </a:br>
            <a:r>
              <a:rPr lang="en-GB"/>
              <a:t>to insert  pictogram</a:t>
            </a:r>
          </a:p>
        </p:txBody>
      </p:sp>
      <p:sp>
        <p:nvSpPr>
          <p:cNvPr id="5" name="Text Placeholder 12">
            <a:extLst>
              <a:ext uri="{FF2B5EF4-FFF2-40B4-BE49-F238E27FC236}">
                <a16:creationId xmlns:a16="http://schemas.microsoft.com/office/drawing/2014/main" id="{169E0A6E-F6FC-97AD-7624-C07FE47220AD}"/>
              </a:ext>
            </a:extLst>
          </p:cNvPr>
          <p:cNvSpPr>
            <a:spLocks noGrp="1"/>
          </p:cNvSpPr>
          <p:nvPr>
            <p:ph type="body" sz="quarter" idx="41" hasCustomPrompt="1"/>
          </p:nvPr>
        </p:nvSpPr>
        <p:spPr>
          <a:xfrm>
            <a:off x="550864" y="3068637"/>
            <a:ext cx="2268000"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One</a:t>
            </a:r>
          </a:p>
        </p:txBody>
      </p:sp>
      <p:sp>
        <p:nvSpPr>
          <p:cNvPr id="15" name="Text Placeholder 12">
            <a:extLst>
              <a:ext uri="{FF2B5EF4-FFF2-40B4-BE49-F238E27FC236}">
                <a16:creationId xmlns:a16="http://schemas.microsoft.com/office/drawing/2014/main" id="{7E826685-2A04-0F68-4915-A118119AB364}"/>
              </a:ext>
            </a:extLst>
          </p:cNvPr>
          <p:cNvSpPr>
            <a:spLocks noGrp="1"/>
          </p:cNvSpPr>
          <p:nvPr>
            <p:ph type="body" sz="quarter" idx="26"/>
          </p:nvPr>
        </p:nvSpPr>
        <p:spPr>
          <a:xfrm>
            <a:off x="550864" y="3429000"/>
            <a:ext cx="2268000" cy="1979613"/>
          </a:xfrm>
        </p:spPr>
        <p:txBody>
          <a:bodyPr/>
          <a:lstStyle/>
          <a:p>
            <a:pPr lvl="0"/>
            <a:r>
              <a:rPr lang="en-US"/>
              <a:t>Click to edit Master text styles</a:t>
            </a:r>
          </a:p>
          <a:p>
            <a:pPr lvl="1"/>
            <a:r>
              <a:rPr lang="en-US"/>
              <a:t>Second level</a:t>
            </a:r>
          </a:p>
          <a:p>
            <a:pPr lvl="2"/>
            <a:r>
              <a:rPr lang="en-US"/>
              <a:t>Third level</a:t>
            </a:r>
          </a:p>
        </p:txBody>
      </p:sp>
      <p:sp>
        <p:nvSpPr>
          <p:cNvPr id="22" name="Picture Placeholder 15">
            <a:extLst>
              <a:ext uri="{FF2B5EF4-FFF2-40B4-BE49-F238E27FC236}">
                <a16:creationId xmlns:a16="http://schemas.microsoft.com/office/drawing/2014/main" id="{164A5E75-1C3A-DC3D-81BD-E0B3A4964763}"/>
              </a:ext>
            </a:extLst>
          </p:cNvPr>
          <p:cNvSpPr>
            <a:spLocks noGrp="1"/>
          </p:cNvSpPr>
          <p:nvPr>
            <p:ph type="pic" sz="quarter" idx="27" hasCustomPrompt="1"/>
          </p:nvPr>
        </p:nvSpPr>
        <p:spPr>
          <a:xfrm>
            <a:off x="3359518" y="1815304"/>
            <a:ext cx="936257" cy="892971"/>
          </a:xfrm>
          <a:noFill/>
        </p:spPr>
        <p:txBody>
          <a:bodyPr anchor="ctr" anchorCtr="0"/>
          <a:lstStyle>
            <a:lvl1pPr marL="0" indent="0" algn="ctr">
              <a:spcBef>
                <a:spcPts val="0"/>
              </a:spcBef>
              <a:buNone/>
              <a:defRPr sz="1000">
                <a:solidFill>
                  <a:schemeClr val="accent2"/>
                </a:solidFill>
                <a:latin typeface="+mn-lt"/>
              </a:defRPr>
            </a:lvl1pPr>
          </a:lstStyle>
          <a:p>
            <a:pPr lvl="0"/>
            <a:r>
              <a:rPr lang="en-GB"/>
              <a:t>click or drag </a:t>
            </a:r>
            <a:br>
              <a:rPr lang="en-GB"/>
            </a:br>
            <a:r>
              <a:rPr lang="en-GB"/>
              <a:t>to insert  pictogram</a:t>
            </a:r>
          </a:p>
        </p:txBody>
      </p:sp>
      <p:sp>
        <p:nvSpPr>
          <p:cNvPr id="6" name="Text Placeholder 12">
            <a:extLst>
              <a:ext uri="{FF2B5EF4-FFF2-40B4-BE49-F238E27FC236}">
                <a16:creationId xmlns:a16="http://schemas.microsoft.com/office/drawing/2014/main" id="{C8EA8597-2A4A-0CD6-F43E-581D734CDCAD}"/>
              </a:ext>
            </a:extLst>
          </p:cNvPr>
          <p:cNvSpPr>
            <a:spLocks noGrp="1"/>
          </p:cNvSpPr>
          <p:nvPr>
            <p:ph type="body" sz="quarter" idx="45" hasCustomPrompt="1"/>
          </p:nvPr>
        </p:nvSpPr>
        <p:spPr>
          <a:xfrm>
            <a:off x="3364873" y="3068637"/>
            <a:ext cx="2268000"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wo</a:t>
            </a:r>
          </a:p>
        </p:txBody>
      </p:sp>
      <p:sp>
        <p:nvSpPr>
          <p:cNvPr id="23" name="Text Placeholder 12">
            <a:extLst>
              <a:ext uri="{FF2B5EF4-FFF2-40B4-BE49-F238E27FC236}">
                <a16:creationId xmlns:a16="http://schemas.microsoft.com/office/drawing/2014/main" id="{5371896C-3F0D-4AC8-A11F-BDE72D75131C}"/>
              </a:ext>
            </a:extLst>
          </p:cNvPr>
          <p:cNvSpPr>
            <a:spLocks noGrp="1"/>
          </p:cNvSpPr>
          <p:nvPr>
            <p:ph type="body" sz="quarter" idx="28"/>
          </p:nvPr>
        </p:nvSpPr>
        <p:spPr>
          <a:xfrm>
            <a:off x="3359151" y="3429000"/>
            <a:ext cx="2268000" cy="1979613"/>
          </a:xfrm>
        </p:spPr>
        <p:txBody>
          <a:bodyPr/>
          <a:lstStyle/>
          <a:p>
            <a:pPr lvl="0"/>
            <a:r>
              <a:rPr lang="en-US"/>
              <a:t>Click to edit Master text styles</a:t>
            </a:r>
          </a:p>
          <a:p>
            <a:pPr lvl="1"/>
            <a:r>
              <a:rPr lang="en-US"/>
              <a:t>Second level</a:t>
            </a:r>
          </a:p>
          <a:p>
            <a:pPr lvl="2"/>
            <a:r>
              <a:rPr lang="en-US"/>
              <a:t>Third level</a:t>
            </a:r>
          </a:p>
        </p:txBody>
      </p:sp>
      <p:sp>
        <p:nvSpPr>
          <p:cNvPr id="24" name="Picture Placeholder 15">
            <a:extLst>
              <a:ext uri="{FF2B5EF4-FFF2-40B4-BE49-F238E27FC236}">
                <a16:creationId xmlns:a16="http://schemas.microsoft.com/office/drawing/2014/main" id="{113F9B6D-211A-B9B6-4248-1FACCD47C162}"/>
              </a:ext>
            </a:extLst>
          </p:cNvPr>
          <p:cNvSpPr>
            <a:spLocks noGrp="1"/>
          </p:cNvSpPr>
          <p:nvPr>
            <p:ph type="pic" sz="quarter" idx="29" hasCustomPrompt="1"/>
          </p:nvPr>
        </p:nvSpPr>
        <p:spPr>
          <a:xfrm>
            <a:off x="6167805" y="1815304"/>
            <a:ext cx="936257" cy="892971"/>
          </a:xfrm>
          <a:noFill/>
        </p:spPr>
        <p:txBody>
          <a:bodyPr anchor="ctr" anchorCtr="0"/>
          <a:lstStyle>
            <a:lvl1pPr marL="0" indent="0" algn="ctr">
              <a:spcBef>
                <a:spcPts val="0"/>
              </a:spcBef>
              <a:buNone/>
              <a:defRPr sz="1000">
                <a:solidFill>
                  <a:schemeClr val="accent2"/>
                </a:solidFill>
                <a:latin typeface="+mn-lt"/>
              </a:defRPr>
            </a:lvl1pPr>
          </a:lstStyle>
          <a:p>
            <a:pPr lvl="0"/>
            <a:r>
              <a:rPr lang="en-GB"/>
              <a:t>click or drag </a:t>
            </a:r>
            <a:br>
              <a:rPr lang="en-GB"/>
            </a:br>
            <a:r>
              <a:rPr lang="en-GB"/>
              <a:t>to insert  pictogram</a:t>
            </a:r>
          </a:p>
        </p:txBody>
      </p:sp>
      <p:sp>
        <p:nvSpPr>
          <p:cNvPr id="7" name="Text Placeholder 12">
            <a:extLst>
              <a:ext uri="{FF2B5EF4-FFF2-40B4-BE49-F238E27FC236}">
                <a16:creationId xmlns:a16="http://schemas.microsoft.com/office/drawing/2014/main" id="{68A568C4-ADFE-5A6C-2391-882D49319A87}"/>
              </a:ext>
            </a:extLst>
          </p:cNvPr>
          <p:cNvSpPr>
            <a:spLocks noGrp="1"/>
          </p:cNvSpPr>
          <p:nvPr>
            <p:ph type="body" sz="quarter" idx="67" hasCustomPrompt="1"/>
          </p:nvPr>
        </p:nvSpPr>
        <p:spPr>
          <a:xfrm>
            <a:off x="6167438" y="3068637"/>
            <a:ext cx="2268000"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hree</a:t>
            </a:r>
          </a:p>
        </p:txBody>
      </p:sp>
      <p:sp>
        <p:nvSpPr>
          <p:cNvPr id="25" name="Text Placeholder 12">
            <a:extLst>
              <a:ext uri="{FF2B5EF4-FFF2-40B4-BE49-F238E27FC236}">
                <a16:creationId xmlns:a16="http://schemas.microsoft.com/office/drawing/2014/main" id="{9319EC4E-4AC2-69F0-186B-251CEA53F4F3}"/>
              </a:ext>
            </a:extLst>
          </p:cNvPr>
          <p:cNvSpPr>
            <a:spLocks noGrp="1"/>
          </p:cNvSpPr>
          <p:nvPr>
            <p:ph type="body" sz="quarter" idx="30"/>
          </p:nvPr>
        </p:nvSpPr>
        <p:spPr>
          <a:xfrm>
            <a:off x="6167438" y="3429000"/>
            <a:ext cx="2268000" cy="1979613"/>
          </a:xfrm>
        </p:spPr>
        <p:txBody>
          <a:bodyPr/>
          <a:lstStyle/>
          <a:p>
            <a:pPr lvl="0"/>
            <a:r>
              <a:rPr lang="en-US"/>
              <a:t>Click to edit Master text styles</a:t>
            </a:r>
          </a:p>
          <a:p>
            <a:pPr lvl="1"/>
            <a:r>
              <a:rPr lang="en-US"/>
              <a:t>Second level</a:t>
            </a:r>
          </a:p>
          <a:p>
            <a:pPr lvl="2"/>
            <a:r>
              <a:rPr lang="en-US"/>
              <a:t>Third level</a:t>
            </a:r>
          </a:p>
        </p:txBody>
      </p:sp>
      <p:sp>
        <p:nvSpPr>
          <p:cNvPr id="26" name="Picture Placeholder 15">
            <a:extLst>
              <a:ext uri="{FF2B5EF4-FFF2-40B4-BE49-F238E27FC236}">
                <a16:creationId xmlns:a16="http://schemas.microsoft.com/office/drawing/2014/main" id="{B2667B7A-D629-4091-56C6-D363D67E793B}"/>
              </a:ext>
            </a:extLst>
          </p:cNvPr>
          <p:cNvSpPr>
            <a:spLocks noGrp="1"/>
          </p:cNvSpPr>
          <p:nvPr>
            <p:ph type="pic" sz="quarter" idx="31" hasCustomPrompt="1"/>
          </p:nvPr>
        </p:nvSpPr>
        <p:spPr>
          <a:xfrm>
            <a:off x="8976091" y="1815304"/>
            <a:ext cx="936257" cy="892971"/>
          </a:xfrm>
          <a:noFill/>
        </p:spPr>
        <p:txBody>
          <a:bodyPr anchor="ctr" anchorCtr="0"/>
          <a:lstStyle>
            <a:lvl1pPr marL="0" indent="0" algn="ctr">
              <a:spcBef>
                <a:spcPts val="0"/>
              </a:spcBef>
              <a:buNone/>
              <a:defRPr sz="1000">
                <a:solidFill>
                  <a:schemeClr val="accent2"/>
                </a:solidFill>
                <a:latin typeface="+mn-lt"/>
              </a:defRPr>
            </a:lvl1pPr>
          </a:lstStyle>
          <a:p>
            <a:pPr lvl="0"/>
            <a:r>
              <a:rPr lang="en-GB"/>
              <a:t>click or drag </a:t>
            </a:r>
            <a:br>
              <a:rPr lang="en-GB"/>
            </a:br>
            <a:r>
              <a:rPr lang="en-GB"/>
              <a:t>to insert  pictogram</a:t>
            </a:r>
          </a:p>
        </p:txBody>
      </p:sp>
      <p:sp>
        <p:nvSpPr>
          <p:cNvPr id="9" name="Text Placeholder 12">
            <a:extLst>
              <a:ext uri="{FF2B5EF4-FFF2-40B4-BE49-F238E27FC236}">
                <a16:creationId xmlns:a16="http://schemas.microsoft.com/office/drawing/2014/main" id="{27AAA7D2-9EA7-4887-CE73-9A4FFE173C8C}"/>
              </a:ext>
            </a:extLst>
          </p:cNvPr>
          <p:cNvSpPr>
            <a:spLocks noGrp="1"/>
          </p:cNvSpPr>
          <p:nvPr>
            <p:ph type="body" sz="quarter" idx="70" hasCustomPrompt="1"/>
          </p:nvPr>
        </p:nvSpPr>
        <p:spPr>
          <a:xfrm>
            <a:off x="8982703" y="3068637"/>
            <a:ext cx="2268000"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Four</a:t>
            </a:r>
          </a:p>
        </p:txBody>
      </p:sp>
      <p:sp>
        <p:nvSpPr>
          <p:cNvPr id="27" name="Text Placeholder 12">
            <a:extLst>
              <a:ext uri="{FF2B5EF4-FFF2-40B4-BE49-F238E27FC236}">
                <a16:creationId xmlns:a16="http://schemas.microsoft.com/office/drawing/2014/main" id="{CA6B12B2-861A-5081-56F5-2053A7672719}"/>
              </a:ext>
            </a:extLst>
          </p:cNvPr>
          <p:cNvSpPr>
            <a:spLocks noGrp="1"/>
          </p:cNvSpPr>
          <p:nvPr>
            <p:ph type="body" sz="quarter" idx="32"/>
          </p:nvPr>
        </p:nvSpPr>
        <p:spPr>
          <a:xfrm>
            <a:off x="8975724" y="3429000"/>
            <a:ext cx="2268000" cy="1979613"/>
          </a:xfrm>
        </p:spPr>
        <p:txBody>
          <a:body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Tree>
    <p:extLst>
      <p:ext uri="{BB962C8B-B14F-4D97-AF65-F5344CB8AC3E}">
        <p14:creationId xmlns:p14="http://schemas.microsoft.com/office/powerpoint/2010/main" val="314109887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3x Columns - Pastel">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1A42F6E-246E-1108-4C12-F80987CC1815}"/>
              </a:ext>
            </a:extLst>
          </p:cNvPr>
          <p:cNvSpPr/>
          <p:nvPr userDrawn="1"/>
        </p:nvSpPr>
        <p:spPr>
          <a:xfrm>
            <a:off x="7896226" y="0"/>
            <a:ext cx="4295774" cy="6858000"/>
          </a:xfrm>
          <a:prstGeom prst="rect">
            <a:avLst/>
          </a:prstGeom>
          <a:solidFill>
            <a:srgbClr val="FAF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8" name="Text Placeholder 12">
            <a:extLst>
              <a:ext uri="{FF2B5EF4-FFF2-40B4-BE49-F238E27FC236}">
                <a16:creationId xmlns:a16="http://schemas.microsoft.com/office/drawing/2014/main" id="{3F44278E-E901-C1DE-92E4-ACA715734969}"/>
              </a:ext>
            </a:extLst>
          </p:cNvPr>
          <p:cNvSpPr>
            <a:spLocks noGrp="1"/>
          </p:cNvSpPr>
          <p:nvPr>
            <p:ph type="body" sz="quarter" idx="14"/>
          </p:nvPr>
        </p:nvSpPr>
        <p:spPr>
          <a:xfrm>
            <a:off x="550864"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9" name="Text Placeholder 12">
            <a:extLst>
              <a:ext uri="{FF2B5EF4-FFF2-40B4-BE49-F238E27FC236}">
                <a16:creationId xmlns:a16="http://schemas.microsoft.com/office/drawing/2014/main" id="{BF118552-E3C1-3540-F57A-9CA2F0C7D623}"/>
              </a:ext>
            </a:extLst>
          </p:cNvPr>
          <p:cNvSpPr>
            <a:spLocks noGrp="1"/>
          </p:cNvSpPr>
          <p:nvPr>
            <p:ph type="body" sz="quarter" idx="17"/>
          </p:nvPr>
        </p:nvSpPr>
        <p:spPr>
          <a:xfrm>
            <a:off x="4295151"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11" name="Text Placeholder 12">
            <a:extLst>
              <a:ext uri="{FF2B5EF4-FFF2-40B4-BE49-F238E27FC236}">
                <a16:creationId xmlns:a16="http://schemas.microsoft.com/office/drawing/2014/main" id="{A9CD24D4-DA21-58A6-D7F7-52F6BB2323FF}"/>
              </a:ext>
            </a:extLst>
          </p:cNvPr>
          <p:cNvSpPr>
            <a:spLocks noGrp="1"/>
          </p:cNvSpPr>
          <p:nvPr>
            <p:ph type="body" sz="quarter" idx="18"/>
          </p:nvPr>
        </p:nvSpPr>
        <p:spPr>
          <a:xfrm>
            <a:off x="8437136"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Tree>
    <p:extLst>
      <p:ext uri="{BB962C8B-B14F-4D97-AF65-F5344CB8AC3E}">
        <p14:creationId xmlns:p14="http://schemas.microsoft.com/office/powerpoint/2010/main" val="90104146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x Columns - Pastel">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1A42F6E-246E-1108-4C12-F80987CC1815}"/>
              </a:ext>
            </a:extLst>
          </p:cNvPr>
          <p:cNvSpPr/>
          <p:nvPr userDrawn="1"/>
        </p:nvSpPr>
        <p:spPr>
          <a:xfrm>
            <a:off x="6095997" y="0"/>
            <a:ext cx="6096003" cy="6858000"/>
          </a:xfrm>
          <a:prstGeom prst="rect">
            <a:avLst/>
          </a:prstGeom>
          <a:solidFill>
            <a:srgbClr val="FAF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
        <p:nvSpPr>
          <p:cNvPr id="6" name="Title 1">
            <a:extLst>
              <a:ext uri="{FF2B5EF4-FFF2-40B4-BE49-F238E27FC236}">
                <a16:creationId xmlns:a16="http://schemas.microsoft.com/office/drawing/2014/main" id="{72173C6D-32FE-71CF-2FBB-512DB6CF2C3F}"/>
              </a:ext>
            </a:extLst>
          </p:cNvPr>
          <p:cNvSpPr>
            <a:spLocks noGrp="1"/>
          </p:cNvSpPr>
          <p:nvPr>
            <p:ph type="title" hasCustomPrompt="1"/>
          </p:nvPr>
        </p:nvSpPr>
        <p:spPr>
          <a:xfrm>
            <a:off x="550865" y="368828"/>
            <a:ext cx="5075998" cy="251885"/>
          </a:xfrm>
        </p:spPr>
        <p:txBody>
          <a:bodyPr/>
          <a:lstStyle>
            <a:lvl1pPr>
              <a:defRPr/>
            </a:lvl1pPr>
          </a:lstStyle>
          <a:p>
            <a:r>
              <a:rPr lang="en-US"/>
              <a:t>Header avenir demi 24pt</a:t>
            </a:r>
            <a:endParaRPr lang="en-GB"/>
          </a:p>
        </p:txBody>
      </p:sp>
      <p:sp>
        <p:nvSpPr>
          <p:cNvPr id="7" name="Text Placeholder 9">
            <a:extLst>
              <a:ext uri="{FF2B5EF4-FFF2-40B4-BE49-F238E27FC236}">
                <a16:creationId xmlns:a16="http://schemas.microsoft.com/office/drawing/2014/main" id="{838C0768-BEC5-3152-F12C-35785BA74A8F}"/>
              </a:ext>
            </a:extLst>
          </p:cNvPr>
          <p:cNvSpPr>
            <a:spLocks noGrp="1"/>
          </p:cNvSpPr>
          <p:nvPr>
            <p:ph type="body" sz="quarter" idx="13" hasCustomPrompt="1"/>
          </p:nvPr>
        </p:nvSpPr>
        <p:spPr>
          <a:xfrm>
            <a:off x="550865" y="753852"/>
            <a:ext cx="5075998"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2" name="Text Placeholder 12">
            <a:extLst>
              <a:ext uri="{FF2B5EF4-FFF2-40B4-BE49-F238E27FC236}">
                <a16:creationId xmlns:a16="http://schemas.microsoft.com/office/drawing/2014/main" id="{8105A449-5BAE-DF74-F24B-A818099BCEBA}"/>
              </a:ext>
            </a:extLst>
          </p:cNvPr>
          <p:cNvSpPr>
            <a:spLocks noGrp="1"/>
          </p:cNvSpPr>
          <p:nvPr>
            <p:ph type="body" sz="quarter" idx="14"/>
          </p:nvPr>
        </p:nvSpPr>
        <p:spPr>
          <a:xfrm>
            <a:off x="550864" y="1808163"/>
            <a:ext cx="5076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13" name="Text Placeholder 12">
            <a:extLst>
              <a:ext uri="{FF2B5EF4-FFF2-40B4-BE49-F238E27FC236}">
                <a16:creationId xmlns:a16="http://schemas.microsoft.com/office/drawing/2014/main" id="{05C8FA5B-C103-3A91-5742-FA5FB511C8D8}"/>
              </a:ext>
            </a:extLst>
          </p:cNvPr>
          <p:cNvSpPr>
            <a:spLocks noGrp="1"/>
          </p:cNvSpPr>
          <p:nvPr>
            <p:ph type="body" sz="quarter" idx="15"/>
          </p:nvPr>
        </p:nvSpPr>
        <p:spPr>
          <a:xfrm>
            <a:off x="6636906" y="1808163"/>
            <a:ext cx="4606531" cy="4321175"/>
          </a:xfrm>
        </p:spPr>
        <p:txBody>
          <a:bodyPr/>
          <a:lstStyle>
            <a:lvl3pPr>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7113061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3x Columns - Blue / Purple Lef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DAD0FDE-F3B7-E9ED-8FBE-820CEDD9BD52}"/>
              </a:ext>
              <a:ext uri="{C183D7F6-B498-43B3-948B-1728B52AA6E4}">
                <adec:decorative xmlns:adec="http://schemas.microsoft.com/office/drawing/2017/decorative" val="1"/>
              </a:ext>
            </a:extLst>
          </p:cNvPr>
          <p:cNvSpPr/>
          <p:nvPr userDrawn="1"/>
        </p:nvSpPr>
        <p:spPr>
          <a:xfrm rot="10800000">
            <a:off x="0" y="0"/>
            <a:ext cx="4151311" cy="6858000"/>
          </a:xfrm>
          <a:prstGeom prst="rect">
            <a:avLst/>
          </a:prstGeom>
          <a:gradFill>
            <a:gsLst>
              <a:gs pos="85000">
                <a:srgbClr val="3595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5" y="368828"/>
            <a:ext cx="3204000" cy="251885"/>
          </a:xfrm>
        </p:spPr>
        <p:txBody>
          <a:bodyPr/>
          <a:lstStyle>
            <a:lvl1pPr>
              <a:defRPr>
                <a:solidFill>
                  <a:schemeClr val="bg1"/>
                </a:solidFill>
              </a:defRPr>
            </a:lvl1pPr>
          </a:lstStyle>
          <a:p>
            <a:r>
              <a:rPr lang="en-US"/>
              <a:t>Header avenir demi</a:t>
            </a:r>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5" y="752052"/>
            <a:ext cx="3204000" cy="336973"/>
          </a:xfrm>
          <a:prstGeom prst="rect">
            <a:avLst/>
          </a:prstGeom>
        </p:spPr>
        <p:txBody>
          <a:bodyPr lIns="0" tIns="0" rIns="0" bIns="0">
            <a:noAutofit/>
          </a:bodyPr>
          <a:lstStyle>
            <a:lvl1pPr marL="0" indent="0">
              <a:lnSpc>
                <a:spcPct val="90000"/>
              </a:lnSpc>
              <a:buNone/>
              <a:defRPr sz="2000">
                <a:solidFill>
                  <a:schemeClr val="bg1"/>
                </a:solidFill>
              </a:defRPr>
            </a:lvl1pPr>
          </a:lstStyle>
          <a:p>
            <a:pPr lvl="0"/>
            <a:r>
              <a:rPr lang="en-US"/>
              <a:t>Subhead avenir pro 20pt</a:t>
            </a:r>
            <a:endParaRPr lang="en-GB"/>
          </a:p>
        </p:txBody>
      </p:sp>
      <p:sp>
        <p:nvSpPr>
          <p:cNvPr id="11" name="Text Placeholder 12">
            <a:extLst>
              <a:ext uri="{FF2B5EF4-FFF2-40B4-BE49-F238E27FC236}">
                <a16:creationId xmlns:a16="http://schemas.microsoft.com/office/drawing/2014/main" id="{CBD94631-F21A-E9A8-E18B-36A8C2123E83}"/>
              </a:ext>
            </a:extLst>
          </p:cNvPr>
          <p:cNvSpPr>
            <a:spLocks noGrp="1"/>
          </p:cNvSpPr>
          <p:nvPr>
            <p:ph type="body" sz="quarter" idx="14"/>
          </p:nvPr>
        </p:nvSpPr>
        <p:spPr>
          <a:xfrm>
            <a:off x="550864" y="1811338"/>
            <a:ext cx="3204000" cy="432117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12" name="Text Placeholder 12">
            <a:extLst>
              <a:ext uri="{FF2B5EF4-FFF2-40B4-BE49-F238E27FC236}">
                <a16:creationId xmlns:a16="http://schemas.microsoft.com/office/drawing/2014/main" id="{78E62AFA-8CAC-DF8F-ECBF-F7D5E587FEDD}"/>
              </a:ext>
            </a:extLst>
          </p:cNvPr>
          <p:cNvSpPr>
            <a:spLocks noGrp="1"/>
          </p:cNvSpPr>
          <p:nvPr>
            <p:ph type="body" sz="quarter" idx="17"/>
          </p:nvPr>
        </p:nvSpPr>
        <p:spPr>
          <a:xfrm>
            <a:off x="4689299" y="1811338"/>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6" name="Text Placeholder 12">
            <a:extLst>
              <a:ext uri="{FF2B5EF4-FFF2-40B4-BE49-F238E27FC236}">
                <a16:creationId xmlns:a16="http://schemas.microsoft.com/office/drawing/2014/main" id="{C7C1BD0C-1BC2-0403-5041-362D436CBCD9}"/>
              </a:ext>
            </a:extLst>
          </p:cNvPr>
          <p:cNvSpPr>
            <a:spLocks noGrp="1"/>
          </p:cNvSpPr>
          <p:nvPr>
            <p:ph type="body" sz="quarter" idx="18"/>
          </p:nvPr>
        </p:nvSpPr>
        <p:spPr>
          <a:xfrm>
            <a:off x="8437138" y="1811338"/>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pic>
        <p:nvPicPr>
          <p:cNvPr id="8" name="Graphic 7">
            <a:extLst>
              <a:ext uri="{FF2B5EF4-FFF2-40B4-BE49-F238E27FC236}">
                <a16:creationId xmlns:a16="http://schemas.microsoft.com/office/drawing/2014/main" id="{9426BABF-82F1-BE8F-A605-733527406208}"/>
              </a:ext>
            </a:extLst>
          </p:cNvPr>
          <p:cNvPicPr>
            <a:picLocks noChangeAspect="1"/>
          </p:cNvPicPr>
          <p:nvPr userDrawn="1"/>
        </p:nvPicPr>
        <p:blipFill>
          <a:blip r:embed="rId2">
            <a:extLst>
              <a:ext uri="{96DAC541-7B7A-43D3-8B79-37D633B846F1}">
                <asvg:svgBlip xmlns:asvg="http://schemas.microsoft.com/office/drawing/2016/SVG/main" r:embed="rId3"/>
              </a:ext>
            </a:extLst>
          </a:blip>
          <a:srcRect l="9263" t="23870" r="9262" b="23680"/>
          <a:stretch/>
        </p:blipFill>
        <p:spPr>
          <a:xfrm>
            <a:off x="550863" y="6329363"/>
            <a:ext cx="1296000" cy="254793"/>
          </a:xfrm>
          <a:prstGeom prst="rect">
            <a:avLst/>
          </a:prstGeom>
        </p:spPr>
      </p:pic>
    </p:spTree>
    <p:extLst>
      <p:ext uri="{BB962C8B-B14F-4D97-AF65-F5344CB8AC3E}">
        <p14:creationId xmlns:p14="http://schemas.microsoft.com/office/powerpoint/2010/main" val="8547037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x Pictogram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10692859"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5" y="752052"/>
            <a:ext cx="10692858"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6" name="Picture Placeholder 15">
            <a:extLst>
              <a:ext uri="{FF2B5EF4-FFF2-40B4-BE49-F238E27FC236}">
                <a16:creationId xmlns:a16="http://schemas.microsoft.com/office/drawing/2014/main" id="{5EA0C833-46C2-988C-0074-D6A83249C216}"/>
              </a:ext>
            </a:extLst>
          </p:cNvPr>
          <p:cNvSpPr>
            <a:spLocks noGrp="1"/>
          </p:cNvSpPr>
          <p:nvPr>
            <p:ph type="pic" sz="quarter" idx="20" hasCustomPrompt="1"/>
          </p:nvPr>
        </p:nvSpPr>
        <p:spPr>
          <a:xfrm>
            <a:off x="551231" y="1815304"/>
            <a:ext cx="936257" cy="892971"/>
          </a:xfrm>
          <a:noFill/>
        </p:spPr>
        <p:txBody>
          <a:bodyPr anchor="ctr" anchorCtr="0"/>
          <a:lstStyle>
            <a:lvl1pPr marL="0" indent="0" algn="ctr">
              <a:spcBef>
                <a:spcPts val="0"/>
              </a:spcBef>
              <a:buNone/>
              <a:defRPr sz="1000">
                <a:solidFill>
                  <a:schemeClr val="accent2"/>
                </a:solidFill>
                <a:latin typeface="+mn-lt"/>
              </a:defRPr>
            </a:lvl1pPr>
          </a:lstStyle>
          <a:p>
            <a:pPr lvl="0"/>
            <a:r>
              <a:rPr lang="en-GB"/>
              <a:t>click or drag </a:t>
            </a:r>
            <a:br>
              <a:rPr lang="en-GB"/>
            </a:br>
            <a:r>
              <a:rPr lang="en-GB"/>
              <a:t>to insert pictogram</a:t>
            </a:r>
          </a:p>
        </p:txBody>
      </p:sp>
      <p:sp>
        <p:nvSpPr>
          <p:cNvPr id="15" name="Text Placeholder 12">
            <a:extLst>
              <a:ext uri="{FF2B5EF4-FFF2-40B4-BE49-F238E27FC236}">
                <a16:creationId xmlns:a16="http://schemas.microsoft.com/office/drawing/2014/main" id="{7E826685-2A04-0F68-4915-A118119AB364}"/>
              </a:ext>
            </a:extLst>
          </p:cNvPr>
          <p:cNvSpPr>
            <a:spLocks noGrp="1"/>
          </p:cNvSpPr>
          <p:nvPr>
            <p:ph type="body" sz="quarter" idx="26"/>
          </p:nvPr>
        </p:nvSpPr>
        <p:spPr>
          <a:xfrm>
            <a:off x="550864" y="3429000"/>
            <a:ext cx="2268000" cy="1979613"/>
          </a:xfrm>
        </p:spPr>
        <p:txBody>
          <a:bodyPr/>
          <a:lstStyle/>
          <a:p>
            <a:pPr lvl="0"/>
            <a:r>
              <a:rPr lang="en-US"/>
              <a:t>Click to edit Master text styles</a:t>
            </a:r>
          </a:p>
          <a:p>
            <a:pPr lvl="1"/>
            <a:r>
              <a:rPr lang="en-US"/>
              <a:t>Second level</a:t>
            </a:r>
          </a:p>
          <a:p>
            <a:pPr lvl="2"/>
            <a:r>
              <a:rPr lang="en-US"/>
              <a:t>Third level</a:t>
            </a:r>
          </a:p>
        </p:txBody>
      </p:sp>
      <p:sp>
        <p:nvSpPr>
          <p:cNvPr id="22" name="Picture Placeholder 15">
            <a:extLst>
              <a:ext uri="{FF2B5EF4-FFF2-40B4-BE49-F238E27FC236}">
                <a16:creationId xmlns:a16="http://schemas.microsoft.com/office/drawing/2014/main" id="{164A5E75-1C3A-DC3D-81BD-E0B3A4964763}"/>
              </a:ext>
            </a:extLst>
          </p:cNvPr>
          <p:cNvSpPr>
            <a:spLocks noGrp="1"/>
          </p:cNvSpPr>
          <p:nvPr>
            <p:ph type="pic" sz="quarter" idx="27" hasCustomPrompt="1"/>
          </p:nvPr>
        </p:nvSpPr>
        <p:spPr>
          <a:xfrm>
            <a:off x="3359518" y="1815304"/>
            <a:ext cx="936257" cy="892971"/>
          </a:xfrm>
          <a:noFill/>
        </p:spPr>
        <p:txBody>
          <a:bodyPr anchor="ctr" anchorCtr="0"/>
          <a:lstStyle>
            <a:lvl1pPr marL="0" indent="0" algn="ctr">
              <a:spcBef>
                <a:spcPts val="0"/>
              </a:spcBef>
              <a:buNone/>
              <a:defRPr sz="1000">
                <a:solidFill>
                  <a:schemeClr val="accent2"/>
                </a:solidFill>
                <a:latin typeface="+mn-lt"/>
              </a:defRPr>
            </a:lvl1pPr>
          </a:lstStyle>
          <a:p>
            <a:pPr lvl="0"/>
            <a:r>
              <a:rPr lang="en-GB"/>
              <a:t>click or drag </a:t>
            </a:r>
            <a:br>
              <a:rPr lang="en-GB"/>
            </a:br>
            <a:r>
              <a:rPr lang="en-GB"/>
              <a:t>to insert pictogram</a:t>
            </a:r>
          </a:p>
        </p:txBody>
      </p:sp>
      <p:sp>
        <p:nvSpPr>
          <p:cNvPr id="23" name="Text Placeholder 12">
            <a:extLst>
              <a:ext uri="{FF2B5EF4-FFF2-40B4-BE49-F238E27FC236}">
                <a16:creationId xmlns:a16="http://schemas.microsoft.com/office/drawing/2014/main" id="{5371896C-3F0D-4AC8-A11F-BDE72D75131C}"/>
              </a:ext>
            </a:extLst>
          </p:cNvPr>
          <p:cNvSpPr>
            <a:spLocks noGrp="1"/>
          </p:cNvSpPr>
          <p:nvPr>
            <p:ph type="body" sz="quarter" idx="28"/>
          </p:nvPr>
        </p:nvSpPr>
        <p:spPr>
          <a:xfrm>
            <a:off x="3359151" y="3429000"/>
            <a:ext cx="2268000" cy="1979613"/>
          </a:xfrm>
        </p:spPr>
        <p:txBody>
          <a:bodyPr/>
          <a:lstStyle/>
          <a:p>
            <a:pPr lvl="0"/>
            <a:r>
              <a:rPr lang="en-US"/>
              <a:t>Click to edit Master text styles</a:t>
            </a:r>
          </a:p>
          <a:p>
            <a:pPr lvl="1"/>
            <a:r>
              <a:rPr lang="en-US"/>
              <a:t>Second level</a:t>
            </a:r>
          </a:p>
          <a:p>
            <a:pPr lvl="2"/>
            <a:r>
              <a:rPr lang="en-US"/>
              <a:t>Third level</a:t>
            </a:r>
          </a:p>
        </p:txBody>
      </p:sp>
      <p:sp>
        <p:nvSpPr>
          <p:cNvPr id="24" name="Picture Placeholder 15">
            <a:extLst>
              <a:ext uri="{FF2B5EF4-FFF2-40B4-BE49-F238E27FC236}">
                <a16:creationId xmlns:a16="http://schemas.microsoft.com/office/drawing/2014/main" id="{113F9B6D-211A-B9B6-4248-1FACCD47C162}"/>
              </a:ext>
            </a:extLst>
          </p:cNvPr>
          <p:cNvSpPr>
            <a:spLocks noGrp="1"/>
          </p:cNvSpPr>
          <p:nvPr>
            <p:ph type="pic" sz="quarter" idx="29" hasCustomPrompt="1"/>
          </p:nvPr>
        </p:nvSpPr>
        <p:spPr>
          <a:xfrm>
            <a:off x="6167805" y="1815304"/>
            <a:ext cx="936257" cy="892971"/>
          </a:xfrm>
          <a:noFill/>
        </p:spPr>
        <p:txBody>
          <a:bodyPr anchor="ctr" anchorCtr="0"/>
          <a:lstStyle>
            <a:lvl1pPr marL="0" indent="0" algn="ctr">
              <a:spcBef>
                <a:spcPts val="0"/>
              </a:spcBef>
              <a:buNone/>
              <a:defRPr sz="1000">
                <a:solidFill>
                  <a:schemeClr val="accent2"/>
                </a:solidFill>
                <a:latin typeface="+mn-lt"/>
              </a:defRPr>
            </a:lvl1pPr>
          </a:lstStyle>
          <a:p>
            <a:pPr lvl="0"/>
            <a:r>
              <a:rPr lang="en-GB"/>
              <a:t>click or drag </a:t>
            </a:r>
            <a:br>
              <a:rPr lang="en-GB"/>
            </a:br>
            <a:r>
              <a:rPr lang="en-GB"/>
              <a:t>to insert pictogram</a:t>
            </a:r>
          </a:p>
        </p:txBody>
      </p:sp>
      <p:sp>
        <p:nvSpPr>
          <p:cNvPr id="25" name="Text Placeholder 12">
            <a:extLst>
              <a:ext uri="{FF2B5EF4-FFF2-40B4-BE49-F238E27FC236}">
                <a16:creationId xmlns:a16="http://schemas.microsoft.com/office/drawing/2014/main" id="{9319EC4E-4AC2-69F0-186B-251CEA53F4F3}"/>
              </a:ext>
            </a:extLst>
          </p:cNvPr>
          <p:cNvSpPr>
            <a:spLocks noGrp="1"/>
          </p:cNvSpPr>
          <p:nvPr>
            <p:ph type="body" sz="quarter" idx="30"/>
          </p:nvPr>
        </p:nvSpPr>
        <p:spPr>
          <a:xfrm>
            <a:off x="6167438" y="3429000"/>
            <a:ext cx="2268000" cy="1979613"/>
          </a:xfrm>
        </p:spPr>
        <p:txBody>
          <a:bodyPr/>
          <a:lstStyle/>
          <a:p>
            <a:pPr lvl="0"/>
            <a:r>
              <a:rPr lang="en-US"/>
              <a:t>Click to edit Master text styles</a:t>
            </a:r>
          </a:p>
          <a:p>
            <a:pPr lvl="1"/>
            <a:r>
              <a:rPr lang="en-US"/>
              <a:t>Second level</a:t>
            </a:r>
          </a:p>
          <a:p>
            <a:pPr lvl="2"/>
            <a:r>
              <a:rPr lang="en-US"/>
              <a:t>Third level</a:t>
            </a:r>
          </a:p>
        </p:txBody>
      </p:sp>
      <p:sp>
        <p:nvSpPr>
          <p:cNvPr id="26" name="Picture Placeholder 15">
            <a:extLst>
              <a:ext uri="{FF2B5EF4-FFF2-40B4-BE49-F238E27FC236}">
                <a16:creationId xmlns:a16="http://schemas.microsoft.com/office/drawing/2014/main" id="{B2667B7A-D629-4091-56C6-D363D67E793B}"/>
              </a:ext>
            </a:extLst>
          </p:cNvPr>
          <p:cNvSpPr>
            <a:spLocks noGrp="1"/>
          </p:cNvSpPr>
          <p:nvPr>
            <p:ph type="pic" sz="quarter" idx="31" hasCustomPrompt="1"/>
          </p:nvPr>
        </p:nvSpPr>
        <p:spPr>
          <a:xfrm>
            <a:off x="8976091" y="1815304"/>
            <a:ext cx="936257" cy="892971"/>
          </a:xfrm>
          <a:noFill/>
        </p:spPr>
        <p:txBody>
          <a:bodyPr anchor="ctr" anchorCtr="0"/>
          <a:lstStyle>
            <a:lvl1pPr marL="0" indent="0" algn="ctr">
              <a:spcBef>
                <a:spcPts val="0"/>
              </a:spcBef>
              <a:buNone/>
              <a:defRPr sz="1000">
                <a:solidFill>
                  <a:schemeClr val="accent2"/>
                </a:solidFill>
                <a:latin typeface="+mn-lt"/>
              </a:defRPr>
            </a:lvl1pPr>
          </a:lstStyle>
          <a:p>
            <a:pPr lvl="0"/>
            <a:r>
              <a:rPr lang="en-GB"/>
              <a:t>click or drag </a:t>
            </a:r>
            <a:br>
              <a:rPr lang="en-GB"/>
            </a:br>
            <a:r>
              <a:rPr lang="en-GB" err="1"/>
              <a:t>toinsert</a:t>
            </a:r>
            <a:r>
              <a:rPr lang="en-GB"/>
              <a:t> pictogram</a:t>
            </a:r>
          </a:p>
        </p:txBody>
      </p:sp>
      <p:sp>
        <p:nvSpPr>
          <p:cNvPr id="27" name="Text Placeholder 12">
            <a:extLst>
              <a:ext uri="{FF2B5EF4-FFF2-40B4-BE49-F238E27FC236}">
                <a16:creationId xmlns:a16="http://schemas.microsoft.com/office/drawing/2014/main" id="{CA6B12B2-861A-5081-56F5-2053A7672719}"/>
              </a:ext>
            </a:extLst>
          </p:cNvPr>
          <p:cNvSpPr>
            <a:spLocks noGrp="1"/>
          </p:cNvSpPr>
          <p:nvPr>
            <p:ph type="body" sz="quarter" idx="32"/>
          </p:nvPr>
        </p:nvSpPr>
        <p:spPr>
          <a:xfrm>
            <a:off x="8975724" y="3429000"/>
            <a:ext cx="2268000" cy="1979613"/>
          </a:xfrm>
        </p:spPr>
        <p:txBody>
          <a:bodyPr/>
          <a:lstStyle/>
          <a:p>
            <a:pPr lvl="0"/>
            <a:r>
              <a:rPr lang="en-US"/>
              <a:t>Click to edit Master text styles</a:t>
            </a:r>
          </a:p>
          <a:p>
            <a:pPr lvl="1"/>
            <a:r>
              <a:rPr lang="en-US"/>
              <a:t>Second level</a:t>
            </a:r>
          </a:p>
          <a:p>
            <a:pPr lvl="2"/>
            <a:r>
              <a:rPr lang="en-US"/>
              <a:t>Third level</a:t>
            </a:r>
          </a:p>
        </p:txBody>
      </p:sp>
      <p:sp>
        <p:nvSpPr>
          <p:cNvPr id="5" name="Text Placeholder 12">
            <a:extLst>
              <a:ext uri="{FF2B5EF4-FFF2-40B4-BE49-F238E27FC236}">
                <a16:creationId xmlns:a16="http://schemas.microsoft.com/office/drawing/2014/main" id="{169E0A6E-F6FC-97AD-7624-C07FE47220AD}"/>
              </a:ext>
            </a:extLst>
          </p:cNvPr>
          <p:cNvSpPr>
            <a:spLocks noGrp="1"/>
          </p:cNvSpPr>
          <p:nvPr>
            <p:ph type="body" sz="quarter" idx="41" hasCustomPrompt="1"/>
          </p:nvPr>
        </p:nvSpPr>
        <p:spPr>
          <a:xfrm>
            <a:off x="550864" y="3068637"/>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One</a:t>
            </a:r>
          </a:p>
        </p:txBody>
      </p:sp>
      <p:sp>
        <p:nvSpPr>
          <p:cNvPr id="6" name="Text Placeholder 12">
            <a:extLst>
              <a:ext uri="{FF2B5EF4-FFF2-40B4-BE49-F238E27FC236}">
                <a16:creationId xmlns:a16="http://schemas.microsoft.com/office/drawing/2014/main" id="{C8EA8597-2A4A-0CD6-F43E-581D734CDCAD}"/>
              </a:ext>
            </a:extLst>
          </p:cNvPr>
          <p:cNvSpPr>
            <a:spLocks noGrp="1"/>
          </p:cNvSpPr>
          <p:nvPr>
            <p:ph type="body" sz="quarter" idx="45" hasCustomPrompt="1"/>
          </p:nvPr>
        </p:nvSpPr>
        <p:spPr>
          <a:xfrm>
            <a:off x="3364873" y="3068637"/>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wo</a:t>
            </a:r>
          </a:p>
        </p:txBody>
      </p:sp>
      <p:sp>
        <p:nvSpPr>
          <p:cNvPr id="7" name="Text Placeholder 12">
            <a:extLst>
              <a:ext uri="{FF2B5EF4-FFF2-40B4-BE49-F238E27FC236}">
                <a16:creationId xmlns:a16="http://schemas.microsoft.com/office/drawing/2014/main" id="{68A568C4-ADFE-5A6C-2391-882D49319A87}"/>
              </a:ext>
            </a:extLst>
          </p:cNvPr>
          <p:cNvSpPr>
            <a:spLocks noGrp="1"/>
          </p:cNvSpPr>
          <p:nvPr>
            <p:ph type="body" sz="quarter" idx="67" hasCustomPrompt="1"/>
          </p:nvPr>
        </p:nvSpPr>
        <p:spPr>
          <a:xfrm>
            <a:off x="6167438" y="3068637"/>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hree</a:t>
            </a:r>
          </a:p>
        </p:txBody>
      </p:sp>
      <p:sp>
        <p:nvSpPr>
          <p:cNvPr id="9" name="Text Placeholder 12">
            <a:extLst>
              <a:ext uri="{FF2B5EF4-FFF2-40B4-BE49-F238E27FC236}">
                <a16:creationId xmlns:a16="http://schemas.microsoft.com/office/drawing/2014/main" id="{27AAA7D2-9EA7-4887-CE73-9A4FFE173C8C}"/>
              </a:ext>
            </a:extLst>
          </p:cNvPr>
          <p:cNvSpPr>
            <a:spLocks noGrp="1"/>
          </p:cNvSpPr>
          <p:nvPr>
            <p:ph type="body" sz="quarter" idx="70" hasCustomPrompt="1"/>
          </p:nvPr>
        </p:nvSpPr>
        <p:spPr>
          <a:xfrm>
            <a:off x="8982703" y="3068637"/>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Four</a:t>
            </a:r>
          </a:p>
        </p:txBody>
      </p:sp>
    </p:spTree>
    <p:extLst>
      <p:ext uri="{BB962C8B-B14F-4D97-AF65-F5344CB8AC3E}">
        <p14:creationId xmlns:p14="http://schemas.microsoft.com/office/powerpoint/2010/main" val="2284767772"/>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2x Columns - Blue / Purple Lef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DAD0FDE-F3B7-E9ED-8FBE-820CEDD9BD52}"/>
              </a:ext>
              <a:ext uri="{C183D7F6-B498-43B3-948B-1728B52AA6E4}">
                <adec:decorative xmlns:adec="http://schemas.microsoft.com/office/drawing/2017/decorative" val="1"/>
              </a:ext>
            </a:extLst>
          </p:cNvPr>
          <p:cNvSpPr/>
          <p:nvPr userDrawn="1"/>
        </p:nvSpPr>
        <p:spPr>
          <a:xfrm rot="10800000">
            <a:off x="0" y="0"/>
            <a:ext cx="4151311" cy="6858000"/>
          </a:xfrm>
          <a:prstGeom prst="rect">
            <a:avLst/>
          </a:prstGeom>
          <a:gradFill>
            <a:gsLst>
              <a:gs pos="85000">
                <a:srgbClr val="3595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5" y="368828"/>
            <a:ext cx="3204000" cy="251885"/>
          </a:xfrm>
        </p:spPr>
        <p:txBody>
          <a:bodyPr/>
          <a:lstStyle>
            <a:lvl1pPr>
              <a:defRPr>
                <a:solidFill>
                  <a:schemeClr val="bg1"/>
                </a:solidFill>
              </a:defRPr>
            </a:lvl1pPr>
          </a:lstStyle>
          <a:p>
            <a:r>
              <a:rPr lang="en-US"/>
              <a:t>Header avenir demi</a:t>
            </a:r>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5" y="752052"/>
            <a:ext cx="3204000" cy="336973"/>
          </a:xfrm>
          <a:prstGeom prst="rect">
            <a:avLst/>
          </a:prstGeom>
        </p:spPr>
        <p:txBody>
          <a:bodyPr lIns="0" tIns="0" rIns="0" bIns="0">
            <a:noAutofit/>
          </a:bodyPr>
          <a:lstStyle>
            <a:lvl1pPr marL="0" indent="0">
              <a:lnSpc>
                <a:spcPct val="90000"/>
              </a:lnSpc>
              <a:buNone/>
              <a:defRPr sz="2000">
                <a:solidFill>
                  <a:schemeClr val="bg1"/>
                </a:solidFill>
              </a:defRPr>
            </a:lvl1pPr>
          </a:lstStyle>
          <a:p>
            <a:pPr lvl="0"/>
            <a:r>
              <a:rPr lang="en-US"/>
              <a:t>Subhead avenir pro 20pt</a:t>
            </a:r>
            <a:endParaRPr lang="en-GB"/>
          </a:p>
        </p:txBody>
      </p:sp>
      <p:sp>
        <p:nvSpPr>
          <p:cNvPr id="12" name="Text Placeholder 12">
            <a:extLst>
              <a:ext uri="{FF2B5EF4-FFF2-40B4-BE49-F238E27FC236}">
                <a16:creationId xmlns:a16="http://schemas.microsoft.com/office/drawing/2014/main" id="{78E62AFA-8CAC-DF8F-ECBF-F7D5E587FEDD}"/>
              </a:ext>
            </a:extLst>
          </p:cNvPr>
          <p:cNvSpPr>
            <a:spLocks noGrp="1"/>
          </p:cNvSpPr>
          <p:nvPr>
            <p:ph type="body" sz="quarter" idx="17"/>
          </p:nvPr>
        </p:nvSpPr>
        <p:spPr>
          <a:xfrm>
            <a:off x="4689299" y="1811338"/>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6" name="Text Placeholder 12">
            <a:extLst>
              <a:ext uri="{FF2B5EF4-FFF2-40B4-BE49-F238E27FC236}">
                <a16:creationId xmlns:a16="http://schemas.microsoft.com/office/drawing/2014/main" id="{C7C1BD0C-1BC2-0403-5041-362D436CBCD9}"/>
              </a:ext>
            </a:extLst>
          </p:cNvPr>
          <p:cNvSpPr>
            <a:spLocks noGrp="1"/>
          </p:cNvSpPr>
          <p:nvPr>
            <p:ph type="body" sz="quarter" idx="18"/>
          </p:nvPr>
        </p:nvSpPr>
        <p:spPr>
          <a:xfrm>
            <a:off x="8437138" y="1811338"/>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pic>
        <p:nvPicPr>
          <p:cNvPr id="8" name="Graphic 7">
            <a:extLst>
              <a:ext uri="{FF2B5EF4-FFF2-40B4-BE49-F238E27FC236}">
                <a16:creationId xmlns:a16="http://schemas.microsoft.com/office/drawing/2014/main" id="{7ACB882C-CB4A-9AFE-5F9D-447BFE4528B3}"/>
              </a:ext>
            </a:extLst>
          </p:cNvPr>
          <p:cNvPicPr>
            <a:picLocks noChangeAspect="1"/>
          </p:cNvPicPr>
          <p:nvPr userDrawn="1"/>
        </p:nvPicPr>
        <p:blipFill>
          <a:blip r:embed="rId2">
            <a:extLst>
              <a:ext uri="{96DAC541-7B7A-43D3-8B79-37D633B846F1}">
                <asvg:svgBlip xmlns:asvg="http://schemas.microsoft.com/office/drawing/2016/SVG/main" r:embed="rId3"/>
              </a:ext>
            </a:extLst>
          </a:blip>
          <a:srcRect l="9263" t="23870" r="9262" b="23680"/>
          <a:stretch/>
        </p:blipFill>
        <p:spPr>
          <a:xfrm>
            <a:off x="550863" y="6329363"/>
            <a:ext cx="1296000" cy="254793"/>
          </a:xfrm>
          <a:prstGeom prst="rect">
            <a:avLst/>
          </a:prstGeom>
        </p:spPr>
      </p:pic>
    </p:spTree>
    <p:extLst>
      <p:ext uri="{BB962C8B-B14F-4D97-AF65-F5344CB8AC3E}">
        <p14:creationId xmlns:p14="http://schemas.microsoft.com/office/powerpoint/2010/main" val="356422292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x Column - Blue / Purple Lef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DAD0FDE-F3B7-E9ED-8FBE-820CEDD9BD52}"/>
              </a:ext>
              <a:ext uri="{C183D7F6-B498-43B3-948B-1728B52AA6E4}">
                <adec:decorative xmlns:adec="http://schemas.microsoft.com/office/drawing/2017/decorative" val="1"/>
              </a:ext>
            </a:extLst>
          </p:cNvPr>
          <p:cNvSpPr/>
          <p:nvPr userDrawn="1"/>
        </p:nvSpPr>
        <p:spPr>
          <a:xfrm rot="10800000">
            <a:off x="0" y="0"/>
            <a:ext cx="4151311" cy="6858000"/>
          </a:xfrm>
          <a:prstGeom prst="rect">
            <a:avLst/>
          </a:prstGeom>
          <a:gradFill>
            <a:gsLst>
              <a:gs pos="85000">
                <a:srgbClr val="3595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5" y="368828"/>
            <a:ext cx="3204000" cy="251885"/>
          </a:xfrm>
        </p:spPr>
        <p:txBody>
          <a:bodyPr/>
          <a:lstStyle>
            <a:lvl1pPr>
              <a:defRPr>
                <a:solidFill>
                  <a:schemeClr val="bg1"/>
                </a:solidFill>
              </a:defRPr>
            </a:lvl1pPr>
          </a:lstStyle>
          <a:p>
            <a:r>
              <a:rPr lang="en-US"/>
              <a:t>Header avenir demi</a:t>
            </a:r>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5" y="752052"/>
            <a:ext cx="3204000" cy="336973"/>
          </a:xfrm>
          <a:prstGeom prst="rect">
            <a:avLst/>
          </a:prstGeom>
        </p:spPr>
        <p:txBody>
          <a:bodyPr lIns="0" tIns="0" rIns="0" bIns="0">
            <a:noAutofit/>
          </a:bodyPr>
          <a:lstStyle>
            <a:lvl1pPr marL="0" indent="0">
              <a:lnSpc>
                <a:spcPct val="90000"/>
              </a:lnSpc>
              <a:buNone/>
              <a:defRPr sz="2000">
                <a:solidFill>
                  <a:schemeClr val="bg1"/>
                </a:solidFill>
              </a:defRPr>
            </a:lvl1pPr>
          </a:lstStyle>
          <a:p>
            <a:pPr lvl="0"/>
            <a:r>
              <a:rPr lang="en-US"/>
              <a:t>Subhead avenir pro 20pt</a:t>
            </a:r>
            <a:endParaRPr lang="en-GB"/>
          </a:p>
        </p:txBody>
      </p:sp>
      <p:sp>
        <p:nvSpPr>
          <p:cNvPr id="11" name="Text Placeholder 12">
            <a:extLst>
              <a:ext uri="{FF2B5EF4-FFF2-40B4-BE49-F238E27FC236}">
                <a16:creationId xmlns:a16="http://schemas.microsoft.com/office/drawing/2014/main" id="{CBD94631-F21A-E9A8-E18B-36A8C2123E83}"/>
              </a:ext>
            </a:extLst>
          </p:cNvPr>
          <p:cNvSpPr>
            <a:spLocks noGrp="1"/>
          </p:cNvSpPr>
          <p:nvPr>
            <p:ph type="body" sz="quarter" idx="14"/>
          </p:nvPr>
        </p:nvSpPr>
        <p:spPr>
          <a:xfrm>
            <a:off x="550864" y="1811338"/>
            <a:ext cx="3204000" cy="432117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pic>
        <p:nvPicPr>
          <p:cNvPr id="6" name="Graphic 5">
            <a:extLst>
              <a:ext uri="{FF2B5EF4-FFF2-40B4-BE49-F238E27FC236}">
                <a16:creationId xmlns:a16="http://schemas.microsoft.com/office/drawing/2014/main" id="{C6EC22AA-EB71-1C63-2A47-66FF10DFA538}"/>
              </a:ext>
            </a:extLst>
          </p:cNvPr>
          <p:cNvPicPr>
            <a:picLocks noChangeAspect="1"/>
          </p:cNvPicPr>
          <p:nvPr userDrawn="1"/>
        </p:nvPicPr>
        <p:blipFill>
          <a:blip r:embed="rId2">
            <a:extLst>
              <a:ext uri="{96DAC541-7B7A-43D3-8B79-37D633B846F1}">
                <asvg:svgBlip xmlns:asvg="http://schemas.microsoft.com/office/drawing/2016/SVG/main" r:embed="rId3"/>
              </a:ext>
            </a:extLst>
          </a:blip>
          <a:srcRect l="9263" t="23870" r="9262" b="23680"/>
          <a:stretch/>
        </p:blipFill>
        <p:spPr>
          <a:xfrm>
            <a:off x="550863" y="6329363"/>
            <a:ext cx="1296000" cy="254793"/>
          </a:xfrm>
          <a:prstGeom prst="rect">
            <a:avLst/>
          </a:prstGeom>
        </p:spPr>
      </p:pic>
    </p:spTree>
    <p:extLst>
      <p:ext uri="{BB962C8B-B14F-4D97-AF65-F5344CB8AC3E}">
        <p14:creationId xmlns:p14="http://schemas.microsoft.com/office/powerpoint/2010/main" val="88624864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3x Columns - Blue / Purple Righ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DAD0FDE-F3B7-E9ED-8FBE-820CEDD9BD52}"/>
              </a:ext>
              <a:ext uri="{C183D7F6-B498-43B3-948B-1728B52AA6E4}">
                <adec:decorative xmlns:adec="http://schemas.microsoft.com/office/drawing/2017/decorative" val="1"/>
              </a:ext>
            </a:extLst>
          </p:cNvPr>
          <p:cNvSpPr/>
          <p:nvPr userDrawn="1"/>
        </p:nvSpPr>
        <p:spPr>
          <a:xfrm rot="10800000">
            <a:off x="8040684" y="0"/>
            <a:ext cx="4151311" cy="6858000"/>
          </a:xfrm>
          <a:prstGeom prst="rect">
            <a:avLst/>
          </a:prstGeom>
          <a:gradFill>
            <a:gsLst>
              <a:gs pos="85000">
                <a:srgbClr val="3595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1" name="Text Placeholder 12">
            <a:extLst>
              <a:ext uri="{FF2B5EF4-FFF2-40B4-BE49-F238E27FC236}">
                <a16:creationId xmlns:a16="http://schemas.microsoft.com/office/drawing/2014/main" id="{CBD94631-F21A-E9A8-E18B-36A8C2123E83}"/>
              </a:ext>
            </a:extLst>
          </p:cNvPr>
          <p:cNvSpPr>
            <a:spLocks noGrp="1"/>
          </p:cNvSpPr>
          <p:nvPr>
            <p:ph type="body" sz="quarter" idx="14"/>
          </p:nvPr>
        </p:nvSpPr>
        <p:spPr>
          <a:xfrm>
            <a:off x="550864" y="1812926"/>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12" name="Text Placeholder 12">
            <a:extLst>
              <a:ext uri="{FF2B5EF4-FFF2-40B4-BE49-F238E27FC236}">
                <a16:creationId xmlns:a16="http://schemas.microsoft.com/office/drawing/2014/main" id="{78E62AFA-8CAC-DF8F-ECBF-F7D5E587FEDD}"/>
              </a:ext>
            </a:extLst>
          </p:cNvPr>
          <p:cNvSpPr>
            <a:spLocks noGrp="1"/>
          </p:cNvSpPr>
          <p:nvPr>
            <p:ph type="body" sz="quarter" idx="17"/>
          </p:nvPr>
        </p:nvSpPr>
        <p:spPr>
          <a:xfrm>
            <a:off x="4295151" y="1812926"/>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FB29449A-7F88-8F52-2169-99B80B568955}"/>
              </a:ext>
            </a:extLst>
          </p:cNvPr>
          <p:cNvSpPr>
            <a:spLocks noGrp="1"/>
          </p:cNvSpPr>
          <p:nvPr>
            <p:ph type="body" sz="quarter" idx="18"/>
          </p:nvPr>
        </p:nvSpPr>
        <p:spPr>
          <a:xfrm>
            <a:off x="8437136" y="1812926"/>
            <a:ext cx="3204000" cy="4321175"/>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Tree>
    <p:extLst>
      <p:ext uri="{BB962C8B-B14F-4D97-AF65-F5344CB8AC3E}">
        <p14:creationId xmlns:p14="http://schemas.microsoft.com/office/powerpoint/2010/main" val="176673814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50:50 Split -  Blue / Purple Quot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01870E7-67C3-31B4-3763-30D7343FC40E}"/>
              </a:ext>
              <a:ext uri="{C183D7F6-B498-43B3-948B-1728B52AA6E4}">
                <adec:decorative xmlns:adec="http://schemas.microsoft.com/office/drawing/2017/decorative" val="1"/>
              </a:ext>
            </a:extLst>
          </p:cNvPr>
          <p:cNvSpPr/>
          <p:nvPr userDrawn="1"/>
        </p:nvSpPr>
        <p:spPr>
          <a:xfrm rot="10800000">
            <a:off x="6095999" y="0"/>
            <a:ext cx="6096000" cy="6858000"/>
          </a:xfrm>
          <a:prstGeom prst="rect">
            <a:avLst/>
          </a:prstGeom>
          <a:gradFill>
            <a:gsLst>
              <a:gs pos="85000">
                <a:srgbClr val="3595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5" y="368828"/>
            <a:ext cx="5075998" cy="251885"/>
          </a:xfrm>
        </p:spPr>
        <p:txBody>
          <a:bodyPr/>
          <a:lstStyle>
            <a:lvl1pPr>
              <a:defRPr/>
            </a:lvl1pPr>
          </a:lstStyle>
          <a:p>
            <a:r>
              <a:rPr lang="en-US"/>
              <a:t>Header avenir demi 24pt</a:t>
            </a:r>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5" y="753852"/>
            <a:ext cx="5075998"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2" y="1808163"/>
            <a:ext cx="5076000" cy="4321175"/>
          </a:xfrm>
        </p:spPr>
        <p:txBody>
          <a:bodyPr/>
          <a:lstStyle/>
          <a:p>
            <a:pPr lvl="0"/>
            <a:r>
              <a:rPr lang="en-US"/>
              <a:t>Click to edit Master text styles</a:t>
            </a:r>
          </a:p>
          <a:p>
            <a:pPr lvl="1"/>
            <a:r>
              <a:rPr lang="en-US"/>
              <a:t>Second level</a:t>
            </a:r>
          </a:p>
          <a:p>
            <a:pPr lvl="2"/>
            <a:r>
              <a:rPr lang="en-US"/>
              <a:t>Third level</a:t>
            </a:r>
          </a:p>
        </p:txBody>
      </p:sp>
      <p:sp>
        <p:nvSpPr>
          <p:cNvPr id="5" name="Text Placeholder 9">
            <a:extLst>
              <a:ext uri="{FF2B5EF4-FFF2-40B4-BE49-F238E27FC236}">
                <a16:creationId xmlns:a16="http://schemas.microsoft.com/office/drawing/2014/main" id="{EA5CF333-E5B7-1960-5F54-967F39A4A11B}"/>
              </a:ext>
            </a:extLst>
          </p:cNvPr>
          <p:cNvSpPr>
            <a:spLocks noGrp="1"/>
          </p:cNvSpPr>
          <p:nvPr>
            <p:ph type="body" sz="quarter" idx="15" hasCustomPrompt="1"/>
          </p:nvPr>
        </p:nvSpPr>
        <p:spPr>
          <a:xfrm>
            <a:off x="7102800" y="2766536"/>
            <a:ext cx="3601713" cy="738664"/>
          </a:xfrm>
          <a:prstGeom prst="rect">
            <a:avLst/>
          </a:prstGeom>
        </p:spPr>
        <p:txBody>
          <a:bodyPr wrap="square" lIns="0" tIns="0" rIns="0" bIns="0" anchor="b" anchorCtr="0">
            <a:spAutoFit/>
          </a:bodyPr>
          <a:lstStyle>
            <a:lvl1pPr marL="0" indent="0" algn="l">
              <a:buNone/>
              <a:tabLst/>
              <a:defRPr sz="2400">
                <a:solidFill>
                  <a:schemeClr val="bg1"/>
                </a:solidFill>
                <a:latin typeface="+mj-lt"/>
              </a:defRPr>
            </a:lvl1pPr>
          </a:lstStyle>
          <a:p>
            <a:pPr lvl="0"/>
            <a:r>
              <a:rPr lang="en-US"/>
              <a:t>“Quote Copy Avenir Demi 24pt”.</a:t>
            </a:r>
            <a:endParaRPr lang="en-GB"/>
          </a:p>
        </p:txBody>
      </p:sp>
      <p:sp>
        <p:nvSpPr>
          <p:cNvPr id="6" name="Text Placeholder 12">
            <a:extLst>
              <a:ext uri="{FF2B5EF4-FFF2-40B4-BE49-F238E27FC236}">
                <a16:creationId xmlns:a16="http://schemas.microsoft.com/office/drawing/2014/main" id="{CF395936-4441-9E95-2851-1ED7A64D3777}"/>
              </a:ext>
            </a:extLst>
          </p:cNvPr>
          <p:cNvSpPr>
            <a:spLocks noGrp="1"/>
          </p:cNvSpPr>
          <p:nvPr>
            <p:ph type="body" sz="quarter" idx="16" hasCustomPrompt="1"/>
          </p:nvPr>
        </p:nvSpPr>
        <p:spPr>
          <a:xfrm>
            <a:off x="7102800" y="3634999"/>
            <a:ext cx="2808287" cy="252000"/>
          </a:xfrm>
        </p:spPr>
        <p:txBody>
          <a:bodyPr/>
          <a:lstStyle>
            <a:lvl1pPr marL="0" indent="0" algn="l">
              <a:buNone/>
              <a:defRPr sz="1600">
                <a:solidFill>
                  <a:schemeClr val="bg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7" name="Text Placeholder 12">
            <a:extLst>
              <a:ext uri="{FF2B5EF4-FFF2-40B4-BE49-F238E27FC236}">
                <a16:creationId xmlns:a16="http://schemas.microsoft.com/office/drawing/2014/main" id="{51759836-E0B1-5577-37C5-D2B5A794D942}"/>
              </a:ext>
            </a:extLst>
          </p:cNvPr>
          <p:cNvSpPr>
            <a:spLocks noGrp="1"/>
          </p:cNvSpPr>
          <p:nvPr>
            <p:ph type="body" sz="quarter" idx="27" hasCustomPrompt="1"/>
          </p:nvPr>
        </p:nvSpPr>
        <p:spPr>
          <a:xfrm>
            <a:off x="7102800" y="3892179"/>
            <a:ext cx="2808287" cy="252000"/>
          </a:xfrm>
        </p:spPr>
        <p:txBody>
          <a:bodyPr/>
          <a:lstStyle>
            <a:lvl1pPr marL="0" indent="0" algn="l">
              <a:buNone/>
              <a:defRPr sz="1500">
                <a:solidFill>
                  <a:schemeClr val="bg1"/>
                </a:solidFill>
                <a:latin typeface="+mn-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Company name</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Tree>
    <p:extLst>
      <p:ext uri="{BB962C8B-B14F-4D97-AF65-F5344CB8AC3E}">
        <p14:creationId xmlns:p14="http://schemas.microsoft.com/office/powerpoint/2010/main" val="3293471789"/>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50:50 Text -  Blue / Purple Big Sta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AB8773E-2F29-ECD1-16FF-8BC5E75E1E40}"/>
              </a:ext>
              <a:ext uri="{C183D7F6-B498-43B3-948B-1728B52AA6E4}">
                <adec:decorative xmlns:adec="http://schemas.microsoft.com/office/drawing/2017/decorative" val="1"/>
              </a:ext>
            </a:extLst>
          </p:cNvPr>
          <p:cNvSpPr/>
          <p:nvPr userDrawn="1"/>
        </p:nvSpPr>
        <p:spPr>
          <a:xfrm rot="10800000">
            <a:off x="6095999" y="0"/>
            <a:ext cx="6096000" cy="6858000"/>
          </a:xfrm>
          <a:prstGeom prst="rect">
            <a:avLst/>
          </a:prstGeom>
          <a:gradFill>
            <a:gsLst>
              <a:gs pos="85000">
                <a:srgbClr val="3595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itle 1">
            <a:extLst>
              <a:ext uri="{FF2B5EF4-FFF2-40B4-BE49-F238E27FC236}">
                <a16:creationId xmlns:a16="http://schemas.microsoft.com/office/drawing/2014/main" id="{7DE71408-1F6A-1900-3166-8B0F27B91CF7}"/>
              </a:ext>
            </a:extLst>
          </p:cNvPr>
          <p:cNvSpPr>
            <a:spLocks noGrp="1"/>
          </p:cNvSpPr>
          <p:nvPr>
            <p:ph type="title" hasCustomPrompt="1"/>
          </p:nvPr>
        </p:nvSpPr>
        <p:spPr>
          <a:xfrm>
            <a:off x="550865" y="368828"/>
            <a:ext cx="5075998" cy="251885"/>
          </a:xfrm>
        </p:spPr>
        <p:txBody>
          <a:bodyPr/>
          <a:lstStyle>
            <a:lvl1pPr>
              <a:defRPr/>
            </a:lvl1pPr>
          </a:lstStyle>
          <a:p>
            <a:r>
              <a:rPr lang="en-US"/>
              <a:t>Header avenir demi 24pt</a:t>
            </a:r>
            <a:endParaRPr lang="en-GB"/>
          </a:p>
        </p:txBody>
      </p:sp>
      <p:sp>
        <p:nvSpPr>
          <p:cNvPr id="10" name="Text Placeholder 9">
            <a:extLst>
              <a:ext uri="{FF2B5EF4-FFF2-40B4-BE49-F238E27FC236}">
                <a16:creationId xmlns:a16="http://schemas.microsoft.com/office/drawing/2014/main" id="{E040A9B4-F93C-AB35-66CE-1690CFBC2581}"/>
              </a:ext>
            </a:extLst>
          </p:cNvPr>
          <p:cNvSpPr>
            <a:spLocks noGrp="1"/>
          </p:cNvSpPr>
          <p:nvPr>
            <p:ph type="body" sz="quarter" idx="13" hasCustomPrompt="1"/>
          </p:nvPr>
        </p:nvSpPr>
        <p:spPr>
          <a:xfrm>
            <a:off x="550865" y="753852"/>
            <a:ext cx="5075998"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03BC752C-CC9E-C49E-83BC-B6B704830335}"/>
              </a:ext>
            </a:extLst>
          </p:cNvPr>
          <p:cNvSpPr>
            <a:spLocks noGrp="1"/>
          </p:cNvSpPr>
          <p:nvPr>
            <p:ph type="body" sz="quarter" idx="14"/>
          </p:nvPr>
        </p:nvSpPr>
        <p:spPr>
          <a:xfrm>
            <a:off x="550862" y="1808163"/>
            <a:ext cx="5076000" cy="4321175"/>
          </a:xfrm>
        </p:spPr>
        <p:txBody>
          <a:bodyPr/>
          <a:lstStyle/>
          <a:p>
            <a:pPr lvl="0"/>
            <a:r>
              <a:rPr lang="en-US"/>
              <a:t>Click to edit Master text styles</a:t>
            </a:r>
          </a:p>
          <a:p>
            <a:pPr lvl="1"/>
            <a:r>
              <a:rPr lang="en-US"/>
              <a:t>Second level</a:t>
            </a:r>
          </a:p>
          <a:p>
            <a:pPr lvl="2"/>
            <a:r>
              <a:rPr lang="en-US"/>
              <a:t>Third level</a:t>
            </a:r>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6959600" y="2168525"/>
            <a:ext cx="4679821" cy="1620837"/>
          </a:xfrm>
        </p:spPr>
        <p:txBody>
          <a:bodyPr anchor="b" anchorCtr="0"/>
          <a:lstStyle>
            <a:lvl1pPr marL="0" indent="0" algn="ctr">
              <a:buNone/>
              <a:defRPr sz="12000" spc="-300" baseline="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0%</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6959600" y="3608388"/>
            <a:ext cx="4679821"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Tree>
    <p:extLst>
      <p:ext uri="{BB962C8B-B14F-4D97-AF65-F5344CB8AC3E}">
        <p14:creationId xmlns:p14="http://schemas.microsoft.com/office/powerpoint/2010/main" val="744196644"/>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ext - Blue / Purple Big Sta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28D564B-EB64-218D-674E-69E2C567CF28}"/>
              </a:ext>
              <a:ext uri="{C183D7F6-B498-43B3-948B-1728B52AA6E4}">
                <adec:decorative xmlns:adec="http://schemas.microsoft.com/office/drawing/2017/decorative" val="1"/>
              </a:ext>
            </a:extLst>
          </p:cNvPr>
          <p:cNvSpPr/>
          <p:nvPr userDrawn="1"/>
        </p:nvSpPr>
        <p:spPr>
          <a:xfrm rot="10800000">
            <a:off x="8040684" y="0"/>
            <a:ext cx="4151311" cy="6858000"/>
          </a:xfrm>
          <a:prstGeom prst="rect">
            <a:avLst/>
          </a:prstGeom>
          <a:gradFill>
            <a:gsLst>
              <a:gs pos="85000">
                <a:srgbClr val="3595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itle 1">
            <a:extLst>
              <a:ext uri="{FF2B5EF4-FFF2-40B4-BE49-F238E27FC236}">
                <a16:creationId xmlns:a16="http://schemas.microsoft.com/office/drawing/2014/main" id="{5F4A0393-5E31-B1D7-44B4-0AE64D41191E}"/>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12" name="Text Placeholder 9">
            <a:extLst>
              <a:ext uri="{FF2B5EF4-FFF2-40B4-BE49-F238E27FC236}">
                <a16:creationId xmlns:a16="http://schemas.microsoft.com/office/drawing/2014/main" id="{3EF12EEA-B717-A2D4-DD8A-8AD5480E07F4}"/>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2" name="Text Placeholder 12">
            <a:extLst>
              <a:ext uri="{FF2B5EF4-FFF2-40B4-BE49-F238E27FC236}">
                <a16:creationId xmlns:a16="http://schemas.microsoft.com/office/drawing/2014/main" id="{2C9B01AB-F676-3FF4-AEAE-E94065157406}"/>
              </a:ext>
            </a:extLst>
          </p:cNvPr>
          <p:cNvSpPr>
            <a:spLocks noGrp="1"/>
          </p:cNvSpPr>
          <p:nvPr>
            <p:ph type="body" sz="quarter" idx="14"/>
          </p:nvPr>
        </p:nvSpPr>
        <p:spPr>
          <a:xfrm>
            <a:off x="550861" y="1808163"/>
            <a:ext cx="6966375" cy="4321175"/>
          </a:xfrm>
        </p:spPr>
        <p:txBody>
          <a:bodyPr/>
          <a:lstStyle/>
          <a:p>
            <a:pPr lvl="0"/>
            <a:r>
              <a:rPr lang="en-US"/>
              <a:t>Click to edit Master text styles</a:t>
            </a:r>
          </a:p>
          <a:p>
            <a:pPr lvl="1"/>
            <a:r>
              <a:rPr lang="en-US"/>
              <a:t>Second level</a:t>
            </a:r>
          </a:p>
          <a:p>
            <a:pPr lvl="2"/>
            <a:r>
              <a:rPr lang="en-US"/>
              <a:t>Third level</a:t>
            </a:r>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2168525"/>
            <a:ext cx="3024000" cy="1620837"/>
          </a:xfrm>
        </p:spPr>
        <p:txBody>
          <a:bodyPr anchor="b" anchorCtr="0"/>
          <a:lstStyle>
            <a:lvl1pPr marL="0" indent="0" algn="ctr">
              <a:buNone/>
              <a:defRPr sz="12000" spc="-300" baseline="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0%</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3608388"/>
            <a:ext cx="3024000"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Tree>
    <p:extLst>
      <p:ext uri="{BB962C8B-B14F-4D97-AF65-F5344CB8AC3E}">
        <p14:creationId xmlns:p14="http://schemas.microsoft.com/office/powerpoint/2010/main" val="268946757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x Columns -  Blue / Purple Big Sta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E5CACE1-373F-1887-B5D9-B73EA9691DEA}"/>
              </a:ext>
              <a:ext uri="{C183D7F6-B498-43B3-948B-1728B52AA6E4}">
                <adec:decorative xmlns:adec="http://schemas.microsoft.com/office/drawing/2017/decorative" val="1"/>
              </a:ext>
            </a:extLst>
          </p:cNvPr>
          <p:cNvSpPr/>
          <p:nvPr userDrawn="1"/>
        </p:nvSpPr>
        <p:spPr>
          <a:xfrm rot="10800000">
            <a:off x="8040684" y="0"/>
            <a:ext cx="4151311" cy="6858000"/>
          </a:xfrm>
          <a:prstGeom prst="rect">
            <a:avLst/>
          </a:prstGeom>
          <a:gradFill>
            <a:gsLst>
              <a:gs pos="85000">
                <a:srgbClr val="3595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itle 1">
            <a:extLst>
              <a:ext uri="{FF2B5EF4-FFF2-40B4-BE49-F238E27FC236}">
                <a16:creationId xmlns:a16="http://schemas.microsoft.com/office/drawing/2014/main" id="{5F4A0393-5E31-B1D7-44B4-0AE64D41191E}"/>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12" name="Text Placeholder 9">
            <a:extLst>
              <a:ext uri="{FF2B5EF4-FFF2-40B4-BE49-F238E27FC236}">
                <a16:creationId xmlns:a16="http://schemas.microsoft.com/office/drawing/2014/main" id="{3EF12EEA-B717-A2D4-DD8A-8AD5480E07F4}"/>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E85E9EA0-2A22-199D-48CF-03EB94ECF487}"/>
              </a:ext>
            </a:extLst>
          </p:cNvPr>
          <p:cNvSpPr>
            <a:spLocks noGrp="1"/>
          </p:cNvSpPr>
          <p:nvPr>
            <p:ph type="body" sz="quarter" idx="14"/>
          </p:nvPr>
        </p:nvSpPr>
        <p:spPr>
          <a:xfrm>
            <a:off x="550864" y="1808163"/>
            <a:ext cx="3204000" cy="4321175"/>
          </a:xfrm>
        </p:spPr>
        <p:txBody>
          <a:bodyPr/>
          <a:lstStyle/>
          <a:p>
            <a:pPr lvl="0"/>
            <a:r>
              <a:rPr lang="en-US"/>
              <a:t>Click to 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269DCDE0-20E2-91A9-6591-26711B40C6C3}"/>
              </a:ext>
            </a:extLst>
          </p:cNvPr>
          <p:cNvSpPr>
            <a:spLocks noGrp="1"/>
          </p:cNvSpPr>
          <p:nvPr>
            <p:ph type="body" sz="quarter" idx="15"/>
          </p:nvPr>
        </p:nvSpPr>
        <p:spPr>
          <a:xfrm>
            <a:off x="4295774" y="1808163"/>
            <a:ext cx="3204000" cy="4321175"/>
          </a:xfrm>
        </p:spPr>
        <p:txBody>
          <a:bodyPr/>
          <a:lstStyle/>
          <a:p>
            <a:pPr lvl="0"/>
            <a:r>
              <a:rPr lang="en-US"/>
              <a:t>Click to edit Master text styles</a:t>
            </a:r>
          </a:p>
          <a:p>
            <a:pPr lvl="1"/>
            <a:r>
              <a:rPr lang="en-US"/>
              <a:t>Second level</a:t>
            </a:r>
          </a:p>
          <a:p>
            <a:pPr lvl="2"/>
            <a:r>
              <a:rPr lang="en-US"/>
              <a:t>Third level</a:t>
            </a:r>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2168525"/>
            <a:ext cx="3024000" cy="1620837"/>
          </a:xfrm>
        </p:spPr>
        <p:txBody>
          <a:bodyPr anchor="b" anchorCtr="0"/>
          <a:lstStyle>
            <a:lvl1pPr marL="0" indent="0" algn="ctr">
              <a:buNone/>
              <a:defRPr sz="12000" spc="-300" baseline="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0%</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3598863"/>
            <a:ext cx="3024000"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Tree>
    <p:extLst>
      <p:ext uri="{BB962C8B-B14F-4D97-AF65-F5344CB8AC3E}">
        <p14:creationId xmlns:p14="http://schemas.microsoft.com/office/powerpoint/2010/main" val="4170125994"/>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1 Light Image - Blue / Purple Big Sta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73EBDDE-664E-22FA-02F4-D12882D309AB}"/>
              </a:ext>
              <a:ext uri="{C183D7F6-B498-43B3-948B-1728B52AA6E4}">
                <adec:decorative xmlns:adec="http://schemas.microsoft.com/office/drawing/2017/decorative" val="1"/>
              </a:ext>
            </a:extLst>
          </p:cNvPr>
          <p:cNvSpPr/>
          <p:nvPr userDrawn="1"/>
        </p:nvSpPr>
        <p:spPr>
          <a:xfrm rot="10800000">
            <a:off x="8040687" y="0"/>
            <a:ext cx="4151311" cy="6858000"/>
          </a:xfrm>
          <a:prstGeom prst="rect">
            <a:avLst/>
          </a:prstGeom>
          <a:gradFill>
            <a:gsLst>
              <a:gs pos="85000">
                <a:srgbClr val="3595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ectangle 1">
            <a:extLst>
              <a:ext uri="{FF2B5EF4-FFF2-40B4-BE49-F238E27FC236}">
                <a16:creationId xmlns:a16="http://schemas.microsoft.com/office/drawing/2014/main" id="{31AA0871-DF4F-3D16-30B1-C25E0C64F490}"/>
              </a:ext>
              <a:ext uri="{C183D7F6-B498-43B3-948B-1728B52AA6E4}">
                <adec:decorative xmlns:adec="http://schemas.microsoft.com/office/drawing/2017/decorative" val="1"/>
              </a:ext>
            </a:extLst>
          </p:cNvPr>
          <p:cNvSpPr/>
          <p:nvPr userDrawn="1"/>
        </p:nvSpPr>
        <p:spPr>
          <a:xfrm>
            <a:off x="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Picture Placeholder 10">
            <a:extLst>
              <a:ext uri="{FF2B5EF4-FFF2-40B4-BE49-F238E27FC236}">
                <a16:creationId xmlns:a16="http://schemas.microsoft.com/office/drawing/2014/main" id="{4A55DB76-799D-A0D8-6DBF-3FB7E44D7DB0}"/>
              </a:ext>
            </a:extLst>
          </p:cNvPr>
          <p:cNvSpPr>
            <a:spLocks noGrp="1"/>
          </p:cNvSpPr>
          <p:nvPr>
            <p:ph type="pic" sz="quarter" idx="20" hasCustomPrompt="1"/>
          </p:nvPr>
        </p:nvSpPr>
        <p:spPr>
          <a:xfrm>
            <a:off x="0" y="0"/>
            <a:ext cx="8040688" cy="6858000"/>
          </a:xfrm>
          <a:custGeom>
            <a:avLst/>
            <a:gdLst>
              <a:gd name="connsiteX0" fmla="*/ 1579559 w 8040688"/>
              <a:gd name="connsiteY0" fmla="*/ 6496532 h 6858000"/>
              <a:gd name="connsiteX1" fmla="*/ 1579559 w 8040688"/>
              <a:gd name="connsiteY1" fmla="*/ 6505105 h 6858000"/>
              <a:gd name="connsiteX2" fmla="*/ 1555747 w 8040688"/>
              <a:gd name="connsiteY2" fmla="*/ 6527013 h 6858000"/>
              <a:gd name="connsiteX3" fmla="*/ 1538602 w 8040688"/>
              <a:gd name="connsiteY3" fmla="*/ 6512725 h 6858000"/>
              <a:gd name="connsiteX4" fmla="*/ 1555747 w 8040688"/>
              <a:gd name="connsiteY4" fmla="*/ 6499390 h 6858000"/>
              <a:gd name="connsiteX5" fmla="*/ 1569082 w 8040688"/>
              <a:gd name="connsiteY5" fmla="*/ 6499390 h 6858000"/>
              <a:gd name="connsiteX6" fmla="*/ 1579559 w 8040688"/>
              <a:gd name="connsiteY6" fmla="*/ 6496532 h 6858000"/>
              <a:gd name="connsiteX7" fmla="*/ 1162365 w 8040688"/>
              <a:gd name="connsiteY7" fmla="*/ 6496532 h 6858000"/>
              <a:gd name="connsiteX8" fmla="*/ 1162365 w 8040688"/>
              <a:gd name="connsiteY8" fmla="*/ 6505105 h 6858000"/>
              <a:gd name="connsiteX9" fmla="*/ 1138553 w 8040688"/>
              <a:gd name="connsiteY9" fmla="*/ 6527013 h 6858000"/>
              <a:gd name="connsiteX10" fmla="*/ 1121408 w 8040688"/>
              <a:gd name="connsiteY10" fmla="*/ 6512725 h 6858000"/>
              <a:gd name="connsiteX11" fmla="*/ 1138553 w 8040688"/>
              <a:gd name="connsiteY11" fmla="*/ 6499390 h 6858000"/>
              <a:gd name="connsiteX12" fmla="*/ 1151888 w 8040688"/>
              <a:gd name="connsiteY12" fmla="*/ 6499390 h 6858000"/>
              <a:gd name="connsiteX13" fmla="*/ 1162365 w 8040688"/>
              <a:gd name="connsiteY13" fmla="*/ 6496532 h 6858000"/>
              <a:gd name="connsiteX14" fmla="*/ 736599 w 8040688"/>
              <a:gd name="connsiteY14" fmla="*/ 6455574 h 6858000"/>
              <a:gd name="connsiteX15" fmla="*/ 619442 w 8040688"/>
              <a:gd name="connsiteY15" fmla="*/ 6523203 h 6858000"/>
              <a:gd name="connsiteX16" fmla="*/ 632777 w 8040688"/>
              <a:gd name="connsiteY16" fmla="*/ 6552731 h 6858000"/>
              <a:gd name="connsiteX17" fmla="*/ 646112 w 8040688"/>
              <a:gd name="connsiteY17" fmla="*/ 6571781 h 6858000"/>
              <a:gd name="connsiteX18" fmla="*/ 765174 w 8040688"/>
              <a:gd name="connsiteY18" fmla="*/ 6503200 h 6858000"/>
              <a:gd name="connsiteX19" fmla="*/ 736599 w 8040688"/>
              <a:gd name="connsiteY19" fmla="*/ 6455574 h 6858000"/>
              <a:gd name="connsiteX20" fmla="*/ 1781490 w 8040688"/>
              <a:gd name="connsiteY20" fmla="*/ 6452716 h 6858000"/>
              <a:gd name="connsiteX21" fmla="*/ 1808160 w 8040688"/>
              <a:gd name="connsiteY21" fmla="*/ 6474624 h 6858000"/>
              <a:gd name="connsiteX22" fmla="*/ 1753867 w 8040688"/>
              <a:gd name="connsiteY22" fmla="*/ 6474624 h 6858000"/>
              <a:gd name="connsiteX23" fmla="*/ 1781490 w 8040688"/>
              <a:gd name="connsiteY23" fmla="*/ 6452716 h 6858000"/>
              <a:gd name="connsiteX24" fmla="*/ 1309050 w 8040688"/>
              <a:gd name="connsiteY24" fmla="*/ 6426999 h 6858000"/>
              <a:gd name="connsiteX25" fmla="*/ 1309050 w 8040688"/>
              <a:gd name="connsiteY25" fmla="*/ 6456526 h 6858000"/>
              <a:gd name="connsiteX26" fmla="*/ 1326195 w 8040688"/>
              <a:gd name="connsiteY26" fmla="*/ 6456526 h 6858000"/>
              <a:gd name="connsiteX27" fmla="*/ 1326195 w 8040688"/>
              <a:gd name="connsiteY27" fmla="*/ 6548920 h 6858000"/>
              <a:gd name="connsiteX28" fmla="*/ 1360485 w 8040688"/>
              <a:gd name="connsiteY28" fmla="*/ 6548920 h 6858000"/>
              <a:gd name="connsiteX29" fmla="*/ 1360485 w 8040688"/>
              <a:gd name="connsiteY29" fmla="*/ 6426999 h 6858000"/>
              <a:gd name="connsiteX30" fmla="*/ 1372868 w 8040688"/>
              <a:gd name="connsiteY30" fmla="*/ 6426998 h 6858000"/>
              <a:gd name="connsiteX31" fmla="*/ 1414778 w 8040688"/>
              <a:gd name="connsiteY31" fmla="*/ 6548920 h 6858000"/>
              <a:gd name="connsiteX32" fmla="*/ 1457640 w 8040688"/>
              <a:gd name="connsiteY32" fmla="*/ 6548920 h 6858000"/>
              <a:gd name="connsiteX33" fmla="*/ 1501455 w 8040688"/>
              <a:gd name="connsiteY33" fmla="*/ 6426998 h 6858000"/>
              <a:gd name="connsiteX34" fmla="*/ 1465260 w 8040688"/>
              <a:gd name="connsiteY34" fmla="*/ 6426998 h 6858000"/>
              <a:gd name="connsiteX35" fmla="*/ 1437638 w 8040688"/>
              <a:gd name="connsiteY35" fmla="*/ 6511772 h 6858000"/>
              <a:gd name="connsiteX36" fmla="*/ 1410015 w 8040688"/>
              <a:gd name="connsiteY36" fmla="*/ 6426998 h 6858000"/>
              <a:gd name="connsiteX37" fmla="*/ 1781490 w 8040688"/>
              <a:gd name="connsiteY37" fmla="*/ 6425093 h 6858000"/>
              <a:gd name="connsiteX38" fmla="*/ 1718625 w 8040688"/>
              <a:gd name="connsiteY38" fmla="*/ 6488912 h 6858000"/>
              <a:gd name="connsiteX39" fmla="*/ 1782442 w 8040688"/>
              <a:gd name="connsiteY39" fmla="*/ 6552730 h 6858000"/>
              <a:gd name="connsiteX40" fmla="*/ 1843402 w 8040688"/>
              <a:gd name="connsiteY40" fmla="*/ 6514629 h 6858000"/>
              <a:gd name="connsiteX41" fmla="*/ 1807207 w 8040688"/>
              <a:gd name="connsiteY41" fmla="*/ 6510819 h 6858000"/>
              <a:gd name="connsiteX42" fmla="*/ 1782442 w 8040688"/>
              <a:gd name="connsiteY42" fmla="*/ 6523202 h 6858000"/>
              <a:gd name="connsiteX43" fmla="*/ 1754820 w 8040688"/>
              <a:gd name="connsiteY43" fmla="*/ 6498437 h 6858000"/>
              <a:gd name="connsiteX44" fmla="*/ 1845307 w 8040688"/>
              <a:gd name="connsiteY44" fmla="*/ 6498437 h 6858000"/>
              <a:gd name="connsiteX45" fmla="*/ 1845307 w 8040688"/>
              <a:gd name="connsiteY45" fmla="*/ 6497484 h 6858000"/>
              <a:gd name="connsiteX46" fmla="*/ 1781490 w 8040688"/>
              <a:gd name="connsiteY46" fmla="*/ 6425093 h 6858000"/>
              <a:gd name="connsiteX47" fmla="*/ 1282380 w 8040688"/>
              <a:gd name="connsiteY47" fmla="*/ 6425093 h 6858000"/>
              <a:gd name="connsiteX48" fmla="*/ 1250947 w 8040688"/>
              <a:gd name="connsiteY48" fmla="*/ 6446048 h 6858000"/>
              <a:gd name="connsiteX49" fmla="*/ 1250947 w 8040688"/>
              <a:gd name="connsiteY49" fmla="*/ 6426998 h 6858000"/>
              <a:gd name="connsiteX50" fmla="*/ 1217610 w 8040688"/>
              <a:gd name="connsiteY50" fmla="*/ 6426998 h 6858000"/>
              <a:gd name="connsiteX51" fmla="*/ 1217610 w 8040688"/>
              <a:gd name="connsiteY51" fmla="*/ 6548920 h 6858000"/>
              <a:gd name="connsiteX52" fmla="*/ 1251900 w 8040688"/>
              <a:gd name="connsiteY52" fmla="*/ 6548920 h 6858000"/>
              <a:gd name="connsiteX53" fmla="*/ 1251900 w 8040688"/>
              <a:gd name="connsiteY53" fmla="*/ 6490817 h 6858000"/>
              <a:gd name="connsiteX54" fmla="*/ 1277617 w 8040688"/>
              <a:gd name="connsiteY54" fmla="*/ 6461289 h 6858000"/>
              <a:gd name="connsiteX55" fmla="*/ 1291905 w 8040688"/>
              <a:gd name="connsiteY55" fmla="*/ 6461289 h 6858000"/>
              <a:gd name="connsiteX56" fmla="*/ 1291905 w 8040688"/>
              <a:gd name="connsiteY56" fmla="*/ 6426046 h 6858000"/>
              <a:gd name="connsiteX57" fmla="*/ 1282380 w 8040688"/>
              <a:gd name="connsiteY57" fmla="*/ 6425093 h 6858000"/>
              <a:gd name="connsiteX58" fmla="*/ 1562414 w 8040688"/>
              <a:gd name="connsiteY58" fmla="*/ 6424141 h 6858000"/>
              <a:gd name="connsiteX59" fmla="*/ 1510027 w 8040688"/>
              <a:gd name="connsiteY59" fmla="*/ 6439381 h 6858000"/>
              <a:gd name="connsiteX60" fmla="*/ 1523362 w 8040688"/>
              <a:gd name="connsiteY60" fmla="*/ 6465099 h 6858000"/>
              <a:gd name="connsiteX61" fmla="*/ 1559557 w 8040688"/>
              <a:gd name="connsiteY61" fmla="*/ 6453669 h 6858000"/>
              <a:gd name="connsiteX62" fmla="*/ 1579559 w 8040688"/>
              <a:gd name="connsiteY62" fmla="*/ 6467957 h 6858000"/>
              <a:gd name="connsiteX63" fmla="*/ 1580512 w 8040688"/>
              <a:gd name="connsiteY63" fmla="*/ 6468909 h 6858000"/>
              <a:gd name="connsiteX64" fmla="*/ 1571939 w 8040688"/>
              <a:gd name="connsiteY64" fmla="*/ 6476529 h 6858000"/>
              <a:gd name="connsiteX65" fmla="*/ 1548127 w 8040688"/>
              <a:gd name="connsiteY65" fmla="*/ 6476529 h 6858000"/>
              <a:gd name="connsiteX66" fmla="*/ 1504312 w 8040688"/>
              <a:gd name="connsiteY66" fmla="*/ 6513677 h 6858000"/>
              <a:gd name="connsiteX67" fmla="*/ 1547174 w 8040688"/>
              <a:gd name="connsiteY67" fmla="*/ 6551778 h 6858000"/>
              <a:gd name="connsiteX68" fmla="*/ 1581464 w 8040688"/>
              <a:gd name="connsiteY68" fmla="*/ 6537490 h 6858000"/>
              <a:gd name="connsiteX69" fmla="*/ 1581464 w 8040688"/>
              <a:gd name="connsiteY69" fmla="*/ 6548920 h 6858000"/>
              <a:gd name="connsiteX70" fmla="*/ 1615754 w 8040688"/>
              <a:gd name="connsiteY70" fmla="*/ 6548920 h 6858000"/>
              <a:gd name="connsiteX71" fmla="*/ 1615754 w 8040688"/>
              <a:gd name="connsiteY71" fmla="*/ 6468909 h 6858000"/>
              <a:gd name="connsiteX72" fmla="*/ 1562414 w 8040688"/>
              <a:gd name="connsiteY72" fmla="*/ 6424141 h 6858000"/>
              <a:gd name="connsiteX73" fmla="*/ 1145220 w 8040688"/>
              <a:gd name="connsiteY73" fmla="*/ 6424141 h 6858000"/>
              <a:gd name="connsiteX74" fmla="*/ 1092833 w 8040688"/>
              <a:gd name="connsiteY74" fmla="*/ 6439381 h 6858000"/>
              <a:gd name="connsiteX75" fmla="*/ 1106168 w 8040688"/>
              <a:gd name="connsiteY75" fmla="*/ 6465099 h 6858000"/>
              <a:gd name="connsiteX76" fmla="*/ 1142363 w 8040688"/>
              <a:gd name="connsiteY76" fmla="*/ 6453669 h 6858000"/>
              <a:gd name="connsiteX77" fmla="*/ 1162365 w 8040688"/>
              <a:gd name="connsiteY77" fmla="*/ 6467957 h 6858000"/>
              <a:gd name="connsiteX78" fmla="*/ 1163318 w 8040688"/>
              <a:gd name="connsiteY78" fmla="*/ 6468909 h 6858000"/>
              <a:gd name="connsiteX79" fmla="*/ 1154745 w 8040688"/>
              <a:gd name="connsiteY79" fmla="*/ 6476529 h 6858000"/>
              <a:gd name="connsiteX80" fmla="*/ 1130933 w 8040688"/>
              <a:gd name="connsiteY80" fmla="*/ 6476529 h 6858000"/>
              <a:gd name="connsiteX81" fmla="*/ 1087118 w 8040688"/>
              <a:gd name="connsiteY81" fmla="*/ 6513677 h 6858000"/>
              <a:gd name="connsiteX82" fmla="*/ 1129980 w 8040688"/>
              <a:gd name="connsiteY82" fmla="*/ 6551778 h 6858000"/>
              <a:gd name="connsiteX83" fmla="*/ 1164270 w 8040688"/>
              <a:gd name="connsiteY83" fmla="*/ 6537490 h 6858000"/>
              <a:gd name="connsiteX84" fmla="*/ 1164270 w 8040688"/>
              <a:gd name="connsiteY84" fmla="*/ 6548920 h 6858000"/>
              <a:gd name="connsiteX85" fmla="*/ 1198560 w 8040688"/>
              <a:gd name="connsiteY85" fmla="*/ 6548920 h 6858000"/>
              <a:gd name="connsiteX86" fmla="*/ 1198560 w 8040688"/>
              <a:gd name="connsiteY86" fmla="*/ 6468909 h 6858000"/>
              <a:gd name="connsiteX87" fmla="*/ 1145220 w 8040688"/>
              <a:gd name="connsiteY87" fmla="*/ 6424141 h 6858000"/>
              <a:gd name="connsiteX88" fmla="*/ 587056 w 8040688"/>
              <a:gd name="connsiteY88" fmla="*/ 6386040 h 6858000"/>
              <a:gd name="connsiteX89" fmla="*/ 564196 w 8040688"/>
              <a:gd name="connsiteY89" fmla="*/ 6386993 h 6858000"/>
              <a:gd name="connsiteX90" fmla="*/ 564196 w 8040688"/>
              <a:gd name="connsiteY90" fmla="*/ 6524155 h 6858000"/>
              <a:gd name="connsiteX91" fmla="*/ 587056 w 8040688"/>
              <a:gd name="connsiteY91" fmla="*/ 6526060 h 6858000"/>
              <a:gd name="connsiteX92" fmla="*/ 619441 w 8040688"/>
              <a:gd name="connsiteY92" fmla="*/ 6523202 h 6858000"/>
              <a:gd name="connsiteX93" fmla="*/ 613726 w 8040688"/>
              <a:gd name="connsiteY93" fmla="*/ 6406043 h 6858000"/>
              <a:gd name="connsiteX94" fmla="*/ 619441 w 8040688"/>
              <a:gd name="connsiteY94" fmla="*/ 6388898 h 6858000"/>
              <a:gd name="connsiteX95" fmla="*/ 587056 w 8040688"/>
              <a:gd name="connsiteY95" fmla="*/ 6386040 h 6858000"/>
              <a:gd name="connsiteX96" fmla="*/ 1647187 w 8040688"/>
              <a:gd name="connsiteY96" fmla="*/ 6381278 h 6858000"/>
              <a:gd name="connsiteX97" fmla="*/ 1647187 w 8040688"/>
              <a:gd name="connsiteY97" fmla="*/ 6427951 h 6858000"/>
              <a:gd name="connsiteX98" fmla="*/ 1628137 w 8040688"/>
              <a:gd name="connsiteY98" fmla="*/ 6427951 h 6858000"/>
              <a:gd name="connsiteX99" fmla="*/ 1628137 w 8040688"/>
              <a:gd name="connsiteY99" fmla="*/ 6457479 h 6858000"/>
              <a:gd name="connsiteX100" fmla="*/ 1647187 w 8040688"/>
              <a:gd name="connsiteY100" fmla="*/ 6457479 h 6858000"/>
              <a:gd name="connsiteX101" fmla="*/ 1647187 w 8040688"/>
              <a:gd name="connsiteY101" fmla="*/ 6524155 h 6858000"/>
              <a:gd name="connsiteX102" fmla="*/ 1682429 w 8040688"/>
              <a:gd name="connsiteY102" fmla="*/ 6551778 h 6858000"/>
              <a:gd name="connsiteX103" fmla="*/ 1709099 w 8040688"/>
              <a:gd name="connsiteY103" fmla="*/ 6549873 h 6858000"/>
              <a:gd name="connsiteX104" fmla="*/ 1709099 w 8040688"/>
              <a:gd name="connsiteY104" fmla="*/ 6520345 h 6858000"/>
              <a:gd name="connsiteX105" fmla="*/ 1692907 w 8040688"/>
              <a:gd name="connsiteY105" fmla="*/ 6520345 h 6858000"/>
              <a:gd name="connsiteX106" fmla="*/ 1681477 w 8040688"/>
              <a:gd name="connsiteY106" fmla="*/ 6511772 h 6858000"/>
              <a:gd name="connsiteX107" fmla="*/ 1681477 w 8040688"/>
              <a:gd name="connsiteY107" fmla="*/ 6456526 h 6858000"/>
              <a:gd name="connsiteX108" fmla="*/ 1708147 w 8040688"/>
              <a:gd name="connsiteY108" fmla="*/ 6456526 h 6858000"/>
              <a:gd name="connsiteX109" fmla="*/ 1708147 w 8040688"/>
              <a:gd name="connsiteY109" fmla="*/ 6426998 h 6858000"/>
              <a:gd name="connsiteX110" fmla="*/ 1681477 w 8040688"/>
              <a:gd name="connsiteY110" fmla="*/ 6426998 h 6858000"/>
              <a:gd name="connsiteX111" fmla="*/ 1681477 w 8040688"/>
              <a:gd name="connsiteY111" fmla="*/ 6381278 h 6858000"/>
              <a:gd name="connsiteX112" fmla="*/ 1341435 w 8040688"/>
              <a:gd name="connsiteY112" fmla="*/ 6363180 h 6858000"/>
              <a:gd name="connsiteX113" fmla="*/ 1319527 w 8040688"/>
              <a:gd name="connsiteY113" fmla="*/ 6385088 h 6858000"/>
              <a:gd name="connsiteX114" fmla="*/ 1341435 w 8040688"/>
              <a:gd name="connsiteY114" fmla="*/ 6406996 h 6858000"/>
              <a:gd name="connsiteX115" fmla="*/ 1363342 w 8040688"/>
              <a:gd name="connsiteY115" fmla="*/ 6385088 h 6858000"/>
              <a:gd name="connsiteX116" fmla="*/ 1341435 w 8040688"/>
              <a:gd name="connsiteY116" fmla="*/ 6363180 h 6858000"/>
              <a:gd name="connsiteX117" fmla="*/ 1032826 w 8040688"/>
              <a:gd name="connsiteY117" fmla="*/ 6363180 h 6858000"/>
              <a:gd name="connsiteX118" fmla="*/ 1032826 w 8040688"/>
              <a:gd name="connsiteY118" fmla="*/ 6548920 h 6858000"/>
              <a:gd name="connsiteX119" fmla="*/ 1067116 w 8040688"/>
              <a:gd name="connsiteY119" fmla="*/ 6548920 h 6858000"/>
              <a:gd name="connsiteX120" fmla="*/ 1067116 w 8040688"/>
              <a:gd name="connsiteY120" fmla="*/ 6363180 h 6858000"/>
              <a:gd name="connsiteX121" fmla="*/ 922336 w 8040688"/>
              <a:gd name="connsiteY121" fmla="*/ 6359370 h 6858000"/>
              <a:gd name="connsiteX122" fmla="*/ 825181 w 8040688"/>
              <a:gd name="connsiteY122" fmla="*/ 6455574 h 6858000"/>
              <a:gd name="connsiteX123" fmla="*/ 922336 w 8040688"/>
              <a:gd name="connsiteY123" fmla="*/ 6551778 h 6858000"/>
              <a:gd name="connsiteX124" fmla="*/ 1013776 w 8040688"/>
              <a:gd name="connsiteY124" fmla="*/ 6482244 h 6858000"/>
              <a:gd name="connsiteX125" fmla="*/ 973771 w 8040688"/>
              <a:gd name="connsiteY125" fmla="*/ 6482244 h 6858000"/>
              <a:gd name="connsiteX126" fmla="*/ 923288 w 8040688"/>
              <a:gd name="connsiteY126" fmla="*/ 6517488 h 6858000"/>
              <a:gd name="connsiteX127" fmla="*/ 865186 w 8040688"/>
              <a:gd name="connsiteY127" fmla="*/ 6455574 h 6858000"/>
              <a:gd name="connsiteX128" fmla="*/ 923288 w 8040688"/>
              <a:gd name="connsiteY128" fmla="*/ 6393661 h 6858000"/>
              <a:gd name="connsiteX129" fmla="*/ 972818 w 8040688"/>
              <a:gd name="connsiteY129" fmla="*/ 6428904 h 6858000"/>
              <a:gd name="connsiteX130" fmla="*/ 1013776 w 8040688"/>
              <a:gd name="connsiteY130" fmla="*/ 6428904 h 6858000"/>
              <a:gd name="connsiteX131" fmla="*/ 922336 w 8040688"/>
              <a:gd name="connsiteY131" fmla="*/ 6359370 h 6858000"/>
              <a:gd name="connsiteX132" fmla="*/ 646112 w 8040688"/>
              <a:gd name="connsiteY132" fmla="*/ 6339367 h 6858000"/>
              <a:gd name="connsiteX133" fmla="*/ 619442 w 8040688"/>
              <a:gd name="connsiteY133" fmla="*/ 6387945 h 6858000"/>
              <a:gd name="connsiteX134" fmla="*/ 735647 w 8040688"/>
              <a:gd name="connsiteY134" fmla="*/ 6455574 h 6858000"/>
              <a:gd name="connsiteX135" fmla="*/ 764222 w 8040688"/>
              <a:gd name="connsiteY135" fmla="*/ 6407948 h 6858000"/>
              <a:gd name="connsiteX136" fmla="*/ 646112 w 8040688"/>
              <a:gd name="connsiteY136" fmla="*/ 6339367 h 6858000"/>
              <a:gd name="connsiteX137" fmla="*/ 0 w 8040688"/>
              <a:gd name="connsiteY137" fmla="*/ 0 h 6858000"/>
              <a:gd name="connsiteX138" fmla="*/ 8040688 w 8040688"/>
              <a:gd name="connsiteY138" fmla="*/ 0 h 6858000"/>
              <a:gd name="connsiteX139" fmla="*/ 8040688 w 8040688"/>
              <a:gd name="connsiteY139" fmla="*/ 6858000 h 6858000"/>
              <a:gd name="connsiteX140" fmla="*/ 0 w 8040688"/>
              <a:gd name="connsiteY14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8040688" h="6858000">
                <a:moveTo>
                  <a:pt x="1579559" y="6496532"/>
                </a:moveTo>
                <a:lnTo>
                  <a:pt x="1579559" y="6505105"/>
                </a:lnTo>
                <a:cubicBezTo>
                  <a:pt x="1579559" y="6520345"/>
                  <a:pt x="1566224" y="6527013"/>
                  <a:pt x="1555747" y="6527013"/>
                </a:cubicBezTo>
                <a:cubicBezTo>
                  <a:pt x="1545269" y="6527013"/>
                  <a:pt x="1538602" y="6521298"/>
                  <a:pt x="1538602" y="6512725"/>
                </a:cubicBezTo>
                <a:cubicBezTo>
                  <a:pt x="1538602" y="6504152"/>
                  <a:pt x="1545269" y="6499390"/>
                  <a:pt x="1555747" y="6499390"/>
                </a:cubicBezTo>
                <a:lnTo>
                  <a:pt x="1569082" y="6499390"/>
                </a:lnTo>
                <a:cubicBezTo>
                  <a:pt x="1573844" y="6499390"/>
                  <a:pt x="1577654" y="6498437"/>
                  <a:pt x="1579559" y="6496532"/>
                </a:cubicBezTo>
                <a:close/>
                <a:moveTo>
                  <a:pt x="1162365" y="6496532"/>
                </a:moveTo>
                <a:lnTo>
                  <a:pt x="1162365" y="6505105"/>
                </a:lnTo>
                <a:cubicBezTo>
                  <a:pt x="1162365" y="6520345"/>
                  <a:pt x="1149030" y="6527013"/>
                  <a:pt x="1138553" y="6527013"/>
                </a:cubicBezTo>
                <a:cubicBezTo>
                  <a:pt x="1128075" y="6527013"/>
                  <a:pt x="1121408" y="6521298"/>
                  <a:pt x="1121408" y="6512725"/>
                </a:cubicBezTo>
                <a:cubicBezTo>
                  <a:pt x="1121408" y="6504152"/>
                  <a:pt x="1128075" y="6499390"/>
                  <a:pt x="1138553" y="6499390"/>
                </a:cubicBezTo>
                <a:lnTo>
                  <a:pt x="1151888" y="6499390"/>
                </a:lnTo>
                <a:cubicBezTo>
                  <a:pt x="1156650" y="6499390"/>
                  <a:pt x="1160460" y="6498437"/>
                  <a:pt x="1162365" y="6496532"/>
                </a:cubicBezTo>
                <a:close/>
                <a:moveTo>
                  <a:pt x="736599" y="6455574"/>
                </a:moveTo>
                <a:cubicBezTo>
                  <a:pt x="707072" y="6490817"/>
                  <a:pt x="666114" y="6515582"/>
                  <a:pt x="619442" y="6523203"/>
                </a:cubicBezTo>
                <a:cubicBezTo>
                  <a:pt x="623252" y="6532728"/>
                  <a:pt x="628014" y="6543205"/>
                  <a:pt x="632777" y="6552731"/>
                </a:cubicBezTo>
                <a:cubicBezTo>
                  <a:pt x="636587" y="6559398"/>
                  <a:pt x="641349" y="6566066"/>
                  <a:pt x="646112" y="6571781"/>
                </a:cubicBezTo>
                <a:cubicBezTo>
                  <a:pt x="691832" y="6560351"/>
                  <a:pt x="732789" y="6536538"/>
                  <a:pt x="765174" y="6503200"/>
                </a:cubicBezTo>
                <a:cubicBezTo>
                  <a:pt x="757554" y="6486054"/>
                  <a:pt x="748029" y="6469862"/>
                  <a:pt x="736599" y="6455574"/>
                </a:cubicBezTo>
                <a:close/>
                <a:moveTo>
                  <a:pt x="1781490" y="6452716"/>
                </a:moveTo>
                <a:cubicBezTo>
                  <a:pt x="1795777" y="6452716"/>
                  <a:pt x="1806255" y="6462241"/>
                  <a:pt x="1808160" y="6474624"/>
                </a:cubicBezTo>
                <a:lnTo>
                  <a:pt x="1753867" y="6474624"/>
                </a:lnTo>
                <a:cubicBezTo>
                  <a:pt x="1756725" y="6461289"/>
                  <a:pt x="1767202" y="6452716"/>
                  <a:pt x="1781490" y="6452716"/>
                </a:cubicBezTo>
                <a:close/>
                <a:moveTo>
                  <a:pt x="1309050" y="6426999"/>
                </a:moveTo>
                <a:lnTo>
                  <a:pt x="1309050" y="6456526"/>
                </a:lnTo>
                <a:lnTo>
                  <a:pt x="1326195" y="6456526"/>
                </a:lnTo>
                <a:lnTo>
                  <a:pt x="1326195" y="6548920"/>
                </a:lnTo>
                <a:lnTo>
                  <a:pt x="1360485" y="6548920"/>
                </a:lnTo>
                <a:lnTo>
                  <a:pt x="1360485" y="6426999"/>
                </a:lnTo>
                <a:close/>
                <a:moveTo>
                  <a:pt x="1372868" y="6426998"/>
                </a:moveTo>
                <a:lnTo>
                  <a:pt x="1414778" y="6548920"/>
                </a:lnTo>
                <a:lnTo>
                  <a:pt x="1457640" y="6548920"/>
                </a:lnTo>
                <a:lnTo>
                  <a:pt x="1501455" y="6426998"/>
                </a:lnTo>
                <a:lnTo>
                  <a:pt x="1465260" y="6426998"/>
                </a:lnTo>
                <a:lnTo>
                  <a:pt x="1437638" y="6511772"/>
                </a:lnTo>
                <a:lnTo>
                  <a:pt x="1410015" y="6426998"/>
                </a:lnTo>
                <a:close/>
                <a:moveTo>
                  <a:pt x="1781490" y="6425093"/>
                </a:moveTo>
                <a:cubicBezTo>
                  <a:pt x="1745295" y="6425093"/>
                  <a:pt x="1718625" y="6451763"/>
                  <a:pt x="1718625" y="6488912"/>
                </a:cubicBezTo>
                <a:cubicBezTo>
                  <a:pt x="1718625" y="6526060"/>
                  <a:pt x="1754820" y="6552730"/>
                  <a:pt x="1782442" y="6552730"/>
                </a:cubicBezTo>
                <a:cubicBezTo>
                  <a:pt x="1810065" y="6552730"/>
                  <a:pt x="1832925" y="6540347"/>
                  <a:pt x="1843402" y="6514629"/>
                </a:cubicBezTo>
                <a:lnTo>
                  <a:pt x="1807207" y="6510819"/>
                </a:lnTo>
                <a:cubicBezTo>
                  <a:pt x="1802445" y="6518439"/>
                  <a:pt x="1797682" y="6523202"/>
                  <a:pt x="1782442" y="6523202"/>
                </a:cubicBezTo>
                <a:cubicBezTo>
                  <a:pt x="1767202" y="6523202"/>
                  <a:pt x="1756725" y="6511772"/>
                  <a:pt x="1754820" y="6498437"/>
                </a:cubicBezTo>
                <a:lnTo>
                  <a:pt x="1845307" y="6498437"/>
                </a:lnTo>
                <a:lnTo>
                  <a:pt x="1845307" y="6497484"/>
                </a:lnTo>
                <a:cubicBezTo>
                  <a:pt x="1845307" y="6447001"/>
                  <a:pt x="1817685" y="6425093"/>
                  <a:pt x="1781490" y="6425093"/>
                </a:cubicBezTo>
                <a:close/>
                <a:moveTo>
                  <a:pt x="1282380" y="6425093"/>
                </a:moveTo>
                <a:cubicBezTo>
                  <a:pt x="1267140" y="6425093"/>
                  <a:pt x="1255710" y="6432713"/>
                  <a:pt x="1250947" y="6446048"/>
                </a:cubicBezTo>
                <a:lnTo>
                  <a:pt x="1250947" y="6426998"/>
                </a:lnTo>
                <a:lnTo>
                  <a:pt x="1217610" y="6426998"/>
                </a:lnTo>
                <a:lnTo>
                  <a:pt x="1217610" y="6548920"/>
                </a:lnTo>
                <a:lnTo>
                  <a:pt x="1251900" y="6548920"/>
                </a:lnTo>
                <a:lnTo>
                  <a:pt x="1251900" y="6490817"/>
                </a:lnTo>
                <a:cubicBezTo>
                  <a:pt x="1251900" y="6469861"/>
                  <a:pt x="1260472" y="6461289"/>
                  <a:pt x="1277617" y="6461289"/>
                </a:cubicBezTo>
                <a:lnTo>
                  <a:pt x="1291905" y="6461289"/>
                </a:lnTo>
                <a:cubicBezTo>
                  <a:pt x="1291905" y="6461289"/>
                  <a:pt x="1291905" y="6426046"/>
                  <a:pt x="1291905" y="6426046"/>
                </a:cubicBezTo>
                <a:cubicBezTo>
                  <a:pt x="1289047" y="6425093"/>
                  <a:pt x="1297620" y="6425093"/>
                  <a:pt x="1282380" y="6425093"/>
                </a:cubicBezTo>
                <a:close/>
                <a:moveTo>
                  <a:pt x="1562414" y="6424141"/>
                </a:moveTo>
                <a:cubicBezTo>
                  <a:pt x="1532887" y="6424141"/>
                  <a:pt x="1510027" y="6439381"/>
                  <a:pt x="1510027" y="6439381"/>
                </a:cubicBezTo>
                <a:lnTo>
                  <a:pt x="1523362" y="6465099"/>
                </a:lnTo>
                <a:cubicBezTo>
                  <a:pt x="1531934" y="6459384"/>
                  <a:pt x="1546222" y="6453669"/>
                  <a:pt x="1559557" y="6453669"/>
                </a:cubicBezTo>
                <a:cubicBezTo>
                  <a:pt x="1572892" y="6453669"/>
                  <a:pt x="1579559" y="6459384"/>
                  <a:pt x="1579559" y="6467957"/>
                </a:cubicBezTo>
                <a:lnTo>
                  <a:pt x="1580512" y="6468909"/>
                </a:lnTo>
                <a:cubicBezTo>
                  <a:pt x="1580512" y="6473672"/>
                  <a:pt x="1577654" y="6476529"/>
                  <a:pt x="1571939" y="6476529"/>
                </a:cubicBezTo>
                <a:lnTo>
                  <a:pt x="1548127" y="6476529"/>
                </a:lnTo>
                <a:cubicBezTo>
                  <a:pt x="1521457" y="6476529"/>
                  <a:pt x="1504312" y="6493675"/>
                  <a:pt x="1504312" y="6513677"/>
                </a:cubicBezTo>
                <a:cubicBezTo>
                  <a:pt x="1504312" y="6533680"/>
                  <a:pt x="1521457" y="6551778"/>
                  <a:pt x="1547174" y="6551778"/>
                </a:cubicBezTo>
                <a:cubicBezTo>
                  <a:pt x="1561462" y="6551778"/>
                  <a:pt x="1574797" y="6547015"/>
                  <a:pt x="1581464" y="6537490"/>
                </a:cubicBezTo>
                <a:lnTo>
                  <a:pt x="1581464" y="6548920"/>
                </a:lnTo>
                <a:lnTo>
                  <a:pt x="1615754" y="6548920"/>
                </a:lnTo>
                <a:lnTo>
                  <a:pt x="1615754" y="6468909"/>
                </a:lnTo>
                <a:cubicBezTo>
                  <a:pt x="1615754" y="6436524"/>
                  <a:pt x="1591942" y="6424141"/>
                  <a:pt x="1562414" y="6424141"/>
                </a:cubicBezTo>
                <a:close/>
                <a:moveTo>
                  <a:pt x="1145220" y="6424141"/>
                </a:moveTo>
                <a:cubicBezTo>
                  <a:pt x="1115693" y="6424141"/>
                  <a:pt x="1092833" y="6439381"/>
                  <a:pt x="1092833" y="6439381"/>
                </a:cubicBezTo>
                <a:lnTo>
                  <a:pt x="1106168" y="6465099"/>
                </a:lnTo>
                <a:cubicBezTo>
                  <a:pt x="1114740" y="6459384"/>
                  <a:pt x="1129028" y="6453669"/>
                  <a:pt x="1142363" y="6453669"/>
                </a:cubicBezTo>
                <a:cubicBezTo>
                  <a:pt x="1155698" y="6453669"/>
                  <a:pt x="1162365" y="6459384"/>
                  <a:pt x="1162365" y="6467957"/>
                </a:cubicBezTo>
                <a:lnTo>
                  <a:pt x="1163318" y="6468909"/>
                </a:lnTo>
                <a:cubicBezTo>
                  <a:pt x="1163318" y="6473672"/>
                  <a:pt x="1160460" y="6476529"/>
                  <a:pt x="1154745" y="6476529"/>
                </a:cubicBezTo>
                <a:lnTo>
                  <a:pt x="1130933" y="6476529"/>
                </a:lnTo>
                <a:cubicBezTo>
                  <a:pt x="1104263" y="6476529"/>
                  <a:pt x="1087118" y="6493675"/>
                  <a:pt x="1087118" y="6513677"/>
                </a:cubicBezTo>
                <a:cubicBezTo>
                  <a:pt x="1087118" y="6533680"/>
                  <a:pt x="1104263" y="6551778"/>
                  <a:pt x="1129980" y="6551778"/>
                </a:cubicBezTo>
                <a:cubicBezTo>
                  <a:pt x="1144268" y="6551778"/>
                  <a:pt x="1157603" y="6547015"/>
                  <a:pt x="1164270" y="6537490"/>
                </a:cubicBezTo>
                <a:lnTo>
                  <a:pt x="1164270" y="6548920"/>
                </a:lnTo>
                <a:lnTo>
                  <a:pt x="1198560" y="6548920"/>
                </a:lnTo>
                <a:lnTo>
                  <a:pt x="1198560" y="6468909"/>
                </a:lnTo>
                <a:cubicBezTo>
                  <a:pt x="1198560" y="6436524"/>
                  <a:pt x="1174748" y="6424141"/>
                  <a:pt x="1145220" y="6424141"/>
                </a:cubicBezTo>
                <a:close/>
                <a:moveTo>
                  <a:pt x="587056" y="6386040"/>
                </a:moveTo>
                <a:cubicBezTo>
                  <a:pt x="575626" y="6386040"/>
                  <a:pt x="571816" y="6386040"/>
                  <a:pt x="564196" y="6386993"/>
                </a:cubicBezTo>
                <a:cubicBezTo>
                  <a:pt x="551814" y="6430808"/>
                  <a:pt x="550861" y="6478434"/>
                  <a:pt x="564196" y="6524155"/>
                </a:cubicBezTo>
                <a:cubicBezTo>
                  <a:pt x="571816" y="6524155"/>
                  <a:pt x="579436" y="6526060"/>
                  <a:pt x="587056" y="6526060"/>
                </a:cubicBezTo>
                <a:cubicBezTo>
                  <a:pt x="598486" y="6526060"/>
                  <a:pt x="608964" y="6525107"/>
                  <a:pt x="619441" y="6523202"/>
                </a:cubicBezTo>
                <a:cubicBezTo>
                  <a:pt x="605154" y="6486054"/>
                  <a:pt x="603249" y="6445096"/>
                  <a:pt x="613726" y="6406043"/>
                </a:cubicBezTo>
                <a:cubicBezTo>
                  <a:pt x="615631" y="6400328"/>
                  <a:pt x="617536" y="6394613"/>
                  <a:pt x="619441" y="6388898"/>
                </a:cubicBezTo>
                <a:cubicBezTo>
                  <a:pt x="608964" y="6386993"/>
                  <a:pt x="598486" y="6386040"/>
                  <a:pt x="587056" y="6386040"/>
                </a:cubicBezTo>
                <a:close/>
                <a:moveTo>
                  <a:pt x="1647187" y="6381278"/>
                </a:moveTo>
                <a:lnTo>
                  <a:pt x="1647187" y="6427951"/>
                </a:lnTo>
                <a:lnTo>
                  <a:pt x="1628137" y="6427951"/>
                </a:lnTo>
                <a:lnTo>
                  <a:pt x="1628137" y="6457479"/>
                </a:lnTo>
                <a:lnTo>
                  <a:pt x="1647187" y="6457479"/>
                </a:lnTo>
                <a:lnTo>
                  <a:pt x="1647187" y="6524155"/>
                </a:lnTo>
                <a:cubicBezTo>
                  <a:pt x="1647187" y="6548920"/>
                  <a:pt x="1665284" y="6551778"/>
                  <a:pt x="1682429" y="6551778"/>
                </a:cubicBezTo>
                <a:cubicBezTo>
                  <a:pt x="1691954" y="6551778"/>
                  <a:pt x="1709099" y="6549873"/>
                  <a:pt x="1709099" y="6549873"/>
                </a:cubicBezTo>
                <a:lnTo>
                  <a:pt x="1709099" y="6520345"/>
                </a:lnTo>
                <a:cubicBezTo>
                  <a:pt x="1709099" y="6520345"/>
                  <a:pt x="1701479" y="6520345"/>
                  <a:pt x="1692907" y="6520345"/>
                </a:cubicBezTo>
                <a:cubicBezTo>
                  <a:pt x="1687192" y="6520345"/>
                  <a:pt x="1681477" y="6519392"/>
                  <a:pt x="1681477" y="6511772"/>
                </a:cubicBezTo>
                <a:lnTo>
                  <a:pt x="1681477" y="6456526"/>
                </a:lnTo>
                <a:lnTo>
                  <a:pt x="1708147" y="6456526"/>
                </a:lnTo>
                <a:lnTo>
                  <a:pt x="1708147" y="6426998"/>
                </a:lnTo>
                <a:lnTo>
                  <a:pt x="1681477" y="6426998"/>
                </a:lnTo>
                <a:lnTo>
                  <a:pt x="1681477" y="6381278"/>
                </a:lnTo>
                <a:close/>
                <a:moveTo>
                  <a:pt x="1341435" y="6363180"/>
                </a:moveTo>
                <a:cubicBezTo>
                  <a:pt x="1329052" y="6363180"/>
                  <a:pt x="1319527" y="6372705"/>
                  <a:pt x="1319527" y="6385088"/>
                </a:cubicBezTo>
                <a:cubicBezTo>
                  <a:pt x="1319527" y="6397471"/>
                  <a:pt x="1329052" y="6406996"/>
                  <a:pt x="1341435" y="6406996"/>
                </a:cubicBezTo>
                <a:cubicBezTo>
                  <a:pt x="1353817" y="6406996"/>
                  <a:pt x="1363342" y="6396518"/>
                  <a:pt x="1363342" y="6385088"/>
                </a:cubicBezTo>
                <a:cubicBezTo>
                  <a:pt x="1363342" y="6373658"/>
                  <a:pt x="1353817" y="6363180"/>
                  <a:pt x="1341435" y="6363180"/>
                </a:cubicBezTo>
                <a:close/>
                <a:moveTo>
                  <a:pt x="1032826" y="6363180"/>
                </a:moveTo>
                <a:lnTo>
                  <a:pt x="1032826" y="6548920"/>
                </a:lnTo>
                <a:lnTo>
                  <a:pt x="1067116" y="6548920"/>
                </a:lnTo>
                <a:lnTo>
                  <a:pt x="1067116" y="6363180"/>
                </a:lnTo>
                <a:close/>
                <a:moveTo>
                  <a:pt x="922336" y="6359370"/>
                </a:moveTo>
                <a:cubicBezTo>
                  <a:pt x="867091" y="6359370"/>
                  <a:pt x="825181" y="6399376"/>
                  <a:pt x="825181" y="6455574"/>
                </a:cubicBezTo>
                <a:cubicBezTo>
                  <a:pt x="825181" y="6511772"/>
                  <a:pt x="880426" y="6551778"/>
                  <a:pt x="922336" y="6551778"/>
                </a:cubicBezTo>
                <a:cubicBezTo>
                  <a:pt x="964246" y="6551778"/>
                  <a:pt x="1003298" y="6526060"/>
                  <a:pt x="1013776" y="6482244"/>
                </a:cubicBezTo>
                <a:lnTo>
                  <a:pt x="973771" y="6482244"/>
                </a:lnTo>
                <a:cubicBezTo>
                  <a:pt x="967103" y="6504152"/>
                  <a:pt x="948053" y="6517488"/>
                  <a:pt x="923288" y="6517488"/>
                </a:cubicBezTo>
                <a:cubicBezTo>
                  <a:pt x="888046" y="6517488"/>
                  <a:pt x="865186" y="6490817"/>
                  <a:pt x="865186" y="6455574"/>
                </a:cubicBezTo>
                <a:cubicBezTo>
                  <a:pt x="865186" y="6420331"/>
                  <a:pt x="888046" y="6393661"/>
                  <a:pt x="923288" y="6393661"/>
                </a:cubicBezTo>
                <a:cubicBezTo>
                  <a:pt x="947101" y="6393661"/>
                  <a:pt x="966151" y="6406996"/>
                  <a:pt x="972818" y="6428904"/>
                </a:cubicBezTo>
                <a:lnTo>
                  <a:pt x="1013776" y="6428904"/>
                </a:lnTo>
                <a:cubicBezTo>
                  <a:pt x="1002346" y="6385088"/>
                  <a:pt x="977581" y="6359370"/>
                  <a:pt x="922336" y="6359370"/>
                </a:cubicBezTo>
                <a:close/>
                <a:moveTo>
                  <a:pt x="646112" y="6339367"/>
                </a:moveTo>
                <a:cubicBezTo>
                  <a:pt x="634682" y="6354607"/>
                  <a:pt x="626109" y="6370800"/>
                  <a:pt x="619442" y="6387945"/>
                </a:cubicBezTo>
                <a:cubicBezTo>
                  <a:pt x="666114" y="6395565"/>
                  <a:pt x="707072" y="6420331"/>
                  <a:pt x="735647" y="6455574"/>
                </a:cubicBezTo>
                <a:cubicBezTo>
                  <a:pt x="747077" y="6441286"/>
                  <a:pt x="757554" y="6425093"/>
                  <a:pt x="764222" y="6407948"/>
                </a:cubicBezTo>
                <a:cubicBezTo>
                  <a:pt x="732789" y="6375563"/>
                  <a:pt x="691832" y="6350797"/>
                  <a:pt x="646112" y="6339367"/>
                </a:cubicBezTo>
                <a:close/>
                <a:moveTo>
                  <a:pt x="0" y="0"/>
                </a:moveTo>
                <a:lnTo>
                  <a:pt x="8040688" y="0"/>
                </a:lnTo>
                <a:lnTo>
                  <a:pt x="8040688" y="6858000"/>
                </a:lnTo>
                <a:lnTo>
                  <a:pt x="0" y="6858000"/>
                </a:lnTo>
                <a:close/>
              </a:path>
            </a:pathLst>
          </a:custGeom>
          <a:solidFill>
            <a:schemeClr val="bg1">
              <a:lumMod val="95000"/>
            </a:schemeClr>
          </a:solidFill>
          <a:ln>
            <a:noFill/>
          </a:ln>
        </p:spPr>
        <p:txBody>
          <a:bodyPr wrap="square" tIns="180000" anchor="t" anchorCtr="0">
            <a:noAutofit/>
          </a:bodyPr>
          <a:lstStyle>
            <a:lvl1pPr marL="0" indent="0" algn="ctr">
              <a:buNone/>
              <a:defRPr sz="1000">
                <a:solidFill>
                  <a:schemeClr val="accent2"/>
                </a:solidFill>
                <a:latin typeface="+mn-lt"/>
              </a:defRPr>
            </a:lvl1pPr>
          </a:lstStyle>
          <a:p>
            <a:pPr lvl="0"/>
            <a:r>
              <a:rPr lang="en-US"/>
              <a:t>Drag picture file here or click </a:t>
            </a:r>
            <a:r>
              <a:rPr lang="en-GB" noProof="0"/>
              <a:t>center</a:t>
            </a:r>
            <a:r>
              <a:rPr lang="en-US"/>
              <a:t> icon to insert light image</a:t>
            </a:r>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2168525"/>
            <a:ext cx="3024000" cy="1620837"/>
          </a:xfrm>
        </p:spPr>
        <p:txBody>
          <a:bodyPr anchor="b" anchorCtr="0"/>
          <a:lstStyle>
            <a:lvl1pPr marL="0" indent="0" algn="ctr">
              <a:buNone/>
              <a:defRPr sz="12000" spc="-300" baseline="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0%</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3608388"/>
            <a:ext cx="3024000"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Tree>
    <p:extLst>
      <p:ext uri="{BB962C8B-B14F-4D97-AF65-F5344CB8AC3E}">
        <p14:creationId xmlns:p14="http://schemas.microsoft.com/office/powerpoint/2010/main" val="276916246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50:50 Text / Big Sta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92AC438-4963-3E86-AF1D-907809837B46}"/>
              </a:ext>
              <a:ext uri="{C183D7F6-B498-43B3-948B-1728B52AA6E4}">
                <adec:decorative xmlns:adec="http://schemas.microsoft.com/office/drawing/2017/decorative" val="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096000" y="2861"/>
            <a:ext cx="6096000" cy="6852277"/>
          </a:xfrm>
          <a:prstGeom prst="rect">
            <a:avLst/>
          </a:prstGeom>
        </p:spPr>
      </p:pic>
      <p:sp>
        <p:nvSpPr>
          <p:cNvPr id="7" name="Title 1">
            <a:extLst>
              <a:ext uri="{FF2B5EF4-FFF2-40B4-BE49-F238E27FC236}">
                <a16:creationId xmlns:a16="http://schemas.microsoft.com/office/drawing/2014/main" id="{7DE71408-1F6A-1900-3166-8B0F27B91CF7}"/>
              </a:ext>
            </a:extLst>
          </p:cNvPr>
          <p:cNvSpPr>
            <a:spLocks noGrp="1"/>
          </p:cNvSpPr>
          <p:nvPr>
            <p:ph type="title" hasCustomPrompt="1"/>
          </p:nvPr>
        </p:nvSpPr>
        <p:spPr>
          <a:xfrm>
            <a:off x="550865" y="368828"/>
            <a:ext cx="5075998" cy="251885"/>
          </a:xfrm>
        </p:spPr>
        <p:txBody>
          <a:bodyPr/>
          <a:lstStyle>
            <a:lvl1pPr>
              <a:defRPr/>
            </a:lvl1pPr>
          </a:lstStyle>
          <a:p>
            <a:r>
              <a:rPr lang="en-US"/>
              <a:t>Header avenir demi 24pt</a:t>
            </a:r>
            <a:endParaRPr lang="en-GB"/>
          </a:p>
        </p:txBody>
      </p:sp>
      <p:sp>
        <p:nvSpPr>
          <p:cNvPr id="10" name="Text Placeholder 9">
            <a:extLst>
              <a:ext uri="{FF2B5EF4-FFF2-40B4-BE49-F238E27FC236}">
                <a16:creationId xmlns:a16="http://schemas.microsoft.com/office/drawing/2014/main" id="{E040A9B4-F93C-AB35-66CE-1690CFBC2581}"/>
              </a:ext>
            </a:extLst>
          </p:cNvPr>
          <p:cNvSpPr>
            <a:spLocks noGrp="1"/>
          </p:cNvSpPr>
          <p:nvPr>
            <p:ph type="body" sz="quarter" idx="13" hasCustomPrompt="1"/>
          </p:nvPr>
        </p:nvSpPr>
        <p:spPr>
          <a:xfrm>
            <a:off x="550865" y="753852"/>
            <a:ext cx="5075998"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03BC752C-CC9E-C49E-83BC-B6B704830335}"/>
              </a:ext>
            </a:extLst>
          </p:cNvPr>
          <p:cNvSpPr>
            <a:spLocks noGrp="1"/>
          </p:cNvSpPr>
          <p:nvPr>
            <p:ph type="body" sz="quarter" idx="14"/>
          </p:nvPr>
        </p:nvSpPr>
        <p:spPr>
          <a:xfrm>
            <a:off x="550862" y="1808163"/>
            <a:ext cx="5076000" cy="4321175"/>
          </a:xfrm>
        </p:spPr>
        <p:txBody>
          <a:bodyPr/>
          <a:lstStyle/>
          <a:p>
            <a:pPr lvl="0"/>
            <a:r>
              <a:rPr lang="en-US"/>
              <a:t>Click to edit Master text styles</a:t>
            </a:r>
          </a:p>
          <a:p>
            <a:pPr lvl="1"/>
            <a:r>
              <a:rPr lang="en-US"/>
              <a:t>Second level</a:t>
            </a:r>
          </a:p>
          <a:p>
            <a:pPr lvl="2"/>
            <a:r>
              <a:rPr lang="en-US"/>
              <a:t>Third level</a:t>
            </a:r>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6959600" y="2168525"/>
            <a:ext cx="4679821" cy="1620837"/>
          </a:xfrm>
        </p:spPr>
        <p:txBody>
          <a:bodyPr anchor="b" anchorCtr="0"/>
          <a:lstStyle>
            <a:lvl1pPr marL="0" indent="0" algn="ctr">
              <a:buNone/>
              <a:defRPr lang="en-US" sz="12000" kern="1200" spc="-300" baseline="0" dirty="0">
                <a:solidFill>
                  <a:schemeClr val="accent1"/>
                </a:solidFill>
                <a:latin typeface="+mn-lt"/>
                <a:ea typeface="+mn-ea"/>
                <a:cs typeface="+mn-cs"/>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marL="0" lvl="0" indent="0" algn="ctr" defTabSz="914400" rtl="0" eaLnBrk="1" latinLnBrk="0" hangingPunct="1">
              <a:lnSpc>
                <a:spcPct val="100000"/>
              </a:lnSpc>
              <a:spcBef>
                <a:spcPts val="900"/>
              </a:spcBef>
              <a:buFont typeface="Arial" panose="020B0604020202020204" pitchFamily="34" charset="0"/>
              <a:buNone/>
            </a:pPr>
            <a:r>
              <a:rPr lang="en-US"/>
              <a:t>0%</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6959600" y="3608388"/>
            <a:ext cx="4679821"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Tree>
    <p:extLst>
      <p:ext uri="{BB962C8B-B14F-4D97-AF65-F5344CB8AC3E}">
        <p14:creationId xmlns:p14="http://schemas.microsoft.com/office/powerpoint/2010/main" val="187156630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ext / Big Sta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3AC6818-4D80-7C27-6F3D-8D1DFA9EF1C8}"/>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040689" y="1"/>
            <a:ext cx="4151312" cy="6858000"/>
          </a:xfrm>
          <a:prstGeom prst="rect">
            <a:avLst/>
          </a:prstGeom>
        </p:spPr>
      </p:pic>
      <p:sp>
        <p:nvSpPr>
          <p:cNvPr id="11" name="Title 1">
            <a:extLst>
              <a:ext uri="{FF2B5EF4-FFF2-40B4-BE49-F238E27FC236}">
                <a16:creationId xmlns:a16="http://schemas.microsoft.com/office/drawing/2014/main" id="{5F4A0393-5E31-B1D7-44B4-0AE64D41191E}"/>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12" name="Text Placeholder 9">
            <a:extLst>
              <a:ext uri="{FF2B5EF4-FFF2-40B4-BE49-F238E27FC236}">
                <a16:creationId xmlns:a16="http://schemas.microsoft.com/office/drawing/2014/main" id="{3EF12EEA-B717-A2D4-DD8A-8AD5480E07F4}"/>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2" name="Text Placeholder 12">
            <a:extLst>
              <a:ext uri="{FF2B5EF4-FFF2-40B4-BE49-F238E27FC236}">
                <a16:creationId xmlns:a16="http://schemas.microsoft.com/office/drawing/2014/main" id="{2C9B01AB-F676-3FF4-AEAE-E94065157406}"/>
              </a:ext>
            </a:extLst>
          </p:cNvPr>
          <p:cNvSpPr>
            <a:spLocks noGrp="1"/>
          </p:cNvSpPr>
          <p:nvPr>
            <p:ph type="body" sz="quarter" idx="14"/>
          </p:nvPr>
        </p:nvSpPr>
        <p:spPr>
          <a:xfrm>
            <a:off x="550861" y="1808163"/>
            <a:ext cx="6966375" cy="4321175"/>
          </a:xfrm>
        </p:spPr>
        <p:txBody>
          <a:bodyPr/>
          <a:lstStyle/>
          <a:p>
            <a:pPr lvl="0"/>
            <a:r>
              <a:rPr lang="en-US"/>
              <a:t>Click to edit Master text styles</a:t>
            </a:r>
          </a:p>
          <a:p>
            <a:pPr lvl="1"/>
            <a:r>
              <a:rPr lang="en-US"/>
              <a:t>Second level</a:t>
            </a:r>
          </a:p>
          <a:p>
            <a:pPr lvl="2"/>
            <a:r>
              <a:rPr lang="en-US"/>
              <a:t>Third level</a:t>
            </a:r>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2168525"/>
            <a:ext cx="3024000" cy="1620837"/>
          </a:xfrm>
        </p:spPr>
        <p:txBody>
          <a:bodyPr anchor="b" anchorCtr="0"/>
          <a:lstStyle>
            <a:lvl1pPr marL="0" indent="0" algn="ctr">
              <a:buNone/>
              <a:defRPr sz="12000" spc="-300" baseline="0">
                <a:solidFill>
                  <a:schemeClr val="accent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0%</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3608388"/>
            <a:ext cx="3024000"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Tree>
    <p:extLst>
      <p:ext uri="{BB962C8B-B14F-4D97-AF65-F5344CB8AC3E}">
        <p14:creationId xmlns:p14="http://schemas.microsoft.com/office/powerpoint/2010/main" val="29514791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x Columns - Pastel">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1A42F6E-246E-1108-4C12-F80987CC1815}"/>
              </a:ext>
            </a:extLst>
          </p:cNvPr>
          <p:cNvSpPr/>
          <p:nvPr userDrawn="1"/>
        </p:nvSpPr>
        <p:spPr>
          <a:xfrm>
            <a:off x="7896226" y="0"/>
            <a:ext cx="4295774" cy="6858000"/>
          </a:xfrm>
          <a:prstGeom prst="rect">
            <a:avLst/>
          </a:prstGeom>
          <a:solidFill>
            <a:srgbClr val="FAF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8" name="Text Placeholder 12">
            <a:extLst>
              <a:ext uri="{FF2B5EF4-FFF2-40B4-BE49-F238E27FC236}">
                <a16:creationId xmlns:a16="http://schemas.microsoft.com/office/drawing/2014/main" id="{3F44278E-E901-C1DE-92E4-ACA715734969}"/>
              </a:ext>
            </a:extLst>
          </p:cNvPr>
          <p:cNvSpPr>
            <a:spLocks noGrp="1"/>
          </p:cNvSpPr>
          <p:nvPr>
            <p:ph type="body" sz="quarter" idx="14"/>
          </p:nvPr>
        </p:nvSpPr>
        <p:spPr>
          <a:xfrm>
            <a:off x="550864"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9" name="Text Placeholder 12">
            <a:extLst>
              <a:ext uri="{FF2B5EF4-FFF2-40B4-BE49-F238E27FC236}">
                <a16:creationId xmlns:a16="http://schemas.microsoft.com/office/drawing/2014/main" id="{BF118552-E3C1-3540-F57A-9CA2F0C7D623}"/>
              </a:ext>
            </a:extLst>
          </p:cNvPr>
          <p:cNvSpPr>
            <a:spLocks noGrp="1"/>
          </p:cNvSpPr>
          <p:nvPr>
            <p:ph type="body" sz="quarter" idx="17"/>
          </p:nvPr>
        </p:nvSpPr>
        <p:spPr>
          <a:xfrm>
            <a:off x="4295151"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11" name="Text Placeholder 12">
            <a:extLst>
              <a:ext uri="{FF2B5EF4-FFF2-40B4-BE49-F238E27FC236}">
                <a16:creationId xmlns:a16="http://schemas.microsoft.com/office/drawing/2014/main" id="{A9CD24D4-DA21-58A6-D7F7-52F6BB2323FF}"/>
              </a:ext>
            </a:extLst>
          </p:cNvPr>
          <p:cNvSpPr>
            <a:spLocks noGrp="1"/>
          </p:cNvSpPr>
          <p:nvPr>
            <p:ph type="body" sz="quarter" idx="18"/>
          </p:nvPr>
        </p:nvSpPr>
        <p:spPr>
          <a:xfrm>
            <a:off x="8437136"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05431633"/>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2x Columns / Big Sta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3AC6818-4D80-7C27-6F3D-8D1DFA9EF1C8}"/>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040689" y="1"/>
            <a:ext cx="4151312" cy="6858000"/>
          </a:xfrm>
          <a:prstGeom prst="rect">
            <a:avLst/>
          </a:prstGeom>
        </p:spPr>
      </p:pic>
      <p:sp>
        <p:nvSpPr>
          <p:cNvPr id="11" name="Title 1">
            <a:extLst>
              <a:ext uri="{FF2B5EF4-FFF2-40B4-BE49-F238E27FC236}">
                <a16:creationId xmlns:a16="http://schemas.microsoft.com/office/drawing/2014/main" id="{5F4A0393-5E31-B1D7-44B4-0AE64D41191E}"/>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12" name="Text Placeholder 9">
            <a:extLst>
              <a:ext uri="{FF2B5EF4-FFF2-40B4-BE49-F238E27FC236}">
                <a16:creationId xmlns:a16="http://schemas.microsoft.com/office/drawing/2014/main" id="{3EF12EEA-B717-A2D4-DD8A-8AD5480E07F4}"/>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E85E9EA0-2A22-199D-48CF-03EB94ECF487}"/>
              </a:ext>
            </a:extLst>
          </p:cNvPr>
          <p:cNvSpPr>
            <a:spLocks noGrp="1"/>
          </p:cNvSpPr>
          <p:nvPr>
            <p:ph type="body" sz="quarter" idx="14"/>
          </p:nvPr>
        </p:nvSpPr>
        <p:spPr>
          <a:xfrm>
            <a:off x="550864" y="1808163"/>
            <a:ext cx="3204000" cy="4321175"/>
          </a:xfrm>
        </p:spPr>
        <p:txBody>
          <a:bodyPr/>
          <a:lstStyle/>
          <a:p>
            <a:pPr lvl="0"/>
            <a:r>
              <a:rPr lang="en-US"/>
              <a:t>Click to 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269DCDE0-20E2-91A9-6591-26711B40C6C3}"/>
              </a:ext>
            </a:extLst>
          </p:cNvPr>
          <p:cNvSpPr>
            <a:spLocks noGrp="1"/>
          </p:cNvSpPr>
          <p:nvPr>
            <p:ph type="body" sz="quarter" idx="15"/>
          </p:nvPr>
        </p:nvSpPr>
        <p:spPr>
          <a:xfrm>
            <a:off x="4295774" y="1808163"/>
            <a:ext cx="3204000" cy="4321175"/>
          </a:xfrm>
        </p:spPr>
        <p:txBody>
          <a:bodyPr/>
          <a:lstStyle/>
          <a:p>
            <a:pPr lvl="0"/>
            <a:r>
              <a:rPr lang="en-US"/>
              <a:t>Click to edit Master text styles</a:t>
            </a:r>
          </a:p>
          <a:p>
            <a:pPr lvl="1"/>
            <a:r>
              <a:rPr lang="en-US"/>
              <a:t>Second level</a:t>
            </a:r>
          </a:p>
          <a:p>
            <a:pPr lvl="2"/>
            <a:r>
              <a:rPr lang="en-US"/>
              <a:t>Third level</a:t>
            </a:r>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2168525"/>
            <a:ext cx="3024000" cy="1620837"/>
          </a:xfrm>
        </p:spPr>
        <p:txBody>
          <a:bodyPr anchor="b" anchorCtr="0"/>
          <a:lstStyle>
            <a:lvl1pPr marL="0" indent="0" algn="ctr">
              <a:buNone/>
              <a:defRPr sz="12000" spc="-300" baseline="0">
                <a:solidFill>
                  <a:schemeClr val="accent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0%</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3608388"/>
            <a:ext cx="3024000"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Tree>
    <p:extLst>
      <p:ext uri="{BB962C8B-B14F-4D97-AF65-F5344CB8AC3E}">
        <p14:creationId xmlns:p14="http://schemas.microsoft.com/office/powerpoint/2010/main" val="3442979358"/>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2:1 Light Image / Big Sta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1AA0871-DF4F-3D16-30B1-C25E0C64F490}"/>
              </a:ext>
              <a:ext uri="{C183D7F6-B498-43B3-948B-1728B52AA6E4}">
                <adec:decorative xmlns:adec="http://schemas.microsoft.com/office/drawing/2017/decorative" val="1"/>
              </a:ext>
            </a:extLst>
          </p:cNvPr>
          <p:cNvSpPr/>
          <p:nvPr userDrawn="1"/>
        </p:nvSpPr>
        <p:spPr>
          <a:xfrm>
            <a:off x="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Picture Placeholder 10">
            <a:extLst>
              <a:ext uri="{FF2B5EF4-FFF2-40B4-BE49-F238E27FC236}">
                <a16:creationId xmlns:a16="http://schemas.microsoft.com/office/drawing/2014/main" id="{C4F8A3DA-30FE-5FF7-E81A-BE170C9120D2}"/>
              </a:ext>
              <a:ext uri="{C183D7F6-B498-43B3-948B-1728B52AA6E4}">
                <adec:decorative xmlns:adec="http://schemas.microsoft.com/office/drawing/2017/decorative" val="1"/>
              </a:ext>
            </a:extLst>
          </p:cNvPr>
          <p:cNvSpPr>
            <a:spLocks noGrp="1"/>
          </p:cNvSpPr>
          <p:nvPr>
            <p:ph type="pic" sz="quarter" idx="20" hasCustomPrompt="1"/>
          </p:nvPr>
        </p:nvSpPr>
        <p:spPr>
          <a:xfrm>
            <a:off x="0" y="0"/>
            <a:ext cx="8040688" cy="6858000"/>
          </a:xfrm>
          <a:custGeom>
            <a:avLst/>
            <a:gdLst>
              <a:gd name="connsiteX0" fmla="*/ 1579559 w 8040688"/>
              <a:gd name="connsiteY0" fmla="*/ 6496532 h 6858000"/>
              <a:gd name="connsiteX1" fmla="*/ 1579559 w 8040688"/>
              <a:gd name="connsiteY1" fmla="*/ 6505105 h 6858000"/>
              <a:gd name="connsiteX2" fmla="*/ 1555747 w 8040688"/>
              <a:gd name="connsiteY2" fmla="*/ 6527013 h 6858000"/>
              <a:gd name="connsiteX3" fmla="*/ 1538602 w 8040688"/>
              <a:gd name="connsiteY3" fmla="*/ 6512725 h 6858000"/>
              <a:gd name="connsiteX4" fmla="*/ 1555747 w 8040688"/>
              <a:gd name="connsiteY4" fmla="*/ 6499390 h 6858000"/>
              <a:gd name="connsiteX5" fmla="*/ 1569082 w 8040688"/>
              <a:gd name="connsiteY5" fmla="*/ 6499390 h 6858000"/>
              <a:gd name="connsiteX6" fmla="*/ 1579559 w 8040688"/>
              <a:gd name="connsiteY6" fmla="*/ 6496532 h 6858000"/>
              <a:gd name="connsiteX7" fmla="*/ 1162365 w 8040688"/>
              <a:gd name="connsiteY7" fmla="*/ 6496532 h 6858000"/>
              <a:gd name="connsiteX8" fmla="*/ 1162365 w 8040688"/>
              <a:gd name="connsiteY8" fmla="*/ 6505105 h 6858000"/>
              <a:gd name="connsiteX9" fmla="*/ 1138553 w 8040688"/>
              <a:gd name="connsiteY9" fmla="*/ 6527013 h 6858000"/>
              <a:gd name="connsiteX10" fmla="*/ 1121408 w 8040688"/>
              <a:gd name="connsiteY10" fmla="*/ 6512725 h 6858000"/>
              <a:gd name="connsiteX11" fmla="*/ 1138553 w 8040688"/>
              <a:gd name="connsiteY11" fmla="*/ 6499390 h 6858000"/>
              <a:gd name="connsiteX12" fmla="*/ 1151888 w 8040688"/>
              <a:gd name="connsiteY12" fmla="*/ 6499390 h 6858000"/>
              <a:gd name="connsiteX13" fmla="*/ 1162365 w 8040688"/>
              <a:gd name="connsiteY13" fmla="*/ 6496532 h 6858000"/>
              <a:gd name="connsiteX14" fmla="*/ 736599 w 8040688"/>
              <a:gd name="connsiteY14" fmla="*/ 6455574 h 6858000"/>
              <a:gd name="connsiteX15" fmla="*/ 619442 w 8040688"/>
              <a:gd name="connsiteY15" fmla="*/ 6523203 h 6858000"/>
              <a:gd name="connsiteX16" fmla="*/ 632777 w 8040688"/>
              <a:gd name="connsiteY16" fmla="*/ 6552731 h 6858000"/>
              <a:gd name="connsiteX17" fmla="*/ 646112 w 8040688"/>
              <a:gd name="connsiteY17" fmla="*/ 6571781 h 6858000"/>
              <a:gd name="connsiteX18" fmla="*/ 765174 w 8040688"/>
              <a:gd name="connsiteY18" fmla="*/ 6503200 h 6858000"/>
              <a:gd name="connsiteX19" fmla="*/ 736599 w 8040688"/>
              <a:gd name="connsiteY19" fmla="*/ 6455574 h 6858000"/>
              <a:gd name="connsiteX20" fmla="*/ 1781490 w 8040688"/>
              <a:gd name="connsiteY20" fmla="*/ 6452716 h 6858000"/>
              <a:gd name="connsiteX21" fmla="*/ 1808160 w 8040688"/>
              <a:gd name="connsiteY21" fmla="*/ 6474624 h 6858000"/>
              <a:gd name="connsiteX22" fmla="*/ 1753867 w 8040688"/>
              <a:gd name="connsiteY22" fmla="*/ 6474624 h 6858000"/>
              <a:gd name="connsiteX23" fmla="*/ 1781490 w 8040688"/>
              <a:gd name="connsiteY23" fmla="*/ 6452716 h 6858000"/>
              <a:gd name="connsiteX24" fmla="*/ 1309050 w 8040688"/>
              <a:gd name="connsiteY24" fmla="*/ 6426999 h 6858000"/>
              <a:gd name="connsiteX25" fmla="*/ 1309050 w 8040688"/>
              <a:gd name="connsiteY25" fmla="*/ 6456526 h 6858000"/>
              <a:gd name="connsiteX26" fmla="*/ 1326195 w 8040688"/>
              <a:gd name="connsiteY26" fmla="*/ 6456526 h 6858000"/>
              <a:gd name="connsiteX27" fmla="*/ 1326195 w 8040688"/>
              <a:gd name="connsiteY27" fmla="*/ 6548920 h 6858000"/>
              <a:gd name="connsiteX28" fmla="*/ 1360485 w 8040688"/>
              <a:gd name="connsiteY28" fmla="*/ 6548920 h 6858000"/>
              <a:gd name="connsiteX29" fmla="*/ 1360485 w 8040688"/>
              <a:gd name="connsiteY29" fmla="*/ 6426999 h 6858000"/>
              <a:gd name="connsiteX30" fmla="*/ 1372868 w 8040688"/>
              <a:gd name="connsiteY30" fmla="*/ 6426998 h 6858000"/>
              <a:gd name="connsiteX31" fmla="*/ 1414778 w 8040688"/>
              <a:gd name="connsiteY31" fmla="*/ 6548920 h 6858000"/>
              <a:gd name="connsiteX32" fmla="*/ 1457640 w 8040688"/>
              <a:gd name="connsiteY32" fmla="*/ 6548920 h 6858000"/>
              <a:gd name="connsiteX33" fmla="*/ 1501455 w 8040688"/>
              <a:gd name="connsiteY33" fmla="*/ 6426998 h 6858000"/>
              <a:gd name="connsiteX34" fmla="*/ 1465260 w 8040688"/>
              <a:gd name="connsiteY34" fmla="*/ 6426998 h 6858000"/>
              <a:gd name="connsiteX35" fmla="*/ 1437638 w 8040688"/>
              <a:gd name="connsiteY35" fmla="*/ 6511772 h 6858000"/>
              <a:gd name="connsiteX36" fmla="*/ 1410015 w 8040688"/>
              <a:gd name="connsiteY36" fmla="*/ 6426998 h 6858000"/>
              <a:gd name="connsiteX37" fmla="*/ 1781490 w 8040688"/>
              <a:gd name="connsiteY37" fmla="*/ 6425093 h 6858000"/>
              <a:gd name="connsiteX38" fmla="*/ 1718625 w 8040688"/>
              <a:gd name="connsiteY38" fmla="*/ 6488912 h 6858000"/>
              <a:gd name="connsiteX39" fmla="*/ 1782442 w 8040688"/>
              <a:gd name="connsiteY39" fmla="*/ 6552730 h 6858000"/>
              <a:gd name="connsiteX40" fmla="*/ 1843402 w 8040688"/>
              <a:gd name="connsiteY40" fmla="*/ 6514629 h 6858000"/>
              <a:gd name="connsiteX41" fmla="*/ 1807207 w 8040688"/>
              <a:gd name="connsiteY41" fmla="*/ 6510819 h 6858000"/>
              <a:gd name="connsiteX42" fmla="*/ 1782442 w 8040688"/>
              <a:gd name="connsiteY42" fmla="*/ 6523202 h 6858000"/>
              <a:gd name="connsiteX43" fmla="*/ 1754820 w 8040688"/>
              <a:gd name="connsiteY43" fmla="*/ 6498437 h 6858000"/>
              <a:gd name="connsiteX44" fmla="*/ 1845307 w 8040688"/>
              <a:gd name="connsiteY44" fmla="*/ 6498437 h 6858000"/>
              <a:gd name="connsiteX45" fmla="*/ 1845307 w 8040688"/>
              <a:gd name="connsiteY45" fmla="*/ 6497484 h 6858000"/>
              <a:gd name="connsiteX46" fmla="*/ 1781490 w 8040688"/>
              <a:gd name="connsiteY46" fmla="*/ 6425093 h 6858000"/>
              <a:gd name="connsiteX47" fmla="*/ 1282380 w 8040688"/>
              <a:gd name="connsiteY47" fmla="*/ 6425093 h 6858000"/>
              <a:gd name="connsiteX48" fmla="*/ 1250947 w 8040688"/>
              <a:gd name="connsiteY48" fmla="*/ 6446048 h 6858000"/>
              <a:gd name="connsiteX49" fmla="*/ 1250947 w 8040688"/>
              <a:gd name="connsiteY49" fmla="*/ 6426998 h 6858000"/>
              <a:gd name="connsiteX50" fmla="*/ 1217610 w 8040688"/>
              <a:gd name="connsiteY50" fmla="*/ 6426998 h 6858000"/>
              <a:gd name="connsiteX51" fmla="*/ 1217610 w 8040688"/>
              <a:gd name="connsiteY51" fmla="*/ 6548920 h 6858000"/>
              <a:gd name="connsiteX52" fmla="*/ 1251900 w 8040688"/>
              <a:gd name="connsiteY52" fmla="*/ 6548920 h 6858000"/>
              <a:gd name="connsiteX53" fmla="*/ 1251900 w 8040688"/>
              <a:gd name="connsiteY53" fmla="*/ 6490817 h 6858000"/>
              <a:gd name="connsiteX54" fmla="*/ 1277617 w 8040688"/>
              <a:gd name="connsiteY54" fmla="*/ 6461289 h 6858000"/>
              <a:gd name="connsiteX55" fmla="*/ 1291905 w 8040688"/>
              <a:gd name="connsiteY55" fmla="*/ 6461289 h 6858000"/>
              <a:gd name="connsiteX56" fmla="*/ 1291905 w 8040688"/>
              <a:gd name="connsiteY56" fmla="*/ 6426046 h 6858000"/>
              <a:gd name="connsiteX57" fmla="*/ 1282380 w 8040688"/>
              <a:gd name="connsiteY57" fmla="*/ 6425093 h 6858000"/>
              <a:gd name="connsiteX58" fmla="*/ 1562414 w 8040688"/>
              <a:gd name="connsiteY58" fmla="*/ 6424141 h 6858000"/>
              <a:gd name="connsiteX59" fmla="*/ 1510027 w 8040688"/>
              <a:gd name="connsiteY59" fmla="*/ 6439381 h 6858000"/>
              <a:gd name="connsiteX60" fmla="*/ 1523362 w 8040688"/>
              <a:gd name="connsiteY60" fmla="*/ 6465099 h 6858000"/>
              <a:gd name="connsiteX61" fmla="*/ 1559557 w 8040688"/>
              <a:gd name="connsiteY61" fmla="*/ 6453669 h 6858000"/>
              <a:gd name="connsiteX62" fmla="*/ 1579559 w 8040688"/>
              <a:gd name="connsiteY62" fmla="*/ 6467957 h 6858000"/>
              <a:gd name="connsiteX63" fmla="*/ 1580512 w 8040688"/>
              <a:gd name="connsiteY63" fmla="*/ 6468909 h 6858000"/>
              <a:gd name="connsiteX64" fmla="*/ 1571939 w 8040688"/>
              <a:gd name="connsiteY64" fmla="*/ 6476529 h 6858000"/>
              <a:gd name="connsiteX65" fmla="*/ 1548127 w 8040688"/>
              <a:gd name="connsiteY65" fmla="*/ 6476529 h 6858000"/>
              <a:gd name="connsiteX66" fmla="*/ 1504312 w 8040688"/>
              <a:gd name="connsiteY66" fmla="*/ 6513677 h 6858000"/>
              <a:gd name="connsiteX67" fmla="*/ 1547174 w 8040688"/>
              <a:gd name="connsiteY67" fmla="*/ 6551778 h 6858000"/>
              <a:gd name="connsiteX68" fmla="*/ 1581464 w 8040688"/>
              <a:gd name="connsiteY68" fmla="*/ 6537490 h 6858000"/>
              <a:gd name="connsiteX69" fmla="*/ 1581464 w 8040688"/>
              <a:gd name="connsiteY69" fmla="*/ 6548920 h 6858000"/>
              <a:gd name="connsiteX70" fmla="*/ 1615754 w 8040688"/>
              <a:gd name="connsiteY70" fmla="*/ 6548920 h 6858000"/>
              <a:gd name="connsiteX71" fmla="*/ 1615754 w 8040688"/>
              <a:gd name="connsiteY71" fmla="*/ 6468909 h 6858000"/>
              <a:gd name="connsiteX72" fmla="*/ 1562414 w 8040688"/>
              <a:gd name="connsiteY72" fmla="*/ 6424141 h 6858000"/>
              <a:gd name="connsiteX73" fmla="*/ 1145220 w 8040688"/>
              <a:gd name="connsiteY73" fmla="*/ 6424141 h 6858000"/>
              <a:gd name="connsiteX74" fmla="*/ 1092833 w 8040688"/>
              <a:gd name="connsiteY74" fmla="*/ 6439381 h 6858000"/>
              <a:gd name="connsiteX75" fmla="*/ 1106168 w 8040688"/>
              <a:gd name="connsiteY75" fmla="*/ 6465099 h 6858000"/>
              <a:gd name="connsiteX76" fmla="*/ 1142363 w 8040688"/>
              <a:gd name="connsiteY76" fmla="*/ 6453669 h 6858000"/>
              <a:gd name="connsiteX77" fmla="*/ 1162365 w 8040688"/>
              <a:gd name="connsiteY77" fmla="*/ 6467957 h 6858000"/>
              <a:gd name="connsiteX78" fmla="*/ 1163318 w 8040688"/>
              <a:gd name="connsiteY78" fmla="*/ 6468909 h 6858000"/>
              <a:gd name="connsiteX79" fmla="*/ 1154745 w 8040688"/>
              <a:gd name="connsiteY79" fmla="*/ 6476529 h 6858000"/>
              <a:gd name="connsiteX80" fmla="*/ 1130933 w 8040688"/>
              <a:gd name="connsiteY80" fmla="*/ 6476529 h 6858000"/>
              <a:gd name="connsiteX81" fmla="*/ 1087118 w 8040688"/>
              <a:gd name="connsiteY81" fmla="*/ 6513677 h 6858000"/>
              <a:gd name="connsiteX82" fmla="*/ 1129980 w 8040688"/>
              <a:gd name="connsiteY82" fmla="*/ 6551778 h 6858000"/>
              <a:gd name="connsiteX83" fmla="*/ 1164270 w 8040688"/>
              <a:gd name="connsiteY83" fmla="*/ 6537490 h 6858000"/>
              <a:gd name="connsiteX84" fmla="*/ 1164270 w 8040688"/>
              <a:gd name="connsiteY84" fmla="*/ 6548920 h 6858000"/>
              <a:gd name="connsiteX85" fmla="*/ 1198560 w 8040688"/>
              <a:gd name="connsiteY85" fmla="*/ 6548920 h 6858000"/>
              <a:gd name="connsiteX86" fmla="*/ 1198560 w 8040688"/>
              <a:gd name="connsiteY86" fmla="*/ 6468909 h 6858000"/>
              <a:gd name="connsiteX87" fmla="*/ 1145220 w 8040688"/>
              <a:gd name="connsiteY87" fmla="*/ 6424141 h 6858000"/>
              <a:gd name="connsiteX88" fmla="*/ 587056 w 8040688"/>
              <a:gd name="connsiteY88" fmla="*/ 6386040 h 6858000"/>
              <a:gd name="connsiteX89" fmla="*/ 564196 w 8040688"/>
              <a:gd name="connsiteY89" fmla="*/ 6386993 h 6858000"/>
              <a:gd name="connsiteX90" fmla="*/ 564196 w 8040688"/>
              <a:gd name="connsiteY90" fmla="*/ 6524155 h 6858000"/>
              <a:gd name="connsiteX91" fmla="*/ 587056 w 8040688"/>
              <a:gd name="connsiteY91" fmla="*/ 6526060 h 6858000"/>
              <a:gd name="connsiteX92" fmla="*/ 619441 w 8040688"/>
              <a:gd name="connsiteY92" fmla="*/ 6523202 h 6858000"/>
              <a:gd name="connsiteX93" fmla="*/ 613726 w 8040688"/>
              <a:gd name="connsiteY93" fmla="*/ 6406043 h 6858000"/>
              <a:gd name="connsiteX94" fmla="*/ 619441 w 8040688"/>
              <a:gd name="connsiteY94" fmla="*/ 6388898 h 6858000"/>
              <a:gd name="connsiteX95" fmla="*/ 587056 w 8040688"/>
              <a:gd name="connsiteY95" fmla="*/ 6386040 h 6858000"/>
              <a:gd name="connsiteX96" fmla="*/ 1647187 w 8040688"/>
              <a:gd name="connsiteY96" fmla="*/ 6381278 h 6858000"/>
              <a:gd name="connsiteX97" fmla="*/ 1647187 w 8040688"/>
              <a:gd name="connsiteY97" fmla="*/ 6427951 h 6858000"/>
              <a:gd name="connsiteX98" fmla="*/ 1628137 w 8040688"/>
              <a:gd name="connsiteY98" fmla="*/ 6427951 h 6858000"/>
              <a:gd name="connsiteX99" fmla="*/ 1628137 w 8040688"/>
              <a:gd name="connsiteY99" fmla="*/ 6457479 h 6858000"/>
              <a:gd name="connsiteX100" fmla="*/ 1647187 w 8040688"/>
              <a:gd name="connsiteY100" fmla="*/ 6457479 h 6858000"/>
              <a:gd name="connsiteX101" fmla="*/ 1647187 w 8040688"/>
              <a:gd name="connsiteY101" fmla="*/ 6524155 h 6858000"/>
              <a:gd name="connsiteX102" fmla="*/ 1682429 w 8040688"/>
              <a:gd name="connsiteY102" fmla="*/ 6551778 h 6858000"/>
              <a:gd name="connsiteX103" fmla="*/ 1709099 w 8040688"/>
              <a:gd name="connsiteY103" fmla="*/ 6549873 h 6858000"/>
              <a:gd name="connsiteX104" fmla="*/ 1709099 w 8040688"/>
              <a:gd name="connsiteY104" fmla="*/ 6520345 h 6858000"/>
              <a:gd name="connsiteX105" fmla="*/ 1692907 w 8040688"/>
              <a:gd name="connsiteY105" fmla="*/ 6520345 h 6858000"/>
              <a:gd name="connsiteX106" fmla="*/ 1681477 w 8040688"/>
              <a:gd name="connsiteY106" fmla="*/ 6511772 h 6858000"/>
              <a:gd name="connsiteX107" fmla="*/ 1681477 w 8040688"/>
              <a:gd name="connsiteY107" fmla="*/ 6456526 h 6858000"/>
              <a:gd name="connsiteX108" fmla="*/ 1708147 w 8040688"/>
              <a:gd name="connsiteY108" fmla="*/ 6456526 h 6858000"/>
              <a:gd name="connsiteX109" fmla="*/ 1708147 w 8040688"/>
              <a:gd name="connsiteY109" fmla="*/ 6426998 h 6858000"/>
              <a:gd name="connsiteX110" fmla="*/ 1681477 w 8040688"/>
              <a:gd name="connsiteY110" fmla="*/ 6426998 h 6858000"/>
              <a:gd name="connsiteX111" fmla="*/ 1681477 w 8040688"/>
              <a:gd name="connsiteY111" fmla="*/ 6381278 h 6858000"/>
              <a:gd name="connsiteX112" fmla="*/ 1341435 w 8040688"/>
              <a:gd name="connsiteY112" fmla="*/ 6363180 h 6858000"/>
              <a:gd name="connsiteX113" fmla="*/ 1319527 w 8040688"/>
              <a:gd name="connsiteY113" fmla="*/ 6385088 h 6858000"/>
              <a:gd name="connsiteX114" fmla="*/ 1341435 w 8040688"/>
              <a:gd name="connsiteY114" fmla="*/ 6406996 h 6858000"/>
              <a:gd name="connsiteX115" fmla="*/ 1363342 w 8040688"/>
              <a:gd name="connsiteY115" fmla="*/ 6385088 h 6858000"/>
              <a:gd name="connsiteX116" fmla="*/ 1341435 w 8040688"/>
              <a:gd name="connsiteY116" fmla="*/ 6363180 h 6858000"/>
              <a:gd name="connsiteX117" fmla="*/ 1032826 w 8040688"/>
              <a:gd name="connsiteY117" fmla="*/ 6363180 h 6858000"/>
              <a:gd name="connsiteX118" fmla="*/ 1032826 w 8040688"/>
              <a:gd name="connsiteY118" fmla="*/ 6548920 h 6858000"/>
              <a:gd name="connsiteX119" fmla="*/ 1067116 w 8040688"/>
              <a:gd name="connsiteY119" fmla="*/ 6548920 h 6858000"/>
              <a:gd name="connsiteX120" fmla="*/ 1067116 w 8040688"/>
              <a:gd name="connsiteY120" fmla="*/ 6363180 h 6858000"/>
              <a:gd name="connsiteX121" fmla="*/ 922336 w 8040688"/>
              <a:gd name="connsiteY121" fmla="*/ 6359370 h 6858000"/>
              <a:gd name="connsiteX122" fmla="*/ 825181 w 8040688"/>
              <a:gd name="connsiteY122" fmla="*/ 6455574 h 6858000"/>
              <a:gd name="connsiteX123" fmla="*/ 922336 w 8040688"/>
              <a:gd name="connsiteY123" fmla="*/ 6551778 h 6858000"/>
              <a:gd name="connsiteX124" fmla="*/ 1013776 w 8040688"/>
              <a:gd name="connsiteY124" fmla="*/ 6482244 h 6858000"/>
              <a:gd name="connsiteX125" fmla="*/ 973771 w 8040688"/>
              <a:gd name="connsiteY125" fmla="*/ 6482244 h 6858000"/>
              <a:gd name="connsiteX126" fmla="*/ 923288 w 8040688"/>
              <a:gd name="connsiteY126" fmla="*/ 6517488 h 6858000"/>
              <a:gd name="connsiteX127" fmla="*/ 865186 w 8040688"/>
              <a:gd name="connsiteY127" fmla="*/ 6455574 h 6858000"/>
              <a:gd name="connsiteX128" fmla="*/ 923288 w 8040688"/>
              <a:gd name="connsiteY128" fmla="*/ 6393661 h 6858000"/>
              <a:gd name="connsiteX129" fmla="*/ 972818 w 8040688"/>
              <a:gd name="connsiteY129" fmla="*/ 6428904 h 6858000"/>
              <a:gd name="connsiteX130" fmla="*/ 1013776 w 8040688"/>
              <a:gd name="connsiteY130" fmla="*/ 6428904 h 6858000"/>
              <a:gd name="connsiteX131" fmla="*/ 922336 w 8040688"/>
              <a:gd name="connsiteY131" fmla="*/ 6359370 h 6858000"/>
              <a:gd name="connsiteX132" fmla="*/ 646112 w 8040688"/>
              <a:gd name="connsiteY132" fmla="*/ 6339367 h 6858000"/>
              <a:gd name="connsiteX133" fmla="*/ 619442 w 8040688"/>
              <a:gd name="connsiteY133" fmla="*/ 6387945 h 6858000"/>
              <a:gd name="connsiteX134" fmla="*/ 735647 w 8040688"/>
              <a:gd name="connsiteY134" fmla="*/ 6455574 h 6858000"/>
              <a:gd name="connsiteX135" fmla="*/ 764222 w 8040688"/>
              <a:gd name="connsiteY135" fmla="*/ 6407948 h 6858000"/>
              <a:gd name="connsiteX136" fmla="*/ 646112 w 8040688"/>
              <a:gd name="connsiteY136" fmla="*/ 6339367 h 6858000"/>
              <a:gd name="connsiteX137" fmla="*/ 0 w 8040688"/>
              <a:gd name="connsiteY137" fmla="*/ 0 h 6858000"/>
              <a:gd name="connsiteX138" fmla="*/ 8040688 w 8040688"/>
              <a:gd name="connsiteY138" fmla="*/ 0 h 6858000"/>
              <a:gd name="connsiteX139" fmla="*/ 8040688 w 8040688"/>
              <a:gd name="connsiteY139" fmla="*/ 6858000 h 6858000"/>
              <a:gd name="connsiteX140" fmla="*/ 0 w 8040688"/>
              <a:gd name="connsiteY14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8040688" h="6858000">
                <a:moveTo>
                  <a:pt x="1579559" y="6496532"/>
                </a:moveTo>
                <a:lnTo>
                  <a:pt x="1579559" y="6505105"/>
                </a:lnTo>
                <a:cubicBezTo>
                  <a:pt x="1579559" y="6520345"/>
                  <a:pt x="1566224" y="6527013"/>
                  <a:pt x="1555747" y="6527013"/>
                </a:cubicBezTo>
                <a:cubicBezTo>
                  <a:pt x="1545269" y="6527013"/>
                  <a:pt x="1538602" y="6521298"/>
                  <a:pt x="1538602" y="6512725"/>
                </a:cubicBezTo>
                <a:cubicBezTo>
                  <a:pt x="1538602" y="6504152"/>
                  <a:pt x="1545269" y="6499390"/>
                  <a:pt x="1555747" y="6499390"/>
                </a:cubicBezTo>
                <a:lnTo>
                  <a:pt x="1569082" y="6499390"/>
                </a:lnTo>
                <a:cubicBezTo>
                  <a:pt x="1573844" y="6499390"/>
                  <a:pt x="1577654" y="6498437"/>
                  <a:pt x="1579559" y="6496532"/>
                </a:cubicBezTo>
                <a:close/>
                <a:moveTo>
                  <a:pt x="1162365" y="6496532"/>
                </a:moveTo>
                <a:lnTo>
                  <a:pt x="1162365" y="6505105"/>
                </a:lnTo>
                <a:cubicBezTo>
                  <a:pt x="1162365" y="6520345"/>
                  <a:pt x="1149030" y="6527013"/>
                  <a:pt x="1138553" y="6527013"/>
                </a:cubicBezTo>
                <a:cubicBezTo>
                  <a:pt x="1128075" y="6527013"/>
                  <a:pt x="1121408" y="6521298"/>
                  <a:pt x="1121408" y="6512725"/>
                </a:cubicBezTo>
                <a:cubicBezTo>
                  <a:pt x="1121408" y="6504152"/>
                  <a:pt x="1128075" y="6499390"/>
                  <a:pt x="1138553" y="6499390"/>
                </a:cubicBezTo>
                <a:lnTo>
                  <a:pt x="1151888" y="6499390"/>
                </a:lnTo>
                <a:cubicBezTo>
                  <a:pt x="1156650" y="6499390"/>
                  <a:pt x="1160460" y="6498437"/>
                  <a:pt x="1162365" y="6496532"/>
                </a:cubicBezTo>
                <a:close/>
                <a:moveTo>
                  <a:pt x="736599" y="6455574"/>
                </a:moveTo>
                <a:cubicBezTo>
                  <a:pt x="707072" y="6490817"/>
                  <a:pt x="666114" y="6515582"/>
                  <a:pt x="619442" y="6523203"/>
                </a:cubicBezTo>
                <a:cubicBezTo>
                  <a:pt x="623252" y="6532728"/>
                  <a:pt x="628014" y="6543205"/>
                  <a:pt x="632777" y="6552731"/>
                </a:cubicBezTo>
                <a:cubicBezTo>
                  <a:pt x="636587" y="6559398"/>
                  <a:pt x="641349" y="6566066"/>
                  <a:pt x="646112" y="6571781"/>
                </a:cubicBezTo>
                <a:cubicBezTo>
                  <a:pt x="691832" y="6560351"/>
                  <a:pt x="732789" y="6536538"/>
                  <a:pt x="765174" y="6503200"/>
                </a:cubicBezTo>
                <a:cubicBezTo>
                  <a:pt x="757554" y="6486054"/>
                  <a:pt x="748029" y="6469862"/>
                  <a:pt x="736599" y="6455574"/>
                </a:cubicBezTo>
                <a:close/>
                <a:moveTo>
                  <a:pt x="1781490" y="6452716"/>
                </a:moveTo>
                <a:cubicBezTo>
                  <a:pt x="1795777" y="6452716"/>
                  <a:pt x="1806255" y="6462241"/>
                  <a:pt x="1808160" y="6474624"/>
                </a:cubicBezTo>
                <a:lnTo>
                  <a:pt x="1753867" y="6474624"/>
                </a:lnTo>
                <a:cubicBezTo>
                  <a:pt x="1756725" y="6461289"/>
                  <a:pt x="1767202" y="6452716"/>
                  <a:pt x="1781490" y="6452716"/>
                </a:cubicBezTo>
                <a:close/>
                <a:moveTo>
                  <a:pt x="1309050" y="6426999"/>
                </a:moveTo>
                <a:lnTo>
                  <a:pt x="1309050" y="6456526"/>
                </a:lnTo>
                <a:lnTo>
                  <a:pt x="1326195" y="6456526"/>
                </a:lnTo>
                <a:lnTo>
                  <a:pt x="1326195" y="6548920"/>
                </a:lnTo>
                <a:lnTo>
                  <a:pt x="1360485" y="6548920"/>
                </a:lnTo>
                <a:lnTo>
                  <a:pt x="1360485" y="6426999"/>
                </a:lnTo>
                <a:close/>
                <a:moveTo>
                  <a:pt x="1372868" y="6426998"/>
                </a:moveTo>
                <a:lnTo>
                  <a:pt x="1414778" y="6548920"/>
                </a:lnTo>
                <a:lnTo>
                  <a:pt x="1457640" y="6548920"/>
                </a:lnTo>
                <a:lnTo>
                  <a:pt x="1501455" y="6426998"/>
                </a:lnTo>
                <a:lnTo>
                  <a:pt x="1465260" y="6426998"/>
                </a:lnTo>
                <a:lnTo>
                  <a:pt x="1437638" y="6511772"/>
                </a:lnTo>
                <a:lnTo>
                  <a:pt x="1410015" y="6426998"/>
                </a:lnTo>
                <a:close/>
                <a:moveTo>
                  <a:pt x="1781490" y="6425093"/>
                </a:moveTo>
                <a:cubicBezTo>
                  <a:pt x="1745295" y="6425093"/>
                  <a:pt x="1718625" y="6451763"/>
                  <a:pt x="1718625" y="6488912"/>
                </a:cubicBezTo>
                <a:cubicBezTo>
                  <a:pt x="1718625" y="6526060"/>
                  <a:pt x="1754820" y="6552730"/>
                  <a:pt x="1782442" y="6552730"/>
                </a:cubicBezTo>
                <a:cubicBezTo>
                  <a:pt x="1810065" y="6552730"/>
                  <a:pt x="1832925" y="6540347"/>
                  <a:pt x="1843402" y="6514629"/>
                </a:cubicBezTo>
                <a:lnTo>
                  <a:pt x="1807207" y="6510819"/>
                </a:lnTo>
                <a:cubicBezTo>
                  <a:pt x="1802445" y="6518439"/>
                  <a:pt x="1797682" y="6523202"/>
                  <a:pt x="1782442" y="6523202"/>
                </a:cubicBezTo>
                <a:cubicBezTo>
                  <a:pt x="1767202" y="6523202"/>
                  <a:pt x="1756725" y="6511772"/>
                  <a:pt x="1754820" y="6498437"/>
                </a:cubicBezTo>
                <a:lnTo>
                  <a:pt x="1845307" y="6498437"/>
                </a:lnTo>
                <a:lnTo>
                  <a:pt x="1845307" y="6497484"/>
                </a:lnTo>
                <a:cubicBezTo>
                  <a:pt x="1845307" y="6447001"/>
                  <a:pt x="1817685" y="6425093"/>
                  <a:pt x="1781490" y="6425093"/>
                </a:cubicBezTo>
                <a:close/>
                <a:moveTo>
                  <a:pt x="1282380" y="6425093"/>
                </a:moveTo>
                <a:cubicBezTo>
                  <a:pt x="1267140" y="6425093"/>
                  <a:pt x="1255710" y="6432713"/>
                  <a:pt x="1250947" y="6446048"/>
                </a:cubicBezTo>
                <a:lnTo>
                  <a:pt x="1250947" y="6426998"/>
                </a:lnTo>
                <a:lnTo>
                  <a:pt x="1217610" y="6426998"/>
                </a:lnTo>
                <a:lnTo>
                  <a:pt x="1217610" y="6548920"/>
                </a:lnTo>
                <a:lnTo>
                  <a:pt x="1251900" y="6548920"/>
                </a:lnTo>
                <a:lnTo>
                  <a:pt x="1251900" y="6490817"/>
                </a:lnTo>
                <a:cubicBezTo>
                  <a:pt x="1251900" y="6469861"/>
                  <a:pt x="1260472" y="6461289"/>
                  <a:pt x="1277617" y="6461289"/>
                </a:cubicBezTo>
                <a:lnTo>
                  <a:pt x="1291905" y="6461289"/>
                </a:lnTo>
                <a:cubicBezTo>
                  <a:pt x="1291905" y="6461289"/>
                  <a:pt x="1291905" y="6426046"/>
                  <a:pt x="1291905" y="6426046"/>
                </a:cubicBezTo>
                <a:cubicBezTo>
                  <a:pt x="1289047" y="6425093"/>
                  <a:pt x="1297620" y="6425093"/>
                  <a:pt x="1282380" y="6425093"/>
                </a:cubicBezTo>
                <a:close/>
                <a:moveTo>
                  <a:pt x="1562414" y="6424141"/>
                </a:moveTo>
                <a:cubicBezTo>
                  <a:pt x="1532887" y="6424141"/>
                  <a:pt x="1510027" y="6439381"/>
                  <a:pt x="1510027" y="6439381"/>
                </a:cubicBezTo>
                <a:lnTo>
                  <a:pt x="1523362" y="6465099"/>
                </a:lnTo>
                <a:cubicBezTo>
                  <a:pt x="1531934" y="6459384"/>
                  <a:pt x="1546222" y="6453669"/>
                  <a:pt x="1559557" y="6453669"/>
                </a:cubicBezTo>
                <a:cubicBezTo>
                  <a:pt x="1572892" y="6453669"/>
                  <a:pt x="1579559" y="6459384"/>
                  <a:pt x="1579559" y="6467957"/>
                </a:cubicBezTo>
                <a:lnTo>
                  <a:pt x="1580512" y="6468909"/>
                </a:lnTo>
                <a:cubicBezTo>
                  <a:pt x="1580512" y="6473672"/>
                  <a:pt x="1577654" y="6476529"/>
                  <a:pt x="1571939" y="6476529"/>
                </a:cubicBezTo>
                <a:lnTo>
                  <a:pt x="1548127" y="6476529"/>
                </a:lnTo>
                <a:cubicBezTo>
                  <a:pt x="1521457" y="6476529"/>
                  <a:pt x="1504312" y="6493675"/>
                  <a:pt x="1504312" y="6513677"/>
                </a:cubicBezTo>
                <a:cubicBezTo>
                  <a:pt x="1504312" y="6533680"/>
                  <a:pt x="1521457" y="6551778"/>
                  <a:pt x="1547174" y="6551778"/>
                </a:cubicBezTo>
                <a:cubicBezTo>
                  <a:pt x="1561462" y="6551778"/>
                  <a:pt x="1574797" y="6547015"/>
                  <a:pt x="1581464" y="6537490"/>
                </a:cubicBezTo>
                <a:lnTo>
                  <a:pt x="1581464" y="6548920"/>
                </a:lnTo>
                <a:lnTo>
                  <a:pt x="1615754" y="6548920"/>
                </a:lnTo>
                <a:lnTo>
                  <a:pt x="1615754" y="6468909"/>
                </a:lnTo>
                <a:cubicBezTo>
                  <a:pt x="1615754" y="6436524"/>
                  <a:pt x="1591942" y="6424141"/>
                  <a:pt x="1562414" y="6424141"/>
                </a:cubicBezTo>
                <a:close/>
                <a:moveTo>
                  <a:pt x="1145220" y="6424141"/>
                </a:moveTo>
                <a:cubicBezTo>
                  <a:pt x="1115693" y="6424141"/>
                  <a:pt x="1092833" y="6439381"/>
                  <a:pt x="1092833" y="6439381"/>
                </a:cubicBezTo>
                <a:lnTo>
                  <a:pt x="1106168" y="6465099"/>
                </a:lnTo>
                <a:cubicBezTo>
                  <a:pt x="1114740" y="6459384"/>
                  <a:pt x="1129028" y="6453669"/>
                  <a:pt x="1142363" y="6453669"/>
                </a:cubicBezTo>
                <a:cubicBezTo>
                  <a:pt x="1155698" y="6453669"/>
                  <a:pt x="1162365" y="6459384"/>
                  <a:pt x="1162365" y="6467957"/>
                </a:cubicBezTo>
                <a:lnTo>
                  <a:pt x="1163318" y="6468909"/>
                </a:lnTo>
                <a:cubicBezTo>
                  <a:pt x="1163318" y="6473672"/>
                  <a:pt x="1160460" y="6476529"/>
                  <a:pt x="1154745" y="6476529"/>
                </a:cubicBezTo>
                <a:lnTo>
                  <a:pt x="1130933" y="6476529"/>
                </a:lnTo>
                <a:cubicBezTo>
                  <a:pt x="1104263" y="6476529"/>
                  <a:pt x="1087118" y="6493675"/>
                  <a:pt x="1087118" y="6513677"/>
                </a:cubicBezTo>
                <a:cubicBezTo>
                  <a:pt x="1087118" y="6533680"/>
                  <a:pt x="1104263" y="6551778"/>
                  <a:pt x="1129980" y="6551778"/>
                </a:cubicBezTo>
                <a:cubicBezTo>
                  <a:pt x="1144268" y="6551778"/>
                  <a:pt x="1157603" y="6547015"/>
                  <a:pt x="1164270" y="6537490"/>
                </a:cubicBezTo>
                <a:lnTo>
                  <a:pt x="1164270" y="6548920"/>
                </a:lnTo>
                <a:lnTo>
                  <a:pt x="1198560" y="6548920"/>
                </a:lnTo>
                <a:lnTo>
                  <a:pt x="1198560" y="6468909"/>
                </a:lnTo>
                <a:cubicBezTo>
                  <a:pt x="1198560" y="6436524"/>
                  <a:pt x="1174748" y="6424141"/>
                  <a:pt x="1145220" y="6424141"/>
                </a:cubicBezTo>
                <a:close/>
                <a:moveTo>
                  <a:pt x="587056" y="6386040"/>
                </a:moveTo>
                <a:cubicBezTo>
                  <a:pt x="575626" y="6386040"/>
                  <a:pt x="571816" y="6386040"/>
                  <a:pt x="564196" y="6386993"/>
                </a:cubicBezTo>
                <a:cubicBezTo>
                  <a:pt x="551814" y="6430808"/>
                  <a:pt x="550861" y="6478434"/>
                  <a:pt x="564196" y="6524155"/>
                </a:cubicBezTo>
                <a:cubicBezTo>
                  <a:pt x="571816" y="6524155"/>
                  <a:pt x="579436" y="6526060"/>
                  <a:pt x="587056" y="6526060"/>
                </a:cubicBezTo>
                <a:cubicBezTo>
                  <a:pt x="598486" y="6526060"/>
                  <a:pt x="608964" y="6525107"/>
                  <a:pt x="619441" y="6523202"/>
                </a:cubicBezTo>
                <a:cubicBezTo>
                  <a:pt x="605154" y="6486054"/>
                  <a:pt x="603249" y="6445096"/>
                  <a:pt x="613726" y="6406043"/>
                </a:cubicBezTo>
                <a:cubicBezTo>
                  <a:pt x="615631" y="6400328"/>
                  <a:pt x="617536" y="6394613"/>
                  <a:pt x="619441" y="6388898"/>
                </a:cubicBezTo>
                <a:cubicBezTo>
                  <a:pt x="608964" y="6386993"/>
                  <a:pt x="598486" y="6386040"/>
                  <a:pt x="587056" y="6386040"/>
                </a:cubicBezTo>
                <a:close/>
                <a:moveTo>
                  <a:pt x="1647187" y="6381278"/>
                </a:moveTo>
                <a:lnTo>
                  <a:pt x="1647187" y="6427951"/>
                </a:lnTo>
                <a:lnTo>
                  <a:pt x="1628137" y="6427951"/>
                </a:lnTo>
                <a:lnTo>
                  <a:pt x="1628137" y="6457479"/>
                </a:lnTo>
                <a:lnTo>
                  <a:pt x="1647187" y="6457479"/>
                </a:lnTo>
                <a:lnTo>
                  <a:pt x="1647187" y="6524155"/>
                </a:lnTo>
                <a:cubicBezTo>
                  <a:pt x="1647187" y="6548920"/>
                  <a:pt x="1665284" y="6551778"/>
                  <a:pt x="1682429" y="6551778"/>
                </a:cubicBezTo>
                <a:cubicBezTo>
                  <a:pt x="1691954" y="6551778"/>
                  <a:pt x="1709099" y="6549873"/>
                  <a:pt x="1709099" y="6549873"/>
                </a:cubicBezTo>
                <a:lnTo>
                  <a:pt x="1709099" y="6520345"/>
                </a:lnTo>
                <a:cubicBezTo>
                  <a:pt x="1709099" y="6520345"/>
                  <a:pt x="1701479" y="6520345"/>
                  <a:pt x="1692907" y="6520345"/>
                </a:cubicBezTo>
                <a:cubicBezTo>
                  <a:pt x="1687192" y="6520345"/>
                  <a:pt x="1681477" y="6519392"/>
                  <a:pt x="1681477" y="6511772"/>
                </a:cubicBezTo>
                <a:lnTo>
                  <a:pt x="1681477" y="6456526"/>
                </a:lnTo>
                <a:lnTo>
                  <a:pt x="1708147" y="6456526"/>
                </a:lnTo>
                <a:lnTo>
                  <a:pt x="1708147" y="6426998"/>
                </a:lnTo>
                <a:lnTo>
                  <a:pt x="1681477" y="6426998"/>
                </a:lnTo>
                <a:lnTo>
                  <a:pt x="1681477" y="6381278"/>
                </a:lnTo>
                <a:close/>
                <a:moveTo>
                  <a:pt x="1341435" y="6363180"/>
                </a:moveTo>
                <a:cubicBezTo>
                  <a:pt x="1329052" y="6363180"/>
                  <a:pt x="1319527" y="6372705"/>
                  <a:pt x="1319527" y="6385088"/>
                </a:cubicBezTo>
                <a:cubicBezTo>
                  <a:pt x="1319527" y="6397471"/>
                  <a:pt x="1329052" y="6406996"/>
                  <a:pt x="1341435" y="6406996"/>
                </a:cubicBezTo>
                <a:cubicBezTo>
                  <a:pt x="1353817" y="6406996"/>
                  <a:pt x="1363342" y="6396518"/>
                  <a:pt x="1363342" y="6385088"/>
                </a:cubicBezTo>
                <a:cubicBezTo>
                  <a:pt x="1363342" y="6373658"/>
                  <a:pt x="1353817" y="6363180"/>
                  <a:pt x="1341435" y="6363180"/>
                </a:cubicBezTo>
                <a:close/>
                <a:moveTo>
                  <a:pt x="1032826" y="6363180"/>
                </a:moveTo>
                <a:lnTo>
                  <a:pt x="1032826" y="6548920"/>
                </a:lnTo>
                <a:lnTo>
                  <a:pt x="1067116" y="6548920"/>
                </a:lnTo>
                <a:lnTo>
                  <a:pt x="1067116" y="6363180"/>
                </a:lnTo>
                <a:close/>
                <a:moveTo>
                  <a:pt x="922336" y="6359370"/>
                </a:moveTo>
                <a:cubicBezTo>
                  <a:pt x="867091" y="6359370"/>
                  <a:pt x="825181" y="6399376"/>
                  <a:pt x="825181" y="6455574"/>
                </a:cubicBezTo>
                <a:cubicBezTo>
                  <a:pt x="825181" y="6511772"/>
                  <a:pt x="880426" y="6551778"/>
                  <a:pt x="922336" y="6551778"/>
                </a:cubicBezTo>
                <a:cubicBezTo>
                  <a:pt x="964246" y="6551778"/>
                  <a:pt x="1003298" y="6526060"/>
                  <a:pt x="1013776" y="6482244"/>
                </a:cubicBezTo>
                <a:lnTo>
                  <a:pt x="973771" y="6482244"/>
                </a:lnTo>
                <a:cubicBezTo>
                  <a:pt x="967103" y="6504152"/>
                  <a:pt x="948053" y="6517488"/>
                  <a:pt x="923288" y="6517488"/>
                </a:cubicBezTo>
                <a:cubicBezTo>
                  <a:pt x="888046" y="6517488"/>
                  <a:pt x="865186" y="6490817"/>
                  <a:pt x="865186" y="6455574"/>
                </a:cubicBezTo>
                <a:cubicBezTo>
                  <a:pt x="865186" y="6420331"/>
                  <a:pt x="888046" y="6393661"/>
                  <a:pt x="923288" y="6393661"/>
                </a:cubicBezTo>
                <a:cubicBezTo>
                  <a:pt x="947101" y="6393661"/>
                  <a:pt x="966151" y="6406996"/>
                  <a:pt x="972818" y="6428904"/>
                </a:cubicBezTo>
                <a:lnTo>
                  <a:pt x="1013776" y="6428904"/>
                </a:lnTo>
                <a:cubicBezTo>
                  <a:pt x="1002346" y="6385088"/>
                  <a:pt x="977581" y="6359370"/>
                  <a:pt x="922336" y="6359370"/>
                </a:cubicBezTo>
                <a:close/>
                <a:moveTo>
                  <a:pt x="646112" y="6339367"/>
                </a:moveTo>
                <a:cubicBezTo>
                  <a:pt x="634682" y="6354607"/>
                  <a:pt x="626109" y="6370800"/>
                  <a:pt x="619442" y="6387945"/>
                </a:cubicBezTo>
                <a:cubicBezTo>
                  <a:pt x="666114" y="6395565"/>
                  <a:pt x="707072" y="6420331"/>
                  <a:pt x="735647" y="6455574"/>
                </a:cubicBezTo>
                <a:cubicBezTo>
                  <a:pt x="747077" y="6441286"/>
                  <a:pt x="757554" y="6425093"/>
                  <a:pt x="764222" y="6407948"/>
                </a:cubicBezTo>
                <a:cubicBezTo>
                  <a:pt x="732789" y="6375563"/>
                  <a:pt x="691832" y="6350797"/>
                  <a:pt x="646112" y="6339367"/>
                </a:cubicBezTo>
                <a:close/>
                <a:moveTo>
                  <a:pt x="0" y="0"/>
                </a:moveTo>
                <a:lnTo>
                  <a:pt x="8040688" y="0"/>
                </a:lnTo>
                <a:lnTo>
                  <a:pt x="8040688" y="6858000"/>
                </a:lnTo>
                <a:lnTo>
                  <a:pt x="0" y="6858000"/>
                </a:lnTo>
                <a:close/>
              </a:path>
            </a:pathLst>
          </a:custGeom>
          <a:solidFill>
            <a:schemeClr val="bg1">
              <a:lumMod val="95000"/>
            </a:schemeClr>
          </a:solidFill>
          <a:ln>
            <a:noFill/>
          </a:ln>
        </p:spPr>
        <p:txBody>
          <a:bodyPr wrap="square" tIns="180000" anchor="t" anchorCtr="0">
            <a:noAutofit/>
          </a:bodyPr>
          <a:lstStyle>
            <a:lvl1pPr marL="0" indent="0" algn="ctr">
              <a:buNone/>
              <a:defRPr sz="1000">
                <a:solidFill>
                  <a:schemeClr val="accent2"/>
                </a:solidFill>
                <a:latin typeface="+mn-lt"/>
              </a:defRPr>
            </a:lvl1pPr>
          </a:lstStyle>
          <a:p>
            <a:pPr lvl="0"/>
            <a:r>
              <a:rPr lang="en-US"/>
              <a:t>Drag picture file here or click </a:t>
            </a:r>
            <a:r>
              <a:rPr lang="en-GB" noProof="0"/>
              <a:t>center</a:t>
            </a:r>
            <a:r>
              <a:rPr lang="en-US"/>
              <a:t> icon to insert light image</a:t>
            </a:r>
          </a:p>
        </p:txBody>
      </p:sp>
      <p:pic>
        <p:nvPicPr>
          <p:cNvPr id="5" name="Picture 4">
            <a:extLst>
              <a:ext uri="{FF2B5EF4-FFF2-40B4-BE49-F238E27FC236}">
                <a16:creationId xmlns:a16="http://schemas.microsoft.com/office/drawing/2014/main" id="{F3AC6818-4D80-7C27-6F3D-8D1DFA9EF1C8}"/>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040689" y="1"/>
            <a:ext cx="4151312" cy="6858000"/>
          </a:xfrm>
          <a:prstGeom prst="rect">
            <a:avLst/>
          </a:prstGeom>
        </p:spPr>
      </p:pic>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2168525"/>
            <a:ext cx="3024000" cy="1620837"/>
          </a:xfrm>
        </p:spPr>
        <p:txBody>
          <a:bodyPr anchor="b" anchorCtr="0"/>
          <a:lstStyle>
            <a:lvl1pPr marL="0" indent="0" algn="ctr">
              <a:buNone/>
              <a:defRPr sz="12000" spc="-300" baseline="0">
                <a:solidFill>
                  <a:schemeClr val="accent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0%</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3608388"/>
            <a:ext cx="3024000"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Tree>
    <p:extLst>
      <p:ext uri="{BB962C8B-B14F-4D97-AF65-F5344CB8AC3E}">
        <p14:creationId xmlns:p14="http://schemas.microsoft.com/office/powerpoint/2010/main" val="2257204031"/>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ext / 2x Big Sta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7C9D9F7-ED91-D58F-4B8A-75E79F808FE3}"/>
              </a:ext>
              <a:ext uri="{C183D7F6-B498-43B3-948B-1728B52AA6E4}">
                <adec:decorative xmlns:adec="http://schemas.microsoft.com/office/drawing/2017/decorative" val="1"/>
              </a:ext>
            </a:extLst>
          </p:cNvPr>
          <p:cNvSpPr/>
          <p:nvPr userDrawn="1"/>
        </p:nvSpPr>
        <p:spPr>
          <a:xfrm rot="10800000">
            <a:off x="8040683" y="0"/>
            <a:ext cx="4151314" cy="3428999"/>
          </a:xfrm>
          <a:prstGeom prst="rect">
            <a:avLst/>
          </a:prstGeom>
          <a:gradFill>
            <a:gsLst>
              <a:gs pos="85000">
                <a:schemeClr val="accent1"/>
              </a:gs>
              <a:gs pos="15000">
                <a:schemeClr val="accent3"/>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a:extLst>
              <a:ext uri="{FF2B5EF4-FFF2-40B4-BE49-F238E27FC236}">
                <a16:creationId xmlns:a16="http://schemas.microsoft.com/office/drawing/2014/main" id="{0986F515-904D-A198-71ED-870E64DDB4CE}"/>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15951" r="15951"/>
          <a:stretch/>
        </p:blipFill>
        <p:spPr>
          <a:xfrm>
            <a:off x="8040689" y="3428999"/>
            <a:ext cx="4151312" cy="3429001"/>
          </a:xfrm>
          <a:prstGeom prst="rect">
            <a:avLst/>
          </a:prstGeom>
        </p:spPr>
      </p:pic>
      <p:sp>
        <p:nvSpPr>
          <p:cNvPr id="11" name="Title 1">
            <a:extLst>
              <a:ext uri="{FF2B5EF4-FFF2-40B4-BE49-F238E27FC236}">
                <a16:creationId xmlns:a16="http://schemas.microsoft.com/office/drawing/2014/main" id="{5F4A0393-5E31-B1D7-44B4-0AE64D41191E}"/>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12" name="Text Placeholder 9">
            <a:extLst>
              <a:ext uri="{FF2B5EF4-FFF2-40B4-BE49-F238E27FC236}">
                <a16:creationId xmlns:a16="http://schemas.microsoft.com/office/drawing/2014/main" id="{3EF12EEA-B717-A2D4-DD8A-8AD5480E07F4}"/>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2" name="Text Placeholder 12">
            <a:extLst>
              <a:ext uri="{FF2B5EF4-FFF2-40B4-BE49-F238E27FC236}">
                <a16:creationId xmlns:a16="http://schemas.microsoft.com/office/drawing/2014/main" id="{2C9B01AB-F676-3FF4-AEAE-E94065157406}"/>
              </a:ext>
            </a:extLst>
          </p:cNvPr>
          <p:cNvSpPr>
            <a:spLocks noGrp="1"/>
          </p:cNvSpPr>
          <p:nvPr>
            <p:ph type="body" sz="quarter" idx="14"/>
          </p:nvPr>
        </p:nvSpPr>
        <p:spPr>
          <a:xfrm>
            <a:off x="550861" y="1808163"/>
            <a:ext cx="6966375" cy="4321175"/>
          </a:xfrm>
        </p:spPr>
        <p:txBody>
          <a:bodyPr/>
          <a:lstStyle/>
          <a:p>
            <a:pPr lvl="0"/>
            <a:r>
              <a:rPr lang="en-US"/>
              <a:t>Click to edit Master text styles</a:t>
            </a:r>
          </a:p>
          <a:p>
            <a:pPr lvl="1"/>
            <a:r>
              <a:rPr lang="en-US"/>
              <a:t>Second level</a:t>
            </a:r>
          </a:p>
          <a:p>
            <a:pPr lvl="2"/>
            <a:r>
              <a:rPr lang="en-US"/>
              <a:t>Third level</a:t>
            </a:r>
          </a:p>
          <a:p>
            <a:pPr lvl="3"/>
            <a:endParaRPr lang="en-GB"/>
          </a:p>
        </p:txBody>
      </p:sp>
      <p:sp>
        <p:nvSpPr>
          <p:cNvPr id="14" name="Text Placeholder 12">
            <a:extLst>
              <a:ext uri="{FF2B5EF4-FFF2-40B4-BE49-F238E27FC236}">
                <a16:creationId xmlns:a16="http://schemas.microsoft.com/office/drawing/2014/main" id="{71A5382E-8AB3-355B-234A-708ABEDECE8B}"/>
              </a:ext>
            </a:extLst>
          </p:cNvPr>
          <p:cNvSpPr>
            <a:spLocks noGrp="1"/>
          </p:cNvSpPr>
          <p:nvPr>
            <p:ph type="body" sz="quarter" idx="22" hasCustomPrompt="1"/>
          </p:nvPr>
        </p:nvSpPr>
        <p:spPr>
          <a:xfrm>
            <a:off x="8615421" y="627124"/>
            <a:ext cx="3024000" cy="1620837"/>
          </a:xfrm>
        </p:spPr>
        <p:txBody>
          <a:bodyPr anchor="b" anchorCtr="0"/>
          <a:lstStyle>
            <a:lvl1pPr marL="0" indent="0" algn="ctr">
              <a:buNone/>
              <a:defRPr sz="12000" spc="-300" baseline="0">
                <a:solidFill>
                  <a:schemeClr val="tx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0%</a:t>
            </a:r>
          </a:p>
        </p:txBody>
      </p:sp>
      <p:sp>
        <p:nvSpPr>
          <p:cNvPr id="15" name="Text Placeholder 12">
            <a:extLst>
              <a:ext uri="{FF2B5EF4-FFF2-40B4-BE49-F238E27FC236}">
                <a16:creationId xmlns:a16="http://schemas.microsoft.com/office/drawing/2014/main" id="{911B869A-ED46-587C-E1E8-2D7DE72DA99A}"/>
              </a:ext>
            </a:extLst>
          </p:cNvPr>
          <p:cNvSpPr>
            <a:spLocks noGrp="1"/>
          </p:cNvSpPr>
          <p:nvPr>
            <p:ph type="body" sz="quarter" idx="23"/>
          </p:nvPr>
        </p:nvSpPr>
        <p:spPr>
          <a:xfrm>
            <a:off x="8615421" y="2066987"/>
            <a:ext cx="3024000" cy="781200"/>
          </a:xfrm>
        </p:spPr>
        <p:txBody>
          <a:bodyPr/>
          <a:lstStyle>
            <a:lvl1pPr marL="0" indent="0" algn="ctr">
              <a:buNone/>
              <a:defRPr sz="1800">
                <a:solidFill>
                  <a:schemeClr val="tx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7" name="Text Placeholder 12">
            <a:extLst>
              <a:ext uri="{FF2B5EF4-FFF2-40B4-BE49-F238E27FC236}">
                <a16:creationId xmlns:a16="http://schemas.microsoft.com/office/drawing/2014/main" id="{3177569F-28AA-9243-A576-B7391466851E}"/>
              </a:ext>
            </a:extLst>
          </p:cNvPr>
          <p:cNvSpPr>
            <a:spLocks noGrp="1"/>
          </p:cNvSpPr>
          <p:nvPr>
            <p:ph type="body" sz="quarter" idx="21" hasCustomPrompt="1"/>
          </p:nvPr>
        </p:nvSpPr>
        <p:spPr>
          <a:xfrm>
            <a:off x="8615421" y="3906838"/>
            <a:ext cx="3024000" cy="1620837"/>
          </a:xfrm>
        </p:spPr>
        <p:txBody>
          <a:bodyPr anchor="b" anchorCtr="0"/>
          <a:lstStyle>
            <a:lvl1pPr marL="0" indent="0" algn="ctr">
              <a:buNone/>
              <a:defRPr sz="12000" spc="-300" baseline="0">
                <a:solidFill>
                  <a:schemeClr val="accent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0%</a:t>
            </a:r>
          </a:p>
        </p:txBody>
      </p:sp>
      <p:sp>
        <p:nvSpPr>
          <p:cNvPr id="10" name="Text Placeholder 12">
            <a:extLst>
              <a:ext uri="{FF2B5EF4-FFF2-40B4-BE49-F238E27FC236}">
                <a16:creationId xmlns:a16="http://schemas.microsoft.com/office/drawing/2014/main" id="{B0ABFDE5-ACBC-EA3C-F170-8930EE49A99B}"/>
              </a:ext>
            </a:extLst>
          </p:cNvPr>
          <p:cNvSpPr>
            <a:spLocks noGrp="1"/>
          </p:cNvSpPr>
          <p:nvPr>
            <p:ph type="body" sz="quarter" idx="16"/>
          </p:nvPr>
        </p:nvSpPr>
        <p:spPr>
          <a:xfrm>
            <a:off x="8615421" y="5346701"/>
            <a:ext cx="3024000" cy="782637"/>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Tree>
    <p:extLst>
      <p:ext uri="{BB962C8B-B14F-4D97-AF65-F5344CB8AC3E}">
        <p14:creationId xmlns:p14="http://schemas.microsoft.com/office/powerpoint/2010/main" val="147320221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2x Columns / 2x Big Sta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E98E49A-5FC1-C240-F8BE-AC453CAF0766}"/>
              </a:ext>
              <a:ext uri="{C183D7F6-B498-43B3-948B-1728B52AA6E4}">
                <adec:decorative xmlns:adec="http://schemas.microsoft.com/office/drawing/2017/decorative" val="1"/>
              </a:ext>
            </a:extLst>
          </p:cNvPr>
          <p:cNvSpPr/>
          <p:nvPr userDrawn="1"/>
        </p:nvSpPr>
        <p:spPr>
          <a:xfrm rot="10800000">
            <a:off x="8040683" y="0"/>
            <a:ext cx="4151314" cy="3428999"/>
          </a:xfrm>
          <a:prstGeom prst="rect">
            <a:avLst/>
          </a:prstGeom>
          <a:gradFill>
            <a:gsLst>
              <a:gs pos="85000">
                <a:schemeClr val="accent1"/>
              </a:gs>
              <a:gs pos="15000">
                <a:schemeClr val="accent3"/>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5" name="Picture 14">
            <a:extLst>
              <a:ext uri="{FF2B5EF4-FFF2-40B4-BE49-F238E27FC236}">
                <a16:creationId xmlns:a16="http://schemas.microsoft.com/office/drawing/2014/main" id="{6EA90A8E-21EE-B1AB-3E54-90DA5E7A3E20}"/>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15951" r="15951"/>
          <a:stretch/>
        </p:blipFill>
        <p:spPr>
          <a:xfrm>
            <a:off x="8040689" y="3428999"/>
            <a:ext cx="4151312" cy="3429001"/>
          </a:xfrm>
          <a:prstGeom prst="rect">
            <a:avLst/>
          </a:prstGeom>
        </p:spPr>
      </p:pic>
      <p:sp>
        <p:nvSpPr>
          <p:cNvPr id="11" name="Title 1">
            <a:extLst>
              <a:ext uri="{FF2B5EF4-FFF2-40B4-BE49-F238E27FC236}">
                <a16:creationId xmlns:a16="http://schemas.microsoft.com/office/drawing/2014/main" id="{5F4A0393-5E31-B1D7-44B4-0AE64D41191E}"/>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12" name="Text Placeholder 9">
            <a:extLst>
              <a:ext uri="{FF2B5EF4-FFF2-40B4-BE49-F238E27FC236}">
                <a16:creationId xmlns:a16="http://schemas.microsoft.com/office/drawing/2014/main" id="{3EF12EEA-B717-A2D4-DD8A-8AD5480E07F4}"/>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E85E9EA0-2A22-199D-48CF-03EB94ECF487}"/>
              </a:ext>
            </a:extLst>
          </p:cNvPr>
          <p:cNvSpPr>
            <a:spLocks noGrp="1"/>
          </p:cNvSpPr>
          <p:nvPr>
            <p:ph type="body" sz="quarter" idx="14"/>
          </p:nvPr>
        </p:nvSpPr>
        <p:spPr>
          <a:xfrm>
            <a:off x="550864" y="1808163"/>
            <a:ext cx="3204000" cy="4321175"/>
          </a:xfrm>
        </p:spPr>
        <p:txBody>
          <a:bodyPr/>
          <a:lstStyle/>
          <a:p>
            <a:pPr lvl="0"/>
            <a:r>
              <a:rPr lang="en-US"/>
              <a:t>Click to 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269DCDE0-20E2-91A9-6591-26711B40C6C3}"/>
              </a:ext>
            </a:extLst>
          </p:cNvPr>
          <p:cNvSpPr>
            <a:spLocks noGrp="1"/>
          </p:cNvSpPr>
          <p:nvPr>
            <p:ph type="body" sz="quarter" idx="15"/>
          </p:nvPr>
        </p:nvSpPr>
        <p:spPr>
          <a:xfrm>
            <a:off x="4295774" y="1808163"/>
            <a:ext cx="3204000" cy="4321175"/>
          </a:xfrm>
        </p:spPr>
        <p:txBody>
          <a:bodyPr/>
          <a:lstStyle/>
          <a:p>
            <a:pPr lvl="0"/>
            <a:r>
              <a:rPr lang="en-US"/>
              <a:t>Click to edit Master text styles</a:t>
            </a:r>
          </a:p>
          <a:p>
            <a:pPr lvl="1"/>
            <a:r>
              <a:rPr lang="en-US"/>
              <a:t>Second level</a:t>
            </a:r>
          </a:p>
          <a:p>
            <a:pPr lvl="2"/>
            <a:r>
              <a:rPr lang="en-US"/>
              <a:t>Third level</a:t>
            </a:r>
          </a:p>
        </p:txBody>
      </p:sp>
      <p:sp>
        <p:nvSpPr>
          <p:cNvPr id="6" name="Text Placeholder 12">
            <a:extLst>
              <a:ext uri="{FF2B5EF4-FFF2-40B4-BE49-F238E27FC236}">
                <a16:creationId xmlns:a16="http://schemas.microsoft.com/office/drawing/2014/main" id="{1B23EB47-EA6A-4201-980F-A29FAC028C02}"/>
              </a:ext>
            </a:extLst>
          </p:cNvPr>
          <p:cNvSpPr>
            <a:spLocks noGrp="1"/>
          </p:cNvSpPr>
          <p:nvPr>
            <p:ph type="body" sz="quarter" idx="22" hasCustomPrompt="1"/>
          </p:nvPr>
        </p:nvSpPr>
        <p:spPr>
          <a:xfrm>
            <a:off x="8615421" y="627124"/>
            <a:ext cx="3024000" cy="1620837"/>
          </a:xfrm>
        </p:spPr>
        <p:txBody>
          <a:bodyPr anchor="b" anchorCtr="0"/>
          <a:lstStyle>
            <a:lvl1pPr marL="0" indent="0" algn="ctr">
              <a:buNone/>
              <a:defRPr sz="12000" spc="-300" baseline="0">
                <a:solidFill>
                  <a:schemeClr val="tx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0%</a:t>
            </a:r>
          </a:p>
        </p:txBody>
      </p:sp>
      <p:sp>
        <p:nvSpPr>
          <p:cNvPr id="7" name="Text Placeholder 12">
            <a:extLst>
              <a:ext uri="{FF2B5EF4-FFF2-40B4-BE49-F238E27FC236}">
                <a16:creationId xmlns:a16="http://schemas.microsoft.com/office/drawing/2014/main" id="{ADB540FA-D322-473E-8258-CEDC558D4B93}"/>
              </a:ext>
            </a:extLst>
          </p:cNvPr>
          <p:cNvSpPr>
            <a:spLocks noGrp="1"/>
          </p:cNvSpPr>
          <p:nvPr>
            <p:ph type="body" sz="quarter" idx="23"/>
          </p:nvPr>
        </p:nvSpPr>
        <p:spPr>
          <a:xfrm>
            <a:off x="8615421" y="2066987"/>
            <a:ext cx="3024000" cy="781200"/>
          </a:xfrm>
        </p:spPr>
        <p:txBody>
          <a:bodyPr/>
          <a:lstStyle>
            <a:lvl1pPr marL="0" indent="0" algn="ctr">
              <a:buNone/>
              <a:defRPr sz="1800">
                <a:solidFill>
                  <a:schemeClr val="tx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3906838"/>
            <a:ext cx="3024000" cy="1620837"/>
          </a:xfrm>
        </p:spPr>
        <p:txBody>
          <a:bodyPr anchor="b" anchorCtr="0"/>
          <a:lstStyle>
            <a:lvl1pPr marL="0" indent="0" algn="ctr">
              <a:buNone/>
              <a:defRPr sz="12000" spc="-300" baseline="0">
                <a:solidFill>
                  <a:schemeClr val="accent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0%</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5346701"/>
            <a:ext cx="3024000" cy="782637"/>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Tree>
    <p:extLst>
      <p:ext uri="{BB962C8B-B14F-4D97-AF65-F5344CB8AC3E}">
        <p14:creationId xmlns:p14="http://schemas.microsoft.com/office/powerpoint/2010/main" val="2693556166"/>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2:1 Light Image / 2x Big Sta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1AA0871-DF4F-3D16-30B1-C25E0C64F490}"/>
              </a:ext>
              <a:ext uri="{C183D7F6-B498-43B3-948B-1728B52AA6E4}">
                <adec:decorative xmlns:adec="http://schemas.microsoft.com/office/drawing/2017/decorative" val="1"/>
              </a:ext>
            </a:extLst>
          </p:cNvPr>
          <p:cNvSpPr/>
          <p:nvPr userDrawn="1"/>
        </p:nvSpPr>
        <p:spPr>
          <a:xfrm>
            <a:off x="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Picture Placeholder 13">
            <a:extLst>
              <a:ext uri="{FF2B5EF4-FFF2-40B4-BE49-F238E27FC236}">
                <a16:creationId xmlns:a16="http://schemas.microsoft.com/office/drawing/2014/main" id="{FEF45F75-B1CC-0822-712D-8D92F35698A9}"/>
              </a:ext>
              <a:ext uri="{C183D7F6-B498-43B3-948B-1728B52AA6E4}">
                <adec:decorative xmlns:adec="http://schemas.microsoft.com/office/drawing/2017/decorative" val="1"/>
              </a:ext>
            </a:extLst>
          </p:cNvPr>
          <p:cNvSpPr>
            <a:spLocks noGrp="1"/>
          </p:cNvSpPr>
          <p:nvPr>
            <p:ph type="pic" sz="quarter" idx="20" hasCustomPrompt="1"/>
          </p:nvPr>
        </p:nvSpPr>
        <p:spPr>
          <a:xfrm>
            <a:off x="0" y="0"/>
            <a:ext cx="8040688" cy="6858000"/>
          </a:xfrm>
          <a:custGeom>
            <a:avLst/>
            <a:gdLst>
              <a:gd name="connsiteX0" fmla="*/ 1579559 w 8040688"/>
              <a:gd name="connsiteY0" fmla="*/ 6496532 h 6858000"/>
              <a:gd name="connsiteX1" fmla="*/ 1579559 w 8040688"/>
              <a:gd name="connsiteY1" fmla="*/ 6505105 h 6858000"/>
              <a:gd name="connsiteX2" fmla="*/ 1555747 w 8040688"/>
              <a:gd name="connsiteY2" fmla="*/ 6527013 h 6858000"/>
              <a:gd name="connsiteX3" fmla="*/ 1538602 w 8040688"/>
              <a:gd name="connsiteY3" fmla="*/ 6512725 h 6858000"/>
              <a:gd name="connsiteX4" fmla="*/ 1555747 w 8040688"/>
              <a:gd name="connsiteY4" fmla="*/ 6499390 h 6858000"/>
              <a:gd name="connsiteX5" fmla="*/ 1569082 w 8040688"/>
              <a:gd name="connsiteY5" fmla="*/ 6499390 h 6858000"/>
              <a:gd name="connsiteX6" fmla="*/ 1579559 w 8040688"/>
              <a:gd name="connsiteY6" fmla="*/ 6496532 h 6858000"/>
              <a:gd name="connsiteX7" fmla="*/ 1162365 w 8040688"/>
              <a:gd name="connsiteY7" fmla="*/ 6496532 h 6858000"/>
              <a:gd name="connsiteX8" fmla="*/ 1162365 w 8040688"/>
              <a:gd name="connsiteY8" fmla="*/ 6505105 h 6858000"/>
              <a:gd name="connsiteX9" fmla="*/ 1138553 w 8040688"/>
              <a:gd name="connsiteY9" fmla="*/ 6527013 h 6858000"/>
              <a:gd name="connsiteX10" fmla="*/ 1121408 w 8040688"/>
              <a:gd name="connsiteY10" fmla="*/ 6512725 h 6858000"/>
              <a:gd name="connsiteX11" fmla="*/ 1138553 w 8040688"/>
              <a:gd name="connsiteY11" fmla="*/ 6499390 h 6858000"/>
              <a:gd name="connsiteX12" fmla="*/ 1151888 w 8040688"/>
              <a:gd name="connsiteY12" fmla="*/ 6499390 h 6858000"/>
              <a:gd name="connsiteX13" fmla="*/ 1162365 w 8040688"/>
              <a:gd name="connsiteY13" fmla="*/ 6496532 h 6858000"/>
              <a:gd name="connsiteX14" fmla="*/ 736599 w 8040688"/>
              <a:gd name="connsiteY14" fmla="*/ 6455574 h 6858000"/>
              <a:gd name="connsiteX15" fmla="*/ 619442 w 8040688"/>
              <a:gd name="connsiteY15" fmla="*/ 6523203 h 6858000"/>
              <a:gd name="connsiteX16" fmla="*/ 632777 w 8040688"/>
              <a:gd name="connsiteY16" fmla="*/ 6552731 h 6858000"/>
              <a:gd name="connsiteX17" fmla="*/ 646112 w 8040688"/>
              <a:gd name="connsiteY17" fmla="*/ 6571781 h 6858000"/>
              <a:gd name="connsiteX18" fmla="*/ 765174 w 8040688"/>
              <a:gd name="connsiteY18" fmla="*/ 6503200 h 6858000"/>
              <a:gd name="connsiteX19" fmla="*/ 736599 w 8040688"/>
              <a:gd name="connsiteY19" fmla="*/ 6455574 h 6858000"/>
              <a:gd name="connsiteX20" fmla="*/ 1781490 w 8040688"/>
              <a:gd name="connsiteY20" fmla="*/ 6452716 h 6858000"/>
              <a:gd name="connsiteX21" fmla="*/ 1808160 w 8040688"/>
              <a:gd name="connsiteY21" fmla="*/ 6474624 h 6858000"/>
              <a:gd name="connsiteX22" fmla="*/ 1753867 w 8040688"/>
              <a:gd name="connsiteY22" fmla="*/ 6474624 h 6858000"/>
              <a:gd name="connsiteX23" fmla="*/ 1781490 w 8040688"/>
              <a:gd name="connsiteY23" fmla="*/ 6452716 h 6858000"/>
              <a:gd name="connsiteX24" fmla="*/ 1309050 w 8040688"/>
              <a:gd name="connsiteY24" fmla="*/ 6426999 h 6858000"/>
              <a:gd name="connsiteX25" fmla="*/ 1309050 w 8040688"/>
              <a:gd name="connsiteY25" fmla="*/ 6456526 h 6858000"/>
              <a:gd name="connsiteX26" fmla="*/ 1326195 w 8040688"/>
              <a:gd name="connsiteY26" fmla="*/ 6456526 h 6858000"/>
              <a:gd name="connsiteX27" fmla="*/ 1326195 w 8040688"/>
              <a:gd name="connsiteY27" fmla="*/ 6548920 h 6858000"/>
              <a:gd name="connsiteX28" fmla="*/ 1360485 w 8040688"/>
              <a:gd name="connsiteY28" fmla="*/ 6548920 h 6858000"/>
              <a:gd name="connsiteX29" fmla="*/ 1360485 w 8040688"/>
              <a:gd name="connsiteY29" fmla="*/ 6426999 h 6858000"/>
              <a:gd name="connsiteX30" fmla="*/ 1372868 w 8040688"/>
              <a:gd name="connsiteY30" fmla="*/ 6426998 h 6858000"/>
              <a:gd name="connsiteX31" fmla="*/ 1414778 w 8040688"/>
              <a:gd name="connsiteY31" fmla="*/ 6548920 h 6858000"/>
              <a:gd name="connsiteX32" fmla="*/ 1457640 w 8040688"/>
              <a:gd name="connsiteY32" fmla="*/ 6548920 h 6858000"/>
              <a:gd name="connsiteX33" fmla="*/ 1501455 w 8040688"/>
              <a:gd name="connsiteY33" fmla="*/ 6426998 h 6858000"/>
              <a:gd name="connsiteX34" fmla="*/ 1465260 w 8040688"/>
              <a:gd name="connsiteY34" fmla="*/ 6426998 h 6858000"/>
              <a:gd name="connsiteX35" fmla="*/ 1437638 w 8040688"/>
              <a:gd name="connsiteY35" fmla="*/ 6511772 h 6858000"/>
              <a:gd name="connsiteX36" fmla="*/ 1410015 w 8040688"/>
              <a:gd name="connsiteY36" fmla="*/ 6426998 h 6858000"/>
              <a:gd name="connsiteX37" fmla="*/ 1781490 w 8040688"/>
              <a:gd name="connsiteY37" fmla="*/ 6425093 h 6858000"/>
              <a:gd name="connsiteX38" fmla="*/ 1718625 w 8040688"/>
              <a:gd name="connsiteY38" fmla="*/ 6488912 h 6858000"/>
              <a:gd name="connsiteX39" fmla="*/ 1782442 w 8040688"/>
              <a:gd name="connsiteY39" fmla="*/ 6552730 h 6858000"/>
              <a:gd name="connsiteX40" fmla="*/ 1843402 w 8040688"/>
              <a:gd name="connsiteY40" fmla="*/ 6514629 h 6858000"/>
              <a:gd name="connsiteX41" fmla="*/ 1807207 w 8040688"/>
              <a:gd name="connsiteY41" fmla="*/ 6510819 h 6858000"/>
              <a:gd name="connsiteX42" fmla="*/ 1782442 w 8040688"/>
              <a:gd name="connsiteY42" fmla="*/ 6523202 h 6858000"/>
              <a:gd name="connsiteX43" fmla="*/ 1754820 w 8040688"/>
              <a:gd name="connsiteY43" fmla="*/ 6498437 h 6858000"/>
              <a:gd name="connsiteX44" fmla="*/ 1845307 w 8040688"/>
              <a:gd name="connsiteY44" fmla="*/ 6498437 h 6858000"/>
              <a:gd name="connsiteX45" fmla="*/ 1845307 w 8040688"/>
              <a:gd name="connsiteY45" fmla="*/ 6497484 h 6858000"/>
              <a:gd name="connsiteX46" fmla="*/ 1781490 w 8040688"/>
              <a:gd name="connsiteY46" fmla="*/ 6425093 h 6858000"/>
              <a:gd name="connsiteX47" fmla="*/ 1282380 w 8040688"/>
              <a:gd name="connsiteY47" fmla="*/ 6425093 h 6858000"/>
              <a:gd name="connsiteX48" fmla="*/ 1250947 w 8040688"/>
              <a:gd name="connsiteY48" fmla="*/ 6446048 h 6858000"/>
              <a:gd name="connsiteX49" fmla="*/ 1250947 w 8040688"/>
              <a:gd name="connsiteY49" fmla="*/ 6426998 h 6858000"/>
              <a:gd name="connsiteX50" fmla="*/ 1217610 w 8040688"/>
              <a:gd name="connsiteY50" fmla="*/ 6426998 h 6858000"/>
              <a:gd name="connsiteX51" fmla="*/ 1217610 w 8040688"/>
              <a:gd name="connsiteY51" fmla="*/ 6548920 h 6858000"/>
              <a:gd name="connsiteX52" fmla="*/ 1251900 w 8040688"/>
              <a:gd name="connsiteY52" fmla="*/ 6548920 h 6858000"/>
              <a:gd name="connsiteX53" fmla="*/ 1251900 w 8040688"/>
              <a:gd name="connsiteY53" fmla="*/ 6490817 h 6858000"/>
              <a:gd name="connsiteX54" fmla="*/ 1277617 w 8040688"/>
              <a:gd name="connsiteY54" fmla="*/ 6461289 h 6858000"/>
              <a:gd name="connsiteX55" fmla="*/ 1291905 w 8040688"/>
              <a:gd name="connsiteY55" fmla="*/ 6461289 h 6858000"/>
              <a:gd name="connsiteX56" fmla="*/ 1291905 w 8040688"/>
              <a:gd name="connsiteY56" fmla="*/ 6426046 h 6858000"/>
              <a:gd name="connsiteX57" fmla="*/ 1282380 w 8040688"/>
              <a:gd name="connsiteY57" fmla="*/ 6425093 h 6858000"/>
              <a:gd name="connsiteX58" fmla="*/ 1562414 w 8040688"/>
              <a:gd name="connsiteY58" fmla="*/ 6424141 h 6858000"/>
              <a:gd name="connsiteX59" fmla="*/ 1510027 w 8040688"/>
              <a:gd name="connsiteY59" fmla="*/ 6439381 h 6858000"/>
              <a:gd name="connsiteX60" fmla="*/ 1523362 w 8040688"/>
              <a:gd name="connsiteY60" fmla="*/ 6465099 h 6858000"/>
              <a:gd name="connsiteX61" fmla="*/ 1559557 w 8040688"/>
              <a:gd name="connsiteY61" fmla="*/ 6453669 h 6858000"/>
              <a:gd name="connsiteX62" fmla="*/ 1579559 w 8040688"/>
              <a:gd name="connsiteY62" fmla="*/ 6467957 h 6858000"/>
              <a:gd name="connsiteX63" fmla="*/ 1580512 w 8040688"/>
              <a:gd name="connsiteY63" fmla="*/ 6468909 h 6858000"/>
              <a:gd name="connsiteX64" fmla="*/ 1571939 w 8040688"/>
              <a:gd name="connsiteY64" fmla="*/ 6476529 h 6858000"/>
              <a:gd name="connsiteX65" fmla="*/ 1548127 w 8040688"/>
              <a:gd name="connsiteY65" fmla="*/ 6476529 h 6858000"/>
              <a:gd name="connsiteX66" fmla="*/ 1504312 w 8040688"/>
              <a:gd name="connsiteY66" fmla="*/ 6513677 h 6858000"/>
              <a:gd name="connsiteX67" fmla="*/ 1547174 w 8040688"/>
              <a:gd name="connsiteY67" fmla="*/ 6551778 h 6858000"/>
              <a:gd name="connsiteX68" fmla="*/ 1581464 w 8040688"/>
              <a:gd name="connsiteY68" fmla="*/ 6537490 h 6858000"/>
              <a:gd name="connsiteX69" fmla="*/ 1581464 w 8040688"/>
              <a:gd name="connsiteY69" fmla="*/ 6548920 h 6858000"/>
              <a:gd name="connsiteX70" fmla="*/ 1615754 w 8040688"/>
              <a:gd name="connsiteY70" fmla="*/ 6548920 h 6858000"/>
              <a:gd name="connsiteX71" fmla="*/ 1615754 w 8040688"/>
              <a:gd name="connsiteY71" fmla="*/ 6468909 h 6858000"/>
              <a:gd name="connsiteX72" fmla="*/ 1562414 w 8040688"/>
              <a:gd name="connsiteY72" fmla="*/ 6424141 h 6858000"/>
              <a:gd name="connsiteX73" fmla="*/ 1145220 w 8040688"/>
              <a:gd name="connsiteY73" fmla="*/ 6424141 h 6858000"/>
              <a:gd name="connsiteX74" fmla="*/ 1092833 w 8040688"/>
              <a:gd name="connsiteY74" fmla="*/ 6439381 h 6858000"/>
              <a:gd name="connsiteX75" fmla="*/ 1106168 w 8040688"/>
              <a:gd name="connsiteY75" fmla="*/ 6465099 h 6858000"/>
              <a:gd name="connsiteX76" fmla="*/ 1142363 w 8040688"/>
              <a:gd name="connsiteY76" fmla="*/ 6453669 h 6858000"/>
              <a:gd name="connsiteX77" fmla="*/ 1162365 w 8040688"/>
              <a:gd name="connsiteY77" fmla="*/ 6467957 h 6858000"/>
              <a:gd name="connsiteX78" fmla="*/ 1163318 w 8040688"/>
              <a:gd name="connsiteY78" fmla="*/ 6468909 h 6858000"/>
              <a:gd name="connsiteX79" fmla="*/ 1154745 w 8040688"/>
              <a:gd name="connsiteY79" fmla="*/ 6476529 h 6858000"/>
              <a:gd name="connsiteX80" fmla="*/ 1130933 w 8040688"/>
              <a:gd name="connsiteY80" fmla="*/ 6476529 h 6858000"/>
              <a:gd name="connsiteX81" fmla="*/ 1087118 w 8040688"/>
              <a:gd name="connsiteY81" fmla="*/ 6513677 h 6858000"/>
              <a:gd name="connsiteX82" fmla="*/ 1129980 w 8040688"/>
              <a:gd name="connsiteY82" fmla="*/ 6551778 h 6858000"/>
              <a:gd name="connsiteX83" fmla="*/ 1164270 w 8040688"/>
              <a:gd name="connsiteY83" fmla="*/ 6537490 h 6858000"/>
              <a:gd name="connsiteX84" fmla="*/ 1164270 w 8040688"/>
              <a:gd name="connsiteY84" fmla="*/ 6548920 h 6858000"/>
              <a:gd name="connsiteX85" fmla="*/ 1198560 w 8040688"/>
              <a:gd name="connsiteY85" fmla="*/ 6548920 h 6858000"/>
              <a:gd name="connsiteX86" fmla="*/ 1198560 w 8040688"/>
              <a:gd name="connsiteY86" fmla="*/ 6468909 h 6858000"/>
              <a:gd name="connsiteX87" fmla="*/ 1145220 w 8040688"/>
              <a:gd name="connsiteY87" fmla="*/ 6424141 h 6858000"/>
              <a:gd name="connsiteX88" fmla="*/ 587056 w 8040688"/>
              <a:gd name="connsiteY88" fmla="*/ 6386040 h 6858000"/>
              <a:gd name="connsiteX89" fmla="*/ 564196 w 8040688"/>
              <a:gd name="connsiteY89" fmla="*/ 6386993 h 6858000"/>
              <a:gd name="connsiteX90" fmla="*/ 564196 w 8040688"/>
              <a:gd name="connsiteY90" fmla="*/ 6524155 h 6858000"/>
              <a:gd name="connsiteX91" fmla="*/ 587056 w 8040688"/>
              <a:gd name="connsiteY91" fmla="*/ 6526060 h 6858000"/>
              <a:gd name="connsiteX92" fmla="*/ 619441 w 8040688"/>
              <a:gd name="connsiteY92" fmla="*/ 6523202 h 6858000"/>
              <a:gd name="connsiteX93" fmla="*/ 613726 w 8040688"/>
              <a:gd name="connsiteY93" fmla="*/ 6406043 h 6858000"/>
              <a:gd name="connsiteX94" fmla="*/ 619441 w 8040688"/>
              <a:gd name="connsiteY94" fmla="*/ 6388898 h 6858000"/>
              <a:gd name="connsiteX95" fmla="*/ 587056 w 8040688"/>
              <a:gd name="connsiteY95" fmla="*/ 6386040 h 6858000"/>
              <a:gd name="connsiteX96" fmla="*/ 1647187 w 8040688"/>
              <a:gd name="connsiteY96" fmla="*/ 6381278 h 6858000"/>
              <a:gd name="connsiteX97" fmla="*/ 1647187 w 8040688"/>
              <a:gd name="connsiteY97" fmla="*/ 6427951 h 6858000"/>
              <a:gd name="connsiteX98" fmla="*/ 1628137 w 8040688"/>
              <a:gd name="connsiteY98" fmla="*/ 6427951 h 6858000"/>
              <a:gd name="connsiteX99" fmla="*/ 1628137 w 8040688"/>
              <a:gd name="connsiteY99" fmla="*/ 6457479 h 6858000"/>
              <a:gd name="connsiteX100" fmla="*/ 1647187 w 8040688"/>
              <a:gd name="connsiteY100" fmla="*/ 6457479 h 6858000"/>
              <a:gd name="connsiteX101" fmla="*/ 1647187 w 8040688"/>
              <a:gd name="connsiteY101" fmla="*/ 6524155 h 6858000"/>
              <a:gd name="connsiteX102" fmla="*/ 1682429 w 8040688"/>
              <a:gd name="connsiteY102" fmla="*/ 6551778 h 6858000"/>
              <a:gd name="connsiteX103" fmla="*/ 1709099 w 8040688"/>
              <a:gd name="connsiteY103" fmla="*/ 6549873 h 6858000"/>
              <a:gd name="connsiteX104" fmla="*/ 1709099 w 8040688"/>
              <a:gd name="connsiteY104" fmla="*/ 6520345 h 6858000"/>
              <a:gd name="connsiteX105" fmla="*/ 1692907 w 8040688"/>
              <a:gd name="connsiteY105" fmla="*/ 6520345 h 6858000"/>
              <a:gd name="connsiteX106" fmla="*/ 1681477 w 8040688"/>
              <a:gd name="connsiteY106" fmla="*/ 6511772 h 6858000"/>
              <a:gd name="connsiteX107" fmla="*/ 1681477 w 8040688"/>
              <a:gd name="connsiteY107" fmla="*/ 6456526 h 6858000"/>
              <a:gd name="connsiteX108" fmla="*/ 1708147 w 8040688"/>
              <a:gd name="connsiteY108" fmla="*/ 6456526 h 6858000"/>
              <a:gd name="connsiteX109" fmla="*/ 1708147 w 8040688"/>
              <a:gd name="connsiteY109" fmla="*/ 6426998 h 6858000"/>
              <a:gd name="connsiteX110" fmla="*/ 1681477 w 8040688"/>
              <a:gd name="connsiteY110" fmla="*/ 6426998 h 6858000"/>
              <a:gd name="connsiteX111" fmla="*/ 1681477 w 8040688"/>
              <a:gd name="connsiteY111" fmla="*/ 6381278 h 6858000"/>
              <a:gd name="connsiteX112" fmla="*/ 1341435 w 8040688"/>
              <a:gd name="connsiteY112" fmla="*/ 6363180 h 6858000"/>
              <a:gd name="connsiteX113" fmla="*/ 1319527 w 8040688"/>
              <a:gd name="connsiteY113" fmla="*/ 6385088 h 6858000"/>
              <a:gd name="connsiteX114" fmla="*/ 1341435 w 8040688"/>
              <a:gd name="connsiteY114" fmla="*/ 6406996 h 6858000"/>
              <a:gd name="connsiteX115" fmla="*/ 1363342 w 8040688"/>
              <a:gd name="connsiteY115" fmla="*/ 6385088 h 6858000"/>
              <a:gd name="connsiteX116" fmla="*/ 1341435 w 8040688"/>
              <a:gd name="connsiteY116" fmla="*/ 6363180 h 6858000"/>
              <a:gd name="connsiteX117" fmla="*/ 1032826 w 8040688"/>
              <a:gd name="connsiteY117" fmla="*/ 6363180 h 6858000"/>
              <a:gd name="connsiteX118" fmla="*/ 1032826 w 8040688"/>
              <a:gd name="connsiteY118" fmla="*/ 6548920 h 6858000"/>
              <a:gd name="connsiteX119" fmla="*/ 1067116 w 8040688"/>
              <a:gd name="connsiteY119" fmla="*/ 6548920 h 6858000"/>
              <a:gd name="connsiteX120" fmla="*/ 1067116 w 8040688"/>
              <a:gd name="connsiteY120" fmla="*/ 6363180 h 6858000"/>
              <a:gd name="connsiteX121" fmla="*/ 922336 w 8040688"/>
              <a:gd name="connsiteY121" fmla="*/ 6359370 h 6858000"/>
              <a:gd name="connsiteX122" fmla="*/ 825181 w 8040688"/>
              <a:gd name="connsiteY122" fmla="*/ 6455574 h 6858000"/>
              <a:gd name="connsiteX123" fmla="*/ 922336 w 8040688"/>
              <a:gd name="connsiteY123" fmla="*/ 6551778 h 6858000"/>
              <a:gd name="connsiteX124" fmla="*/ 1013776 w 8040688"/>
              <a:gd name="connsiteY124" fmla="*/ 6482244 h 6858000"/>
              <a:gd name="connsiteX125" fmla="*/ 973771 w 8040688"/>
              <a:gd name="connsiteY125" fmla="*/ 6482244 h 6858000"/>
              <a:gd name="connsiteX126" fmla="*/ 923288 w 8040688"/>
              <a:gd name="connsiteY126" fmla="*/ 6517488 h 6858000"/>
              <a:gd name="connsiteX127" fmla="*/ 865186 w 8040688"/>
              <a:gd name="connsiteY127" fmla="*/ 6455574 h 6858000"/>
              <a:gd name="connsiteX128" fmla="*/ 923288 w 8040688"/>
              <a:gd name="connsiteY128" fmla="*/ 6393661 h 6858000"/>
              <a:gd name="connsiteX129" fmla="*/ 972818 w 8040688"/>
              <a:gd name="connsiteY129" fmla="*/ 6428904 h 6858000"/>
              <a:gd name="connsiteX130" fmla="*/ 1013776 w 8040688"/>
              <a:gd name="connsiteY130" fmla="*/ 6428904 h 6858000"/>
              <a:gd name="connsiteX131" fmla="*/ 922336 w 8040688"/>
              <a:gd name="connsiteY131" fmla="*/ 6359370 h 6858000"/>
              <a:gd name="connsiteX132" fmla="*/ 646112 w 8040688"/>
              <a:gd name="connsiteY132" fmla="*/ 6339367 h 6858000"/>
              <a:gd name="connsiteX133" fmla="*/ 619442 w 8040688"/>
              <a:gd name="connsiteY133" fmla="*/ 6387945 h 6858000"/>
              <a:gd name="connsiteX134" fmla="*/ 735647 w 8040688"/>
              <a:gd name="connsiteY134" fmla="*/ 6455574 h 6858000"/>
              <a:gd name="connsiteX135" fmla="*/ 764222 w 8040688"/>
              <a:gd name="connsiteY135" fmla="*/ 6407948 h 6858000"/>
              <a:gd name="connsiteX136" fmla="*/ 646112 w 8040688"/>
              <a:gd name="connsiteY136" fmla="*/ 6339367 h 6858000"/>
              <a:gd name="connsiteX137" fmla="*/ 0 w 8040688"/>
              <a:gd name="connsiteY137" fmla="*/ 0 h 6858000"/>
              <a:gd name="connsiteX138" fmla="*/ 8040688 w 8040688"/>
              <a:gd name="connsiteY138" fmla="*/ 0 h 6858000"/>
              <a:gd name="connsiteX139" fmla="*/ 8040688 w 8040688"/>
              <a:gd name="connsiteY139" fmla="*/ 6858000 h 6858000"/>
              <a:gd name="connsiteX140" fmla="*/ 0 w 8040688"/>
              <a:gd name="connsiteY14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8040688" h="6858000">
                <a:moveTo>
                  <a:pt x="1579559" y="6496532"/>
                </a:moveTo>
                <a:lnTo>
                  <a:pt x="1579559" y="6505105"/>
                </a:lnTo>
                <a:cubicBezTo>
                  <a:pt x="1579559" y="6520345"/>
                  <a:pt x="1566224" y="6527013"/>
                  <a:pt x="1555747" y="6527013"/>
                </a:cubicBezTo>
                <a:cubicBezTo>
                  <a:pt x="1545269" y="6527013"/>
                  <a:pt x="1538602" y="6521298"/>
                  <a:pt x="1538602" y="6512725"/>
                </a:cubicBezTo>
                <a:cubicBezTo>
                  <a:pt x="1538602" y="6504152"/>
                  <a:pt x="1545269" y="6499390"/>
                  <a:pt x="1555747" y="6499390"/>
                </a:cubicBezTo>
                <a:lnTo>
                  <a:pt x="1569082" y="6499390"/>
                </a:lnTo>
                <a:cubicBezTo>
                  <a:pt x="1573844" y="6499390"/>
                  <a:pt x="1577654" y="6498437"/>
                  <a:pt x="1579559" y="6496532"/>
                </a:cubicBezTo>
                <a:close/>
                <a:moveTo>
                  <a:pt x="1162365" y="6496532"/>
                </a:moveTo>
                <a:lnTo>
                  <a:pt x="1162365" y="6505105"/>
                </a:lnTo>
                <a:cubicBezTo>
                  <a:pt x="1162365" y="6520345"/>
                  <a:pt x="1149030" y="6527013"/>
                  <a:pt x="1138553" y="6527013"/>
                </a:cubicBezTo>
                <a:cubicBezTo>
                  <a:pt x="1128075" y="6527013"/>
                  <a:pt x="1121408" y="6521298"/>
                  <a:pt x="1121408" y="6512725"/>
                </a:cubicBezTo>
                <a:cubicBezTo>
                  <a:pt x="1121408" y="6504152"/>
                  <a:pt x="1128075" y="6499390"/>
                  <a:pt x="1138553" y="6499390"/>
                </a:cubicBezTo>
                <a:lnTo>
                  <a:pt x="1151888" y="6499390"/>
                </a:lnTo>
                <a:cubicBezTo>
                  <a:pt x="1156650" y="6499390"/>
                  <a:pt x="1160460" y="6498437"/>
                  <a:pt x="1162365" y="6496532"/>
                </a:cubicBezTo>
                <a:close/>
                <a:moveTo>
                  <a:pt x="736599" y="6455574"/>
                </a:moveTo>
                <a:cubicBezTo>
                  <a:pt x="707072" y="6490817"/>
                  <a:pt x="666114" y="6515582"/>
                  <a:pt x="619442" y="6523203"/>
                </a:cubicBezTo>
                <a:cubicBezTo>
                  <a:pt x="623252" y="6532728"/>
                  <a:pt x="628014" y="6543205"/>
                  <a:pt x="632777" y="6552731"/>
                </a:cubicBezTo>
                <a:cubicBezTo>
                  <a:pt x="636587" y="6559398"/>
                  <a:pt x="641349" y="6566066"/>
                  <a:pt x="646112" y="6571781"/>
                </a:cubicBezTo>
                <a:cubicBezTo>
                  <a:pt x="691832" y="6560351"/>
                  <a:pt x="732789" y="6536538"/>
                  <a:pt x="765174" y="6503200"/>
                </a:cubicBezTo>
                <a:cubicBezTo>
                  <a:pt x="757554" y="6486054"/>
                  <a:pt x="748029" y="6469862"/>
                  <a:pt x="736599" y="6455574"/>
                </a:cubicBezTo>
                <a:close/>
                <a:moveTo>
                  <a:pt x="1781490" y="6452716"/>
                </a:moveTo>
                <a:cubicBezTo>
                  <a:pt x="1795777" y="6452716"/>
                  <a:pt x="1806255" y="6462241"/>
                  <a:pt x="1808160" y="6474624"/>
                </a:cubicBezTo>
                <a:lnTo>
                  <a:pt x="1753867" y="6474624"/>
                </a:lnTo>
                <a:cubicBezTo>
                  <a:pt x="1756725" y="6461289"/>
                  <a:pt x="1767202" y="6452716"/>
                  <a:pt x="1781490" y="6452716"/>
                </a:cubicBezTo>
                <a:close/>
                <a:moveTo>
                  <a:pt x="1309050" y="6426999"/>
                </a:moveTo>
                <a:lnTo>
                  <a:pt x="1309050" y="6456526"/>
                </a:lnTo>
                <a:lnTo>
                  <a:pt x="1326195" y="6456526"/>
                </a:lnTo>
                <a:lnTo>
                  <a:pt x="1326195" y="6548920"/>
                </a:lnTo>
                <a:lnTo>
                  <a:pt x="1360485" y="6548920"/>
                </a:lnTo>
                <a:lnTo>
                  <a:pt x="1360485" y="6426999"/>
                </a:lnTo>
                <a:close/>
                <a:moveTo>
                  <a:pt x="1372868" y="6426998"/>
                </a:moveTo>
                <a:lnTo>
                  <a:pt x="1414778" y="6548920"/>
                </a:lnTo>
                <a:lnTo>
                  <a:pt x="1457640" y="6548920"/>
                </a:lnTo>
                <a:lnTo>
                  <a:pt x="1501455" y="6426998"/>
                </a:lnTo>
                <a:lnTo>
                  <a:pt x="1465260" y="6426998"/>
                </a:lnTo>
                <a:lnTo>
                  <a:pt x="1437638" y="6511772"/>
                </a:lnTo>
                <a:lnTo>
                  <a:pt x="1410015" y="6426998"/>
                </a:lnTo>
                <a:close/>
                <a:moveTo>
                  <a:pt x="1781490" y="6425093"/>
                </a:moveTo>
                <a:cubicBezTo>
                  <a:pt x="1745295" y="6425093"/>
                  <a:pt x="1718625" y="6451763"/>
                  <a:pt x="1718625" y="6488912"/>
                </a:cubicBezTo>
                <a:cubicBezTo>
                  <a:pt x="1718625" y="6526060"/>
                  <a:pt x="1754820" y="6552730"/>
                  <a:pt x="1782442" y="6552730"/>
                </a:cubicBezTo>
                <a:cubicBezTo>
                  <a:pt x="1810065" y="6552730"/>
                  <a:pt x="1832925" y="6540347"/>
                  <a:pt x="1843402" y="6514629"/>
                </a:cubicBezTo>
                <a:lnTo>
                  <a:pt x="1807207" y="6510819"/>
                </a:lnTo>
                <a:cubicBezTo>
                  <a:pt x="1802445" y="6518439"/>
                  <a:pt x="1797682" y="6523202"/>
                  <a:pt x="1782442" y="6523202"/>
                </a:cubicBezTo>
                <a:cubicBezTo>
                  <a:pt x="1767202" y="6523202"/>
                  <a:pt x="1756725" y="6511772"/>
                  <a:pt x="1754820" y="6498437"/>
                </a:cubicBezTo>
                <a:lnTo>
                  <a:pt x="1845307" y="6498437"/>
                </a:lnTo>
                <a:lnTo>
                  <a:pt x="1845307" y="6497484"/>
                </a:lnTo>
                <a:cubicBezTo>
                  <a:pt x="1845307" y="6447001"/>
                  <a:pt x="1817685" y="6425093"/>
                  <a:pt x="1781490" y="6425093"/>
                </a:cubicBezTo>
                <a:close/>
                <a:moveTo>
                  <a:pt x="1282380" y="6425093"/>
                </a:moveTo>
                <a:cubicBezTo>
                  <a:pt x="1267140" y="6425093"/>
                  <a:pt x="1255710" y="6432713"/>
                  <a:pt x="1250947" y="6446048"/>
                </a:cubicBezTo>
                <a:lnTo>
                  <a:pt x="1250947" y="6426998"/>
                </a:lnTo>
                <a:lnTo>
                  <a:pt x="1217610" y="6426998"/>
                </a:lnTo>
                <a:lnTo>
                  <a:pt x="1217610" y="6548920"/>
                </a:lnTo>
                <a:lnTo>
                  <a:pt x="1251900" y="6548920"/>
                </a:lnTo>
                <a:lnTo>
                  <a:pt x="1251900" y="6490817"/>
                </a:lnTo>
                <a:cubicBezTo>
                  <a:pt x="1251900" y="6469861"/>
                  <a:pt x="1260472" y="6461289"/>
                  <a:pt x="1277617" y="6461289"/>
                </a:cubicBezTo>
                <a:lnTo>
                  <a:pt x="1291905" y="6461289"/>
                </a:lnTo>
                <a:cubicBezTo>
                  <a:pt x="1291905" y="6461289"/>
                  <a:pt x="1291905" y="6426046"/>
                  <a:pt x="1291905" y="6426046"/>
                </a:cubicBezTo>
                <a:cubicBezTo>
                  <a:pt x="1289047" y="6425093"/>
                  <a:pt x="1297620" y="6425093"/>
                  <a:pt x="1282380" y="6425093"/>
                </a:cubicBezTo>
                <a:close/>
                <a:moveTo>
                  <a:pt x="1562414" y="6424141"/>
                </a:moveTo>
                <a:cubicBezTo>
                  <a:pt x="1532887" y="6424141"/>
                  <a:pt x="1510027" y="6439381"/>
                  <a:pt x="1510027" y="6439381"/>
                </a:cubicBezTo>
                <a:lnTo>
                  <a:pt x="1523362" y="6465099"/>
                </a:lnTo>
                <a:cubicBezTo>
                  <a:pt x="1531934" y="6459384"/>
                  <a:pt x="1546222" y="6453669"/>
                  <a:pt x="1559557" y="6453669"/>
                </a:cubicBezTo>
                <a:cubicBezTo>
                  <a:pt x="1572892" y="6453669"/>
                  <a:pt x="1579559" y="6459384"/>
                  <a:pt x="1579559" y="6467957"/>
                </a:cubicBezTo>
                <a:lnTo>
                  <a:pt x="1580512" y="6468909"/>
                </a:lnTo>
                <a:cubicBezTo>
                  <a:pt x="1580512" y="6473672"/>
                  <a:pt x="1577654" y="6476529"/>
                  <a:pt x="1571939" y="6476529"/>
                </a:cubicBezTo>
                <a:lnTo>
                  <a:pt x="1548127" y="6476529"/>
                </a:lnTo>
                <a:cubicBezTo>
                  <a:pt x="1521457" y="6476529"/>
                  <a:pt x="1504312" y="6493675"/>
                  <a:pt x="1504312" y="6513677"/>
                </a:cubicBezTo>
                <a:cubicBezTo>
                  <a:pt x="1504312" y="6533680"/>
                  <a:pt x="1521457" y="6551778"/>
                  <a:pt x="1547174" y="6551778"/>
                </a:cubicBezTo>
                <a:cubicBezTo>
                  <a:pt x="1561462" y="6551778"/>
                  <a:pt x="1574797" y="6547015"/>
                  <a:pt x="1581464" y="6537490"/>
                </a:cubicBezTo>
                <a:lnTo>
                  <a:pt x="1581464" y="6548920"/>
                </a:lnTo>
                <a:lnTo>
                  <a:pt x="1615754" y="6548920"/>
                </a:lnTo>
                <a:lnTo>
                  <a:pt x="1615754" y="6468909"/>
                </a:lnTo>
                <a:cubicBezTo>
                  <a:pt x="1615754" y="6436524"/>
                  <a:pt x="1591942" y="6424141"/>
                  <a:pt x="1562414" y="6424141"/>
                </a:cubicBezTo>
                <a:close/>
                <a:moveTo>
                  <a:pt x="1145220" y="6424141"/>
                </a:moveTo>
                <a:cubicBezTo>
                  <a:pt x="1115693" y="6424141"/>
                  <a:pt x="1092833" y="6439381"/>
                  <a:pt x="1092833" y="6439381"/>
                </a:cubicBezTo>
                <a:lnTo>
                  <a:pt x="1106168" y="6465099"/>
                </a:lnTo>
                <a:cubicBezTo>
                  <a:pt x="1114740" y="6459384"/>
                  <a:pt x="1129028" y="6453669"/>
                  <a:pt x="1142363" y="6453669"/>
                </a:cubicBezTo>
                <a:cubicBezTo>
                  <a:pt x="1155698" y="6453669"/>
                  <a:pt x="1162365" y="6459384"/>
                  <a:pt x="1162365" y="6467957"/>
                </a:cubicBezTo>
                <a:lnTo>
                  <a:pt x="1163318" y="6468909"/>
                </a:lnTo>
                <a:cubicBezTo>
                  <a:pt x="1163318" y="6473672"/>
                  <a:pt x="1160460" y="6476529"/>
                  <a:pt x="1154745" y="6476529"/>
                </a:cubicBezTo>
                <a:lnTo>
                  <a:pt x="1130933" y="6476529"/>
                </a:lnTo>
                <a:cubicBezTo>
                  <a:pt x="1104263" y="6476529"/>
                  <a:pt x="1087118" y="6493675"/>
                  <a:pt x="1087118" y="6513677"/>
                </a:cubicBezTo>
                <a:cubicBezTo>
                  <a:pt x="1087118" y="6533680"/>
                  <a:pt x="1104263" y="6551778"/>
                  <a:pt x="1129980" y="6551778"/>
                </a:cubicBezTo>
                <a:cubicBezTo>
                  <a:pt x="1144268" y="6551778"/>
                  <a:pt x="1157603" y="6547015"/>
                  <a:pt x="1164270" y="6537490"/>
                </a:cubicBezTo>
                <a:lnTo>
                  <a:pt x="1164270" y="6548920"/>
                </a:lnTo>
                <a:lnTo>
                  <a:pt x="1198560" y="6548920"/>
                </a:lnTo>
                <a:lnTo>
                  <a:pt x="1198560" y="6468909"/>
                </a:lnTo>
                <a:cubicBezTo>
                  <a:pt x="1198560" y="6436524"/>
                  <a:pt x="1174748" y="6424141"/>
                  <a:pt x="1145220" y="6424141"/>
                </a:cubicBezTo>
                <a:close/>
                <a:moveTo>
                  <a:pt x="587056" y="6386040"/>
                </a:moveTo>
                <a:cubicBezTo>
                  <a:pt x="575626" y="6386040"/>
                  <a:pt x="571816" y="6386040"/>
                  <a:pt x="564196" y="6386993"/>
                </a:cubicBezTo>
                <a:cubicBezTo>
                  <a:pt x="551814" y="6430808"/>
                  <a:pt x="550861" y="6478434"/>
                  <a:pt x="564196" y="6524155"/>
                </a:cubicBezTo>
                <a:cubicBezTo>
                  <a:pt x="571816" y="6524155"/>
                  <a:pt x="579436" y="6526060"/>
                  <a:pt x="587056" y="6526060"/>
                </a:cubicBezTo>
                <a:cubicBezTo>
                  <a:pt x="598486" y="6526060"/>
                  <a:pt x="608964" y="6525107"/>
                  <a:pt x="619441" y="6523202"/>
                </a:cubicBezTo>
                <a:cubicBezTo>
                  <a:pt x="605154" y="6486054"/>
                  <a:pt x="603249" y="6445096"/>
                  <a:pt x="613726" y="6406043"/>
                </a:cubicBezTo>
                <a:cubicBezTo>
                  <a:pt x="615631" y="6400328"/>
                  <a:pt x="617536" y="6394613"/>
                  <a:pt x="619441" y="6388898"/>
                </a:cubicBezTo>
                <a:cubicBezTo>
                  <a:pt x="608964" y="6386993"/>
                  <a:pt x="598486" y="6386040"/>
                  <a:pt x="587056" y="6386040"/>
                </a:cubicBezTo>
                <a:close/>
                <a:moveTo>
                  <a:pt x="1647187" y="6381278"/>
                </a:moveTo>
                <a:lnTo>
                  <a:pt x="1647187" y="6427951"/>
                </a:lnTo>
                <a:lnTo>
                  <a:pt x="1628137" y="6427951"/>
                </a:lnTo>
                <a:lnTo>
                  <a:pt x="1628137" y="6457479"/>
                </a:lnTo>
                <a:lnTo>
                  <a:pt x="1647187" y="6457479"/>
                </a:lnTo>
                <a:lnTo>
                  <a:pt x="1647187" y="6524155"/>
                </a:lnTo>
                <a:cubicBezTo>
                  <a:pt x="1647187" y="6548920"/>
                  <a:pt x="1665284" y="6551778"/>
                  <a:pt x="1682429" y="6551778"/>
                </a:cubicBezTo>
                <a:cubicBezTo>
                  <a:pt x="1691954" y="6551778"/>
                  <a:pt x="1709099" y="6549873"/>
                  <a:pt x="1709099" y="6549873"/>
                </a:cubicBezTo>
                <a:lnTo>
                  <a:pt x="1709099" y="6520345"/>
                </a:lnTo>
                <a:cubicBezTo>
                  <a:pt x="1709099" y="6520345"/>
                  <a:pt x="1701479" y="6520345"/>
                  <a:pt x="1692907" y="6520345"/>
                </a:cubicBezTo>
                <a:cubicBezTo>
                  <a:pt x="1687192" y="6520345"/>
                  <a:pt x="1681477" y="6519392"/>
                  <a:pt x="1681477" y="6511772"/>
                </a:cubicBezTo>
                <a:lnTo>
                  <a:pt x="1681477" y="6456526"/>
                </a:lnTo>
                <a:lnTo>
                  <a:pt x="1708147" y="6456526"/>
                </a:lnTo>
                <a:lnTo>
                  <a:pt x="1708147" y="6426998"/>
                </a:lnTo>
                <a:lnTo>
                  <a:pt x="1681477" y="6426998"/>
                </a:lnTo>
                <a:lnTo>
                  <a:pt x="1681477" y="6381278"/>
                </a:lnTo>
                <a:close/>
                <a:moveTo>
                  <a:pt x="1341435" y="6363180"/>
                </a:moveTo>
                <a:cubicBezTo>
                  <a:pt x="1329052" y="6363180"/>
                  <a:pt x="1319527" y="6372705"/>
                  <a:pt x="1319527" y="6385088"/>
                </a:cubicBezTo>
                <a:cubicBezTo>
                  <a:pt x="1319527" y="6397471"/>
                  <a:pt x="1329052" y="6406996"/>
                  <a:pt x="1341435" y="6406996"/>
                </a:cubicBezTo>
                <a:cubicBezTo>
                  <a:pt x="1353817" y="6406996"/>
                  <a:pt x="1363342" y="6396518"/>
                  <a:pt x="1363342" y="6385088"/>
                </a:cubicBezTo>
                <a:cubicBezTo>
                  <a:pt x="1363342" y="6373658"/>
                  <a:pt x="1353817" y="6363180"/>
                  <a:pt x="1341435" y="6363180"/>
                </a:cubicBezTo>
                <a:close/>
                <a:moveTo>
                  <a:pt x="1032826" y="6363180"/>
                </a:moveTo>
                <a:lnTo>
                  <a:pt x="1032826" y="6548920"/>
                </a:lnTo>
                <a:lnTo>
                  <a:pt x="1067116" y="6548920"/>
                </a:lnTo>
                <a:lnTo>
                  <a:pt x="1067116" y="6363180"/>
                </a:lnTo>
                <a:close/>
                <a:moveTo>
                  <a:pt x="922336" y="6359370"/>
                </a:moveTo>
                <a:cubicBezTo>
                  <a:pt x="867091" y="6359370"/>
                  <a:pt x="825181" y="6399376"/>
                  <a:pt x="825181" y="6455574"/>
                </a:cubicBezTo>
                <a:cubicBezTo>
                  <a:pt x="825181" y="6511772"/>
                  <a:pt x="880426" y="6551778"/>
                  <a:pt x="922336" y="6551778"/>
                </a:cubicBezTo>
                <a:cubicBezTo>
                  <a:pt x="964246" y="6551778"/>
                  <a:pt x="1003298" y="6526060"/>
                  <a:pt x="1013776" y="6482244"/>
                </a:cubicBezTo>
                <a:lnTo>
                  <a:pt x="973771" y="6482244"/>
                </a:lnTo>
                <a:cubicBezTo>
                  <a:pt x="967103" y="6504152"/>
                  <a:pt x="948053" y="6517488"/>
                  <a:pt x="923288" y="6517488"/>
                </a:cubicBezTo>
                <a:cubicBezTo>
                  <a:pt x="888046" y="6517488"/>
                  <a:pt x="865186" y="6490817"/>
                  <a:pt x="865186" y="6455574"/>
                </a:cubicBezTo>
                <a:cubicBezTo>
                  <a:pt x="865186" y="6420331"/>
                  <a:pt x="888046" y="6393661"/>
                  <a:pt x="923288" y="6393661"/>
                </a:cubicBezTo>
                <a:cubicBezTo>
                  <a:pt x="947101" y="6393661"/>
                  <a:pt x="966151" y="6406996"/>
                  <a:pt x="972818" y="6428904"/>
                </a:cubicBezTo>
                <a:lnTo>
                  <a:pt x="1013776" y="6428904"/>
                </a:lnTo>
                <a:cubicBezTo>
                  <a:pt x="1002346" y="6385088"/>
                  <a:pt x="977581" y="6359370"/>
                  <a:pt x="922336" y="6359370"/>
                </a:cubicBezTo>
                <a:close/>
                <a:moveTo>
                  <a:pt x="646112" y="6339367"/>
                </a:moveTo>
                <a:cubicBezTo>
                  <a:pt x="634682" y="6354607"/>
                  <a:pt x="626109" y="6370800"/>
                  <a:pt x="619442" y="6387945"/>
                </a:cubicBezTo>
                <a:cubicBezTo>
                  <a:pt x="666114" y="6395565"/>
                  <a:pt x="707072" y="6420331"/>
                  <a:pt x="735647" y="6455574"/>
                </a:cubicBezTo>
                <a:cubicBezTo>
                  <a:pt x="747077" y="6441286"/>
                  <a:pt x="757554" y="6425093"/>
                  <a:pt x="764222" y="6407948"/>
                </a:cubicBezTo>
                <a:cubicBezTo>
                  <a:pt x="732789" y="6375563"/>
                  <a:pt x="691832" y="6350797"/>
                  <a:pt x="646112" y="6339367"/>
                </a:cubicBezTo>
                <a:close/>
                <a:moveTo>
                  <a:pt x="0" y="0"/>
                </a:moveTo>
                <a:lnTo>
                  <a:pt x="8040688" y="0"/>
                </a:lnTo>
                <a:lnTo>
                  <a:pt x="8040688" y="6858000"/>
                </a:lnTo>
                <a:lnTo>
                  <a:pt x="0" y="6858000"/>
                </a:lnTo>
                <a:close/>
              </a:path>
            </a:pathLst>
          </a:custGeom>
          <a:solidFill>
            <a:schemeClr val="bg1">
              <a:lumMod val="95000"/>
            </a:schemeClr>
          </a:solidFill>
          <a:ln>
            <a:noFill/>
          </a:ln>
        </p:spPr>
        <p:txBody>
          <a:bodyPr wrap="square" tIns="180000" anchor="t" anchorCtr="0">
            <a:noAutofit/>
          </a:bodyPr>
          <a:lstStyle>
            <a:lvl1pPr marL="0" indent="0" algn="ctr">
              <a:buNone/>
              <a:defRPr sz="1000">
                <a:solidFill>
                  <a:schemeClr val="accent2"/>
                </a:solidFill>
                <a:latin typeface="+mn-lt"/>
              </a:defRPr>
            </a:lvl1pPr>
          </a:lstStyle>
          <a:p>
            <a:pPr lvl="0"/>
            <a:r>
              <a:rPr lang="en-US"/>
              <a:t>Drag picture file here or click </a:t>
            </a:r>
            <a:r>
              <a:rPr lang="en-GB" noProof="0"/>
              <a:t>center</a:t>
            </a:r>
            <a:r>
              <a:rPr lang="en-US"/>
              <a:t> icon to insert light image</a:t>
            </a:r>
          </a:p>
        </p:txBody>
      </p:sp>
      <p:sp>
        <p:nvSpPr>
          <p:cNvPr id="6" name="Rectangle 5">
            <a:extLst>
              <a:ext uri="{FF2B5EF4-FFF2-40B4-BE49-F238E27FC236}">
                <a16:creationId xmlns:a16="http://schemas.microsoft.com/office/drawing/2014/main" id="{FADCDF42-4795-B9BB-A09E-30C7785EE34D}"/>
              </a:ext>
              <a:ext uri="{C183D7F6-B498-43B3-948B-1728B52AA6E4}">
                <adec:decorative xmlns:adec="http://schemas.microsoft.com/office/drawing/2017/decorative" val="1"/>
              </a:ext>
            </a:extLst>
          </p:cNvPr>
          <p:cNvSpPr/>
          <p:nvPr userDrawn="1"/>
        </p:nvSpPr>
        <p:spPr>
          <a:xfrm rot="10800000">
            <a:off x="8040683" y="0"/>
            <a:ext cx="4151314" cy="3428999"/>
          </a:xfrm>
          <a:prstGeom prst="rect">
            <a:avLst/>
          </a:prstGeom>
          <a:gradFill>
            <a:gsLst>
              <a:gs pos="85000">
                <a:schemeClr val="accent1"/>
              </a:gs>
              <a:gs pos="15000">
                <a:schemeClr val="accent3"/>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 name="Picture 7">
            <a:extLst>
              <a:ext uri="{FF2B5EF4-FFF2-40B4-BE49-F238E27FC236}">
                <a16:creationId xmlns:a16="http://schemas.microsoft.com/office/drawing/2014/main" id="{1FF2E5A3-55A9-35F4-3B8B-B4FDDD908EF8}"/>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15951" r="15951"/>
          <a:stretch/>
        </p:blipFill>
        <p:spPr>
          <a:xfrm>
            <a:off x="8040689" y="3428999"/>
            <a:ext cx="4151312" cy="3429001"/>
          </a:xfrm>
          <a:prstGeom prst="rect">
            <a:avLst/>
          </a:prstGeom>
        </p:spPr>
      </p:pic>
      <p:sp>
        <p:nvSpPr>
          <p:cNvPr id="12" name="Text Placeholder 12">
            <a:extLst>
              <a:ext uri="{FF2B5EF4-FFF2-40B4-BE49-F238E27FC236}">
                <a16:creationId xmlns:a16="http://schemas.microsoft.com/office/drawing/2014/main" id="{294BFB3D-8653-F8BB-E3B2-7D7BFC091DBB}"/>
              </a:ext>
            </a:extLst>
          </p:cNvPr>
          <p:cNvSpPr>
            <a:spLocks noGrp="1"/>
          </p:cNvSpPr>
          <p:nvPr>
            <p:ph type="body" sz="quarter" idx="22" hasCustomPrompt="1"/>
          </p:nvPr>
        </p:nvSpPr>
        <p:spPr>
          <a:xfrm>
            <a:off x="8615421" y="627124"/>
            <a:ext cx="3024000" cy="1620837"/>
          </a:xfrm>
        </p:spPr>
        <p:txBody>
          <a:bodyPr anchor="b" anchorCtr="0"/>
          <a:lstStyle>
            <a:lvl1pPr marL="0" indent="0" algn="ctr">
              <a:buNone/>
              <a:defRPr sz="12000" spc="-300" baseline="0">
                <a:solidFill>
                  <a:schemeClr val="tx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0%</a:t>
            </a:r>
          </a:p>
        </p:txBody>
      </p:sp>
      <p:sp>
        <p:nvSpPr>
          <p:cNvPr id="13" name="Text Placeholder 12">
            <a:extLst>
              <a:ext uri="{FF2B5EF4-FFF2-40B4-BE49-F238E27FC236}">
                <a16:creationId xmlns:a16="http://schemas.microsoft.com/office/drawing/2014/main" id="{2415A28B-D58E-716B-17B3-97619E7F95AB}"/>
              </a:ext>
            </a:extLst>
          </p:cNvPr>
          <p:cNvSpPr>
            <a:spLocks noGrp="1"/>
          </p:cNvSpPr>
          <p:nvPr>
            <p:ph type="body" sz="quarter" idx="23"/>
          </p:nvPr>
        </p:nvSpPr>
        <p:spPr>
          <a:xfrm>
            <a:off x="8615421" y="2066987"/>
            <a:ext cx="3024000" cy="781200"/>
          </a:xfrm>
        </p:spPr>
        <p:txBody>
          <a:bodyPr/>
          <a:lstStyle>
            <a:lvl1pPr marL="0" indent="0" algn="ctr">
              <a:buNone/>
              <a:defRPr sz="1800">
                <a:solidFill>
                  <a:schemeClr val="tx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7" name="Text Placeholder 12">
            <a:extLst>
              <a:ext uri="{FF2B5EF4-FFF2-40B4-BE49-F238E27FC236}">
                <a16:creationId xmlns:a16="http://schemas.microsoft.com/office/drawing/2014/main" id="{1C7CE8EE-CC8D-2E5F-9BEA-0C8DABDDFC8D}"/>
              </a:ext>
            </a:extLst>
          </p:cNvPr>
          <p:cNvSpPr>
            <a:spLocks noGrp="1"/>
          </p:cNvSpPr>
          <p:nvPr>
            <p:ph type="body" sz="quarter" idx="21" hasCustomPrompt="1"/>
          </p:nvPr>
        </p:nvSpPr>
        <p:spPr>
          <a:xfrm>
            <a:off x="8615421" y="3906838"/>
            <a:ext cx="3024000" cy="1620837"/>
          </a:xfrm>
        </p:spPr>
        <p:txBody>
          <a:bodyPr anchor="b" anchorCtr="0"/>
          <a:lstStyle>
            <a:lvl1pPr marL="0" indent="0" algn="ctr">
              <a:buNone/>
              <a:defRPr sz="12000" spc="-300" baseline="0">
                <a:solidFill>
                  <a:schemeClr val="accent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0%</a:t>
            </a:r>
          </a:p>
        </p:txBody>
      </p:sp>
      <p:sp>
        <p:nvSpPr>
          <p:cNvPr id="10" name="Text Placeholder 12">
            <a:extLst>
              <a:ext uri="{FF2B5EF4-FFF2-40B4-BE49-F238E27FC236}">
                <a16:creationId xmlns:a16="http://schemas.microsoft.com/office/drawing/2014/main" id="{8B54CE3D-7DB3-3908-6F56-2737E451B052}"/>
              </a:ext>
            </a:extLst>
          </p:cNvPr>
          <p:cNvSpPr>
            <a:spLocks noGrp="1"/>
          </p:cNvSpPr>
          <p:nvPr>
            <p:ph type="body" sz="quarter" idx="16"/>
          </p:nvPr>
        </p:nvSpPr>
        <p:spPr>
          <a:xfrm>
            <a:off x="8615421" y="5346701"/>
            <a:ext cx="3024000" cy="782637"/>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Tree>
    <p:extLst>
      <p:ext uri="{BB962C8B-B14F-4D97-AF65-F5344CB8AC3E}">
        <p14:creationId xmlns:p14="http://schemas.microsoft.com/office/powerpoint/2010/main" val="4128534134"/>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2:1 Text/Image">
    <p:spTree>
      <p:nvGrpSpPr>
        <p:cNvPr id="1" name=""/>
        <p:cNvGrpSpPr/>
        <p:nvPr/>
      </p:nvGrpSpPr>
      <p:grpSpPr>
        <a:xfrm>
          <a:off x="0" y="0"/>
          <a:ext cx="0" cy="0"/>
          <a:chOff x="0" y="0"/>
          <a:chExt cx="0" cy="0"/>
        </a:xfrm>
      </p:grpSpPr>
      <p:sp>
        <p:nvSpPr>
          <p:cNvPr id="6" name="Picture Placeholder 15">
            <a:extLst>
              <a:ext uri="{FF2B5EF4-FFF2-40B4-BE49-F238E27FC236}">
                <a16:creationId xmlns:a16="http://schemas.microsoft.com/office/drawing/2014/main" id="{911CF731-2F05-DD7D-AA0C-2C0C2EA9256F}"/>
              </a:ext>
              <a:ext uri="{C183D7F6-B498-43B3-948B-1728B52AA6E4}">
                <adec:decorative xmlns:adec="http://schemas.microsoft.com/office/drawing/2017/decorative" val="1"/>
              </a:ext>
            </a:extLst>
          </p:cNvPr>
          <p:cNvSpPr>
            <a:spLocks noGrp="1"/>
          </p:cNvSpPr>
          <p:nvPr>
            <p:ph type="pic" sz="quarter" idx="20" hasCustomPrompt="1"/>
          </p:nvPr>
        </p:nvSpPr>
        <p:spPr>
          <a:xfrm>
            <a:off x="8040687" y="0"/>
            <a:ext cx="4151314" cy="6858000"/>
          </a:xfrm>
          <a:solidFill>
            <a:schemeClr val="bg1">
              <a:lumMod val="95000"/>
            </a:schemeClr>
          </a:solidFill>
          <a:ln>
            <a:noFill/>
          </a:ln>
        </p:spPr>
        <p:txBody>
          <a:bodyPr tIns="108000" anchor="t" anchorCtr="0"/>
          <a:lstStyle>
            <a:lvl1pPr marL="0" indent="0" algn="ctr">
              <a:buNone/>
              <a:defRPr sz="1000">
                <a:solidFill>
                  <a:schemeClr val="accent2"/>
                </a:solidFill>
                <a:latin typeface="+mn-lt"/>
              </a:defRPr>
            </a:lvl1pPr>
          </a:lstStyle>
          <a:p>
            <a:pPr lvl="0"/>
            <a:r>
              <a:rPr lang="en-US"/>
              <a:t>Drag picture file here or click icon to insert top image</a:t>
            </a:r>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3" y="368828"/>
            <a:ext cx="6954797" cy="251885"/>
          </a:xfrm>
        </p:spPr>
        <p:txBody>
          <a:bodyPr/>
          <a:lstStyle>
            <a:lvl1pPr>
              <a:defRPr/>
            </a:lvl1pPr>
          </a:lstStyle>
          <a:p>
            <a:r>
              <a:rPr lang="en-US"/>
              <a:t>Header avenir demi 24pt</a:t>
            </a:r>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3" y="753852"/>
            <a:ext cx="695479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6954794" cy="4321175"/>
          </a:xfrm>
        </p:spPr>
        <p:txBody>
          <a:body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Tree>
    <p:extLst>
      <p:ext uri="{BB962C8B-B14F-4D97-AF65-F5344CB8AC3E}">
        <p14:creationId xmlns:p14="http://schemas.microsoft.com/office/powerpoint/2010/main" val="22827836"/>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50:50 Text/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3" y="368828"/>
            <a:ext cx="5076001" cy="251885"/>
          </a:xfrm>
        </p:spPr>
        <p:txBody>
          <a:bodyPr/>
          <a:lstStyle>
            <a:lvl1pPr>
              <a:defRPr/>
            </a:lvl1pPr>
          </a:lstStyle>
          <a:p>
            <a:r>
              <a:rPr lang="en-US"/>
              <a:t>Header avenir demi 24pt</a:t>
            </a:r>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3" y="753852"/>
            <a:ext cx="5076001"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5076000" cy="4321175"/>
          </a:xfrm>
        </p:spPr>
        <p:txBody>
          <a:bodyPr/>
          <a:lstStyle/>
          <a:p>
            <a:pPr lvl="0"/>
            <a:r>
              <a:rPr lang="en-US"/>
              <a:t>Click to edit Master text styles</a:t>
            </a:r>
          </a:p>
          <a:p>
            <a:pPr lvl="1"/>
            <a:r>
              <a:rPr lang="en-US"/>
              <a:t>Second level</a:t>
            </a:r>
          </a:p>
          <a:p>
            <a:pPr lvl="2"/>
            <a:r>
              <a:rPr lang="en-US"/>
              <a:t>Third level</a:t>
            </a:r>
          </a:p>
        </p:txBody>
      </p:sp>
      <p:sp>
        <p:nvSpPr>
          <p:cNvPr id="6" name="Picture Placeholder 15">
            <a:extLst>
              <a:ext uri="{FF2B5EF4-FFF2-40B4-BE49-F238E27FC236}">
                <a16:creationId xmlns:a16="http://schemas.microsoft.com/office/drawing/2014/main" id="{911CF731-2F05-DD7D-AA0C-2C0C2EA9256F}"/>
              </a:ext>
              <a:ext uri="{C183D7F6-B498-43B3-948B-1728B52AA6E4}">
                <adec:decorative xmlns:adec="http://schemas.microsoft.com/office/drawing/2017/decorative" val="1"/>
              </a:ext>
            </a:extLst>
          </p:cNvPr>
          <p:cNvSpPr>
            <a:spLocks noGrp="1"/>
          </p:cNvSpPr>
          <p:nvPr>
            <p:ph type="pic" sz="quarter" idx="20" hasCustomPrompt="1"/>
          </p:nvPr>
        </p:nvSpPr>
        <p:spPr>
          <a:xfrm>
            <a:off x="6096000" y="0"/>
            <a:ext cx="6096001" cy="6858000"/>
          </a:xfrm>
          <a:solidFill>
            <a:schemeClr val="bg1">
              <a:lumMod val="95000"/>
            </a:schemeClr>
          </a:solidFill>
          <a:ln>
            <a:noFill/>
          </a:ln>
        </p:spPr>
        <p:txBody>
          <a:bodyPr tIns="108000" anchor="t" anchorCtr="0"/>
          <a:lstStyle>
            <a:lvl1pPr marL="0" indent="0" algn="ctr">
              <a:buNone/>
              <a:defRPr sz="1000">
                <a:solidFill>
                  <a:schemeClr val="accent2"/>
                </a:solidFill>
                <a:latin typeface="+mn-lt"/>
              </a:defRPr>
            </a:lvl1pPr>
          </a:lstStyle>
          <a:p>
            <a:pPr lvl="0"/>
            <a:r>
              <a:rPr lang="en-US"/>
              <a:t>Drag picture file here or click icon to insert top image</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Tree>
    <p:extLst>
      <p:ext uri="{BB962C8B-B14F-4D97-AF65-F5344CB8AC3E}">
        <p14:creationId xmlns:p14="http://schemas.microsoft.com/office/powerpoint/2010/main" val="36261091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50:50 - 6x Icons Text/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3" y="368828"/>
            <a:ext cx="5076001" cy="251885"/>
          </a:xfrm>
        </p:spPr>
        <p:txBody>
          <a:bodyPr/>
          <a:lstStyle>
            <a:lvl1pPr>
              <a:defRPr/>
            </a:lvl1pPr>
          </a:lstStyle>
          <a:p>
            <a:r>
              <a:rPr lang="en-US"/>
              <a:t>Header avenir demi 24pt</a:t>
            </a:r>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3" y="753852"/>
            <a:ext cx="5076001"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5" name="Picture Placeholder 15">
            <a:extLst>
              <a:ext uri="{FF2B5EF4-FFF2-40B4-BE49-F238E27FC236}">
                <a16:creationId xmlns:a16="http://schemas.microsoft.com/office/drawing/2014/main" id="{19F5F05A-E26E-D735-DE2E-A8CB3F133941}"/>
              </a:ext>
              <a:ext uri="{C183D7F6-B498-43B3-948B-1728B52AA6E4}">
                <adec:decorative xmlns:adec="http://schemas.microsoft.com/office/drawing/2017/decorative" val="1"/>
              </a:ext>
            </a:extLst>
          </p:cNvPr>
          <p:cNvSpPr>
            <a:spLocks noGrp="1"/>
          </p:cNvSpPr>
          <p:nvPr>
            <p:ph type="pic" sz="quarter" idx="21" hasCustomPrompt="1"/>
          </p:nvPr>
        </p:nvSpPr>
        <p:spPr>
          <a:xfrm>
            <a:off x="551231" y="1815304"/>
            <a:ext cx="432000" cy="432000"/>
          </a:xfrm>
          <a:noFill/>
        </p:spPr>
        <p:txBody>
          <a:bodyPr anchor="ctr" anchorCtr="0"/>
          <a:lstStyle>
            <a:lvl1pPr marL="0" indent="0" algn="ctr">
              <a:spcBef>
                <a:spcPts val="0"/>
              </a:spcBef>
              <a:buNone/>
              <a:defRPr sz="1000">
                <a:solidFill>
                  <a:schemeClr val="accent2"/>
                </a:solidFill>
                <a:latin typeface="+mn-lt"/>
              </a:defRPr>
            </a:lvl1pPr>
          </a:lstStyle>
          <a:p>
            <a:pPr lvl="0"/>
            <a:r>
              <a:rPr lang="en-GB"/>
              <a:t>icon</a:t>
            </a:r>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1343025" y="1808162"/>
            <a:ext cx="4283839" cy="439142"/>
          </a:xfrm>
        </p:spPr>
        <p:txBody>
          <a:bodyPr anchor="ctr" anchorCtr="0"/>
          <a:lstStyle>
            <a:lvl1pPr>
              <a:defRPr/>
            </a:lvl1pPr>
          </a:lstStyle>
          <a:p>
            <a:pPr lvl="0"/>
            <a:r>
              <a:rPr lang="en-US"/>
              <a:t>Click to edit Master text styles</a:t>
            </a:r>
          </a:p>
        </p:txBody>
      </p:sp>
      <p:sp>
        <p:nvSpPr>
          <p:cNvPr id="9" name="Picture Placeholder 15">
            <a:extLst>
              <a:ext uri="{FF2B5EF4-FFF2-40B4-BE49-F238E27FC236}">
                <a16:creationId xmlns:a16="http://schemas.microsoft.com/office/drawing/2014/main" id="{B96A6EDC-6954-7A0D-52AF-14FED0F9A672}"/>
              </a:ext>
              <a:ext uri="{C183D7F6-B498-43B3-948B-1728B52AA6E4}">
                <adec:decorative xmlns:adec="http://schemas.microsoft.com/office/drawing/2017/decorative" val="1"/>
              </a:ext>
            </a:extLst>
          </p:cNvPr>
          <p:cNvSpPr>
            <a:spLocks noGrp="1"/>
          </p:cNvSpPr>
          <p:nvPr>
            <p:ph type="pic" sz="quarter" idx="23" hasCustomPrompt="1"/>
          </p:nvPr>
        </p:nvSpPr>
        <p:spPr>
          <a:xfrm>
            <a:off x="551231" y="2532854"/>
            <a:ext cx="432000" cy="432000"/>
          </a:xfrm>
          <a:noFill/>
        </p:spPr>
        <p:txBody>
          <a:bodyPr anchor="ctr" anchorCtr="0"/>
          <a:lstStyle>
            <a:lvl1pPr marL="0" indent="0" algn="ctr">
              <a:spcBef>
                <a:spcPts val="0"/>
              </a:spcBef>
              <a:buNone/>
              <a:defRPr sz="1000">
                <a:solidFill>
                  <a:schemeClr val="accent2"/>
                </a:solidFill>
                <a:latin typeface="+mn-lt"/>
              </a:defRPr>
            </a:lvl1pPr>
          </a:lstStyle>
          <a:p>
            <a:pPr lvl="0"/>
            <a:r>
              <a:rPr lang="en-GB"/>
              <a:t>icon</a:t>
            </a:r>
          </a:p>
        </p:txBody>
      </p:sp>
      <p:sp>
        <p:nvSpPr>
          <p:cNvPr id="8" name="Text Placeholder 12">
            <a:extLst>
              <a:ext uri="{FF2B5EF4-FFF2-40B4-BE49-F238E27FC236}">
                <a16:creationId xmlns:a16="http://schemas.microsoft.com/office/drawing/2014/main" id="{DA67A720-734C-2B92-0CA8-59D525029FC7}"/>
              </a:ext>
            </a:extLst>
          </p:cNvPr>
          <p:cNvSpPr>
            <a:spLocks noGrp="1"/>
          </p:cNvSpPr>
          <p:nvPr>
            <p:ph type="body" sz="quarter" idx="22"/>
          </p:nvPr>
        </p:nvSpPr>
        <p:spPr>
          <a:xfrm>
            <a:off x="1343025" y="2525712"/>
            <a:ext cx="4283839" cy="438929"/>
          </a:xfrm>
        </p:spPr>
        <p:txBody>
          <a:bodyPr anchor="ctr" anchorCtr="0"/>
          <a:lstStyle>
            <a:lvl1pPr>
              <a:defRPr/>
            </a:lvl1pPr>
          </a:lstStyle>
          <a:p>
            <a:pPr lvl="0"/>
            <a:r>
              <a:rPr lang="en-US"/>
              <a:t>Click to edit Master text styles</a:t>
            </a:r>
          </a:p>
        </p:txBody>
      </p:sp>
      <p:sp>
        <p:nvSpPr>
          <p:cNvPr id="12" name="Picture Placeholder 15">
            <a:extLst>
              <a:ext uri="{FF2B5EF4-FFF2-40B4-BE49-F238E27FC236}">
                <a16:creationId xmlns:a16="http://schemas.microsoft.com/office/drawing/2014/main" id="{0CEAB8BF-9110-618D-A8D5-EED4A7C1D2F1}"/>
              </a:ext>
              <a:ext uri="{C183D7F6-B498-43B3-948B-1728B52AA6E4}">
                <adec:decorative xmlns:adec="http://schemas.microsoft.com/office/drawing/2017/decorative" val="1"/>
              </a:ext>
            </a:extLst>
          </p:cNvPr>
          <p:cNvSpPr>
            <a:spLocks noGrp="1"/>
          </p:cNvSpPr>
          <p:nvPr>
            <p:ph type="pic" sz="quarter" idx="25" hasCustomPrompt="1"/>
          </p:nvPr>
        </p:nvSpPr>
        <p:spPr>
          <a:xfrm>
            <a:off x="551231" y="3263104"/>
            <a:ext cx="432000" cy="432000"/>
          </a:xfrm>
          <a:noFill/>
        </p:spPr>
        <p:txBody>
          <a:bodyPr anchor="ctr" anchorCtr="0"/>
          <a:lstStyle>
            <a:lvl1pPr marL="0" indent="0" algn="ctr">
              <a:spcBef>
                <a:spcPts val="0"/>
              </a:spcBef>
              <a:buNone/>
              <a:defRPr sz="1000">
                <a:solidFill>
                  <a:schemeClr val="accent2"/>
                </a:solidFill>
                <a:latin typeface="+mn-lt"/>
              </a:defRPr>
            </a:lvl1pPr>
          </a:lstStyle>
          <a:p>
            <a:pPr lvl="0"/>
            <a:r>
              <a:rPr lang="en-GB"/>
              <a:t>icon</a:t>
            </a:r>
          </a:p>
        </p:txBody>
      </p:sp>
      <p:sp>
        <p:nvSpPr>
          <p:cNvPr id="11" name="Text Placeholder 12">
            <a:extLst>
              <a:ext uri="{FF2B5EF4-FFF2-40B4-BE49-F238E27FC236}">
                <a16:creationId xmlns:a16="http://schemas.microsoft.com/office/drawing/2014/main" id="{039B214F-5488-B94D-C0F4-7C315CF9768C}"/>
              </a:ext>
            </a:extLst>
          </p:cNvPr>
          <p:cNvSpPr>
            <a:spLocks noGrp="1"/>
          </p:cNvSpPr>
          <p:nvPr>
            <p:ph type="body" sz="quarter" idx="24"/>
          </p:nvPr>
        </p:nvSpPr>
        <p:spPr>
          <a:xfrm>
            <a:off x="1343025" y="3255962"/>
            <a:ext cx="4283839" cy="438929"/>
          </a:xfrm>
        </p:spPr>
        <p:txBody>
          <a:bodyPr anchor="ctr" anchorCtr="0"/>
          <a:lstStyle>
            <a:lvl1pPr>
              <a:defRPr/>
            </a:lvl1pPr>
          </a:lstStyle>
          <a:p>
            <a:pPr lvl="0"/>
            <a:r>
              <a:rPr lang="en-US"/>
              <a:t>Click to edit Master text styles</a:t>
            </a:r>
          </a:p>
        </p:txBody>
      </p:sp>
      <p:sp>
        <p:nvSpPr>
          <p:cNvPr id="15" name="Picture Placeholder 15">
            <a:extLst>
              <a:ext uri="{FF2B5EF4-FFF2-40B4-BE49-F238E27FC236}">
                <a16:creationId xmlns:a16="http://schemas.microsoft.com/office/drawing/2014/main" id="{8A83B0FC-4056-C030-A859-FCB25E7D36DF}"/>
              </a:ext>
              <a:ext uri="{C183D7F6-B498-43B3-948B-1728B52AA6E4}">
                <adec:decorative xmlns:adec="http://schemas.microsoft.com/office/drawing/2017/decorative" val="1"/>
              </a:ext>
            </a:extLst>
          </p:cNvPr>
          <p:cNvSpPr>
            <a:spLocks noGrp="1"/>
          </p:cNvSpPr>
          <p:nvPr>
            <p:ph type="pic" sz="quarter" idx="27" hasCustomPrompt="1"/>
          </p:nvPr>
        </p:nvSpPr>
        <p:spPr>
          <a:xfrm>
            <a:off x="551231" y="4018754"/>
            <a:ext cx="432000" cy="432000"/>
          </a:xfrm>
          <a:noFill/>
        </p:spPr>
        <p:txBody>
          <a:bodyPr anchor="ctr" anchorCtr="0"/>
          <a:lstStyle>
            <a:lvl1pPr marL="0" indent="0" algn="ctr">
              <a:spcBef>
                <a:spcPts val="0"/>
              </a:spcBef>
              <a:buNone/>
              <a:defRPr sz="1000">
                <a:solidFill>
                  <a:schemeClr val="accent2"/>
                </a:solidFill>
                <a:latin typeface="+mn-lt"/>
              </a:defRPr>
            </a:lvl1pPr>
          </a:lstStyle>
          <a:p>
            <a:pPr lvl="0"/>
            <a:r>
              <a:rPr lang="en-GB"/>
              <a:t>icon</a:t>
            </a:r>
          </a:p>
        </p:txBody>
      </p:sp>
      <p:sp>
        <p:nvSpPr>
          <p:cNvPr id="14" name="Text Placeholder 12">
            <a:extLst>
              <a:ext uri="{FF2B5EF4-FFF2-40B4-BE49-F238E27FC236}">
                <a16:creationId xmlns:a16="http://schemas.microsoft.com/office/drawing/2014/main" id="{023EB7C1-8B92-179C-F19B-7F4FA8CC3981}"/>
              </a:ext>
            </a:extLst>
          </p:cNvPr>
          <p:cNvSpPr>
            <a:spLocks noGrp="1"/>
          </p:cNvSpPr>
          <p:nvPr>
            <p:ph type="body" sz="quarter" idx="26"/>
          </p:nvPr>
        </p:nvSpPr>
        <p:spPr>
          <a:xfrm>
            <a:off x="1343025" y="4011612"/>
            <a:ext cx="4283839" cy="438929"/>
          </a:xfrm>
        </p:spPr>
        <p:txBody>
          <a:bodyPr anchor="ctr" anchorCtr="0"/>
          <a:lstStyle>
            <a:lvl1pPr>
              <a:defRPr/>
            </a:lvl1pPr>
          </a:lstStyle>
          <a:p>
            <a:pPr lvl="0"/>
            <a:r>
              <a:rPr lang="en-US"/>
              <a:t>Click to edit Master text styles</a:t>
            </a:r>
          </a:p>
        </p:txBody>
      </p:sp>
      <p:sp>
        <p:nvSpPr>
          <p:cNvPr id="17" name="Picture Placeholder 15">
            <a:extLst>
              <a:ext uri="{FF2B5EF4-FFF2-40B4-BE49-F238E27FC236}">
                <a16:creationId xmlns:a16="http://schemas.microsoft.com/office/drawing/2014/main" id="{73CE4A28-B543-9BE0-9AFD-E95B509441BA}"/>
              </a:ext>
              <a:ext uri="{C183D7F6-B498-43B3-948B-1728B52AA6E4}">
                <adec:decorative xmlns:adec="http://schemas.microsoft.com/office/drawing/2017/decorative" val="1"/>
              </a:ext>
            </a:extLst>
          </p:cNvPr>
          <p:cNvSpPr>
            <a:spLocks noGrp="1"/>
          </p:cNvSpPr>
          <p:nvPr>
            <p:ph type="pic" sz="quarter" idx="29" hasCustomPrompt="1"/>
          </p:nvPr>
        </p:nvSpPr>
        <p:spPr>
          <a:xfrm>
            <a:off x="551231" y="4780754"/>
            <a:ext cx="432000" cy="432000"/>
          </a:xfrm>
          <a:noFill/>
        </p:spPr>
        <p:txBody>
          <a:bodyPr anchor="ctr" anchorCtr="0"/>
          <a:lstStyle>
            <a:lvl1pPr marL="0" indent="0" algn="ctr">
              <a:spcBef>
                <a:spcPts val="0"/>
              </a:spcBef>
              <a:buNone/>
              <a:defRPr sz="1000">
                <a:solidFill>
                  <a:schemeClr val="accent2"/>
                </a:solidFill>
                <a:latin typeface="+mn-lt"/>
              </a:defRPr>
            </a:lvl1pPr>
          </a:lstStyle>
          <a:p>
            <a:pPr lvl="0"/>
            <a:r>
              <a:rPr lang="en-GB"/>
              <a:t>icon</a:t>
            </a:r>
          </a:p>
        </p:txBody>
      </p:sp>
      <p:sp>
        <p:nvSpPr>
          <p:cNvPr id="16" name="Text Placeholder 12">
            <a:extLst>
              <a:ext uri="{FF2B5EF4-FFF2-40B4-BE49-F238E27FC236}">
                <a16:creationId xmlns:a16="http://schemas.microsoft.com/office/drawing/2014/main" id="{EC84A1A6-E190-A689-DEB3-2524677C090D}"/>
              </a:ext>
            </a:extLst>
          </p:cNvPr>
          <p:cNvSpPr>
            <a:spLocks noGrp="1"/>
          </p:cNvSpPr>
          <p:nvPr>
            <p:ph type="body" sz="quarter" idx="28"/>
          </p:nvPr>
        </p:nvSpPr>
        <p:spPr>
          <a:xfrm>
            <a:off x="1343025" y="4773612"/>
            <a:ext cx="4283839" cy="438929"/>
          </a:xfrm>
        </p:spPr>
        <p:txBody>
          <a:bodyPr anchor="ctr" anchorCtr="0"/>
          <a:lstStyle>
            <a:lvl1pPr>
              <a:defRPr/>
            </a:lvl1pPr>
          </a:lstStyle>
          <a:p>
            <a:pPr lvl="0"/>
            <a:r>
              <a:rPr lang="en-US"/>
              <a:t>Click to edit Master text styles</a:t>
            </a:r>
          </a:p>
        </p:txBody>
      </p:sp>
      <p:sp>
        <p:nvSpPr>
          <p:cNvPr id="19" name="Picture Placeholder 15">
            <a:extLst>
              <a:ext uri="{FF2B5EF4-FFF2-40B4-BE49-F238E27FC236}">
                <a16:creationId xmlns:a16="http://schemas.microsoft.com/office/drawing/2014/main" id="{36E2DA8B-BE76-042E-D6E2-36C4A15B5982}"/>
              </a:ext>
              <a:ext uri="{C183D7F6-B498-43B3-948B-1728B52AA6E4}">
                <adec:decorative xmlns:adec="http://schemas.microsoft.com/office/drawing/2017/decorative" val="1"/>
              </a:ext>
            </a:extLst>
          </p:cNvPr>
          <p:cNvSpPr>
            <a:spLocks noGrp="1"/>
          </p:cNvSpPr>
          <p:nvPr>
            <p:ph type="pic" sz="quarter" idx="31" hasCustomPrompt="1"/>
          </p:nvPr>
        </p:nvSpPr>
        <p:spPr>
          <a:xfrm>
            <a:off x="551231" y="5517354"/>
            <a:ext cx="432000" cy="432000"/>
          </a:xfrm>
          <a:noFill/>
        </p:spPr>
        <p:txBody>
          <a:bodyPr anchor="ctr" anchorCtr="0"/>
          <a:lstStyle>
            <a:lvl1pPr marL="0" indent="0" algn="ctr">
              <a:spcBef>
                <a:spcPts val="0"/>
              </a:spcBef>
              <a:buNone/>
              <a:defRPr sz="1000">
                <a:solidFill>
                  <a:schemeClr val="accent2"/>
                </a:solidFill>
                <a:latin typeface="+mn-lt"/>
              </a:defRPr>
            </a:lvl1pPr>
          </a:lstStyle>
          <a:p>
            <a:pPr lvl="0"/>
            <a:r>
              <a:rPr lang="en-GB"/>
              <a:t>icon</a:t>
            </a:r>
          </a:p>
        </p:txBody>
      </p:sp>
      <p:sp>
        <p:nvSpPr>
          <p:cNvPr id="18" name="Text Placeholder 12">
            <a:extLst>
              <a:ext uri="{FF2B5EF4-FFF2-40B4-BE49-F238E27FC236}">
                <a16:creationId xmlns:a16="http://schemas.microsoft.com/office/drawing/2014/main" id="{1E8E143E-9160-2E46-E449-29D95FAB479D}"/>
              </a:ext>
            </a:extLst>
          </p:cNvPr>
          <p:cNvSpPr>
            <a:spLocks noGrp="1"/>
          </p:cNvSpPr>
          <p:nvPr>
            <p:ph type="body" sz="quarter" idx="30"/>
          </p:nvPr>
        </p:nvSpPr>
        <p:spPr>
          <a:xfrm>
            <a:off x="1343025" y="5510212"/>
            <a:ext cx="4283839" cy="438928"/>
          </a:xfrm>
        </p:spPr>
        <p:txBody>
          <a:bodyPr anchor="ctr" anchorCtr="0"/>
          <a:lstStyle>
            <a:lvl1pPr>
              <a:defRPr/>
            </a:lvl1pPr>
          </a:lstStyle>
          <a:p>
            <a:pPr lvl="0"/>
            <a:r>
              <a:rPr lang="en-US"/>
              <a:t>Click to edit Master text styles</a:t>
            </a:r>
          </a:p>
        </p:txBody>
      </p:sp>
      <p:sp>
        <p:nvSpPr>
          <p:cNvPr id="6" name="Picture Placeholder 15">
            <a:extLst>
              <a:ext uri="{FF2B5EF4-FFF2-40B4-BE49-F238E27FC236}">
                <a16:creationId xmlns:a16="http://schemas.microsoft.com/office/drawing/2014/main" id="{911CF731-2F05-DD7D-AA0C-2C0C2EA9256F}"/>
              </a:ext>
              <a:ext uri="{C183D7F6-B498-43B3-948B-1728B52AA6E4}">
                <adec:decorative xmlns:adec="http://schemas.microsoft.com/office/drawing/2017/decorative" val="1"/>
              </a:ext>
            </a:extLst>
          </p:cNvPr>
          <p:cNvSpPr>
            <a:spLocks noGrp="1"/>
          </p:cNvSpPr>
          <p:nvPr>
            <p:ph type="pic" sz="quarter" idx="20" hasCustomPrompt="1"/>
          </p:nvPr>
        </p:nvSpPr>
        <p:spPr>
          <a:xfrm>
            <a:off x="6096000" y="0"/>
            <a:ext cx="6096001" cy="6858000"/>
          </a:xfrm>
          <a:solidFill>
            <a:schemeClr val="bg1">
              <a:lumMod val="95000"/>
            </a:schemeClr>
          </a:solidFill>
          <a:ln>
            <a:noFill/>
          </a:ln>
        </p:spPr>
        <p:txBody>
          <a:bodyPr tIns="108000" anchor="t" anchorCtr="0"/>
          <a:lstStyle>
            <a:lvl1pPr marL="0" indent="0" algn="ctr">
              <a:buNone/>
              <a:defRPr sz="1000">
                <a:solidFill>
                  <a:schemeClr val="accent2"/>
                </a:solidFill>
                <a:latin typeface="+mn-lt"/>
              </a:defRPr>
            </a:lvl1pPr>
          </a:lstStyle>
          <a:p>
            <a:pPr lvl="0"/>
            <a:r>
              <a:rPr lang="en-US"/>
              <a:t>Drag picture file here or click icon to insert top image</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Tree>
    <p:extLst>
      <p:ext uri="{BB962C8B-B14F-4D97-AF65-F5344CB8AC3E}">
        <p14:creationId xmlns:p14="http://schemas.microsoft.com/office/powerpoint/2010/main" val="3266129338"/>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ext &amp; 2x Image stac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E521FEA4-99B7-D7D2-C66A-489E89D4E18C}"/>
              </a:ext>
              <a:ext uri="{C183D7F6-B498-43B3-948B-1728B52AA6E4}">
                <adec:decorative xmlns:adec="http://schemas.microsoft.com/office/drawing/2017/decorative" val="1"/>
              </a:ext>
            </a:extLst>
          </p:cNvPr>
          <p:cNvSpPr>
            <a:spLocks noGrp="1"/>
          </p:cNvSpPr>
          <p:nvPr>
            <p:ph type="pic" sz="quarter" idx="21" hasCustomPrompt="1"/>
          </p:nvPr>
        </p:nvSpPr>
        <p:spPr>
          <a:xfrm>
            <a:off x="6096001" y="3429000"/>
            <a:ext cx="6096000"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a:solidFill>
            <a:schemeClr val="bg1">
              <a:lumMod val="85000"/>
            </a:schemeClr>
          </a:solidFill>
          <a:ln>
            <a:noFill/>
          </a:ln>
        </p:spPr>
        <p:txBody>
          <a:bodyPr wrap="square" tIns="108000" anchor="t" anchorCtr="0">
            <a:noAutofit/>
          </a:bodyPr>
          <a:lstStyle>
            <a:lvl1pPr marL="0" indent="0" algn="ctr">
              <a:buNone/>
              <a:defRPr sz="1000">
                <a:solidFill>
                  <a:schemeClr val="accent2"/>
                </a:solidFill>
                <a:latin typeface="+mn-lt"/>
              </a:defRPr>
            </a:lvl1pPr>
          </a:lstStyle>
          <a:p>
            <a:pPr lvl="0"/>
            <a:r>
              <a:rPr lang="en-US"/>
              <a:t>Drag picture file here or click icon to insert bottom image</a:t>
            </a:r>
          </a:p>
        </p:txBody>
      </p:sp>
      <p:sp>
        <p:nvSpPr>
          <p:cNvPr id="6" name="Picture Placeholder 15">
            <a:extLst>
              <a:ext uri="{FF2B5EF4-FFF2-40B4-BE49-F238E27FC236}">
                <a16:creationId xmlns:a16="http://schemas.microsoft.com/office/drawing/2014/main" id="{911CF731-2F05-DD7D-AA0C-2C0C2EA9256F}"/>
              </a:ext>
              <a:ext uri="{C183D7F6-B498-43B3-948B-1728B52AA6E4}">
                <adec:decorative xmlns:adec="http://schemas.microsoft.com/office/drawing/2017/decorative" val="1"/>
              </a:ext>
            </a:extLst>
          </p:cNvPr>
          <p:cNvSpPr>
            <a:spLocks noGrp="1"/>
          </p:cNvSpPr>
          <p:nvPr>
            <p:ph type="pic" sz="quarter" idx="20" hasCustomPrompt="1"/>
          </p:nvPr>
        </p:nvSpPr>
        <p:spPr>
          <a:xfrm>
            <a:off x="6096001" y="0"/>
            <a:ext cx="6096000" cy="3429000"/>
          </a:xfrm>
          <a:solidFill>
            <a:schemeClr val="bg1">
              <a:lumMod val="95000"/>
            </a:schemeClr>
          </a:solidFill>
          <a:ln>
            <a:noFill/>
          </a:ln>
        </p:spPr>
        <p:txBody>
          <a:bodyPr tIns="108000" anchor="t" anchorCtr="0"/>
          <a:lstStyle>
            <a:lvl1pPr marL="0" indent="0" algn="ctr">
              <a:buNone/>
              <a:defRPr sz="1000">
                <a:solidFill>
                  <a:schemeClr val="accent2"/>
                </a:solidFill>
                <a:latin typeface="+mn-lt"/>
              </a:defRPr>
            </a:lvl1pPr>
          </a:lstStyle>
          <a:p>
            <a:pPr lvl="0"/>
            <a:r>
              <a:rPr lang="en-US"/>
              <a:t>Drag picture file here or click icon to insert top image</a:t>
            </a:r>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5076000" cy="251885"/>
          </a:xfrm>
        </p:spPr>
        <p:txBody>
          <a:bodyPr/>
          <a:lstStyle>
            <a:lvl1pPr>
              <a:defRPr/>
            </a:lvl1pPr>
          </a:lstStyle>
          <a:p>
            <a:r>
              <a:rPr lang="en-US"/>
              <a:t>Header avenir demi 24pt</a:t>
            </a:r>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5076000"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5076000" cy="4321175"/>
          </a:xfrm>
        </p:spPr>
        <p:txBody>
          <a:body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Tree>
    <p:extLst>
      <p:ext uri="{BB962C8B-B14F-4D97-AF65-F5344CB8AC3E}">
        <p14:creationId xmlns:p14="http://schemas.microsoft.com/office/powerpoint/2010/main" val="246749564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Horizontal Split - 3x Col / Light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58867A9-9407-75CF-0561-28134BDEED22}"/>
              </a:ext>
              <a:ext uri="{C183D7F6-B498-43B3-948B-1728B52AA6E4}">
                <adec:decorative xmlns:adec="http://schemas.microsoft.com/office/drawing/2017/decorative" val="1"/>
              </a:ext>
            </a:extLst>
          </p:cNvPr>
          <p:cNvSpPr/>
          <p:nvPr userDrawn="1"/>
        </p:nvSpPr>
        <p:spPr>
          <a:xfrm>
            <a:off x="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Picture Placeholder 13">
            <a:extLst>
              <a:ext uri="{FF2B5EF4-FFF2-40B4-BE49-F238E27FC236}">
                <a16:creationId xmlns:a16="http://schemas.microsoft.com/office/drawing/2014/main" id="{BB4BC472-7597-C294-BE60-B55F1AB97D5D}"/>
              </a:ext>
              <a:ext uri="{C183D7F6-B498-43B3-948B-1728B52AA6E4}">
                <adec:decorative xmlns:adec="http://schemas.microsoft.com/office/drawing/2017/decorative" val="1"/>
              </a:ext>
            </a:extLst>
          </p:cNvPr>
          <p:cNvSpPr>
            <a:spLocks noGrp="1"/>
          </p:cNvSpPr>
          <p:nvPr>
            <p:ph type="pic" sz="quarter" idx="20" hasCustomPrompt="1"/>
          </p:nvPr>
        </p:nvSpPr>
        <p:spPr>
          <a:xfrm>
            <a:off x="0" y="3429000"/>
            <a:ext cx="12192000" cy="3429000"/>
          </a:xfrm>
          <a:custGeom>
            <a:avLst/>
            <a:gdLst>
              <a:gd name="connsiteX0" fmla="*/ 1579559 w 12192000"/>
              <a:gd name="connsiteY0" fmla="*/ 3067532 h 3429000"/>
              <a:gd name="connsiteX1" fmla="*/ 1579559 w 12192000"/>
              <a:gd name="connsiteY1" fmla="*/ 3076105 h 3429000"/>
              <a:gd name="connsiteX2" fmla="*/ 1555747 w 12192000"/>
              <a:gd name="connsiteY2" fmla="*/ 3098013 h 3429000"/>
              <a:gd name="connsiteX3" fmla="*/ 1538602 w 12192000"/>
              <a:gd name="connsiteY3" fmla="*/ 3083725 h 3429000"/>
              <a:gd name="connsiteX4" fmla="*/ 1555747 w 12192000"/>
              <a:gd name="connsiteY4" fmla="*/ 3070390 h 3429000"/>
              <a:gd name="connsiteX5" fmla="*/ 1569082 w 12192000"/>
              <a:gd name="connsiteY5" fmla="*/ 3070390 h 3429000"/>
              <a:gd name="connsiteX6" fmla="*/ 1579559 w 12192000"/>
              <a:gd name="connsiteY6" fmla="*/ 3067532 h 3429000"/>
              <a:gd name="connsiteX7" fmla="*/ 1162365 w 12192000"/>
              <a:gd name="connsiteY7" fmla="*/ 3067532 h 3429000"/>
              <a:gd name="connsiteX8" fmla="*/ 1162365 w 12192000"/>
              <a:gd name="connsiteY8" fmla="*/ 3076105 h 3429000"/>
              <a:gd name="connsiteX9" fmla="*/ 1138553 w 12192000"/>
              <a:gd name="connsiteY9" fmla="*/ 3098013 h 3429000"/>
              <a:gd name="connsiteX10" fmla="*/ 1121408 w 12192000"/>
              <a:gd name="connsiteY10" fmla="*/ 3083725 h 3429000"/>
              <a:gd name="connsiteX11" fmla="*/ 1138553 w 12192000"/>
              <a:gd name="connsiteY11" fmla="*/ 3070390 h 3429000"/>
              <a:gd name="connsiteX12" fmla="*/ 1151888 w 12192000"/>
              <a:gd name="connsiteY12" fmla="*/ 3070390 h 3429000"/>
              <a:gd name="connsiteX13" fmla="*/ 1162365 w 12192000"/>
              <a:gd name="connsiteY13" fmla="*/ 3067532 h 3429000"/>
              <a:gd name="connsiteX14" fmla="*/ 736599 w 12192000"/>
              <a:gd name="connsiteY14" fmla="*/ 3026574 h 3429000"/>
              <a:gd name="connsiteX15" fmla="*/ 619442 w 12192000"/>
              <a:gd name="connsiteY15" fmla="*/ 3094203 h 3429000"/>
              <a:gd name="connsiteX16" fmla="*/ 632777 w 12192000"/>
              <a:gd name="connsiteY16" fmla="*/ 3123731 h 3429000"/>
              <a:gd name="connsiteX17" fmla="*/ 646112 w 12192000"/>
              <a:gd name="connsiteY17" fmla="*/ 3142781 h 3429000"/>
              <a:gd name="connsiteX18" fmla="*/ 765174 w 12192000"/>
              <a:gd name="connsiteY18" fmla="*/ 3074200 h 3429000"/>
              <a:gd name="connsiteX19" fmla="*/ 736599 w 12192000"/>
              <a:gd name="connsiteY19" fmla="*/ 3026574 h 3429000"/>
              <a:gd name="connsiteX20" fmla="*/ 1781490 w 12192000"/>
              <a:gd name="connsiteY20" fmla="*/ 3023716 h 3429000"/>
              <a:gd name="connsiteX21" fmla="*/ 1808160 w 12192000"/>
              <a:gd name="connsiteY21" fmla="*/ 3045624 h 3429000"/>
              <a:gd name="connsiteX22" fmla="*/ 1753867 w 12192000"/>
              <a:gd name="connsiteY22" fmla="*/ 3045624 h 3429000"/>
              <a:gd name="connsiteX23" fmla="*/ 1781490 w 12192000"/>
              <a:gd name="connsiteY23" fmla="*/ 3023716 h 3429000"/>
              <a:gd name="connsiteX24" fmla="*/ 1309050 w 12192000"/>
              <a:gd name="connsiteY24" fmla="*/ 2997999 h 3429000"/>
              <a:gd name="connsiteX25" fmla="*/ 1309050 w 12192000"/>
              <a:gd name="connsiteY25" fmla="*/ 3027526 h 3429000"/>
              <a:gd name="connsiteX26" fmla="*/ 1326195 w 12192000"/>
              <a:gd name="connsiteY26" fmla="*/ 3027526 h 3429000"/>
              <a:gd name="connsiteX27" fmla="*/ 1326195 w 12192000"/>
              <a:gd name="connsiteY27" fmla="*/ 3119920 h 3429000"/>
              <a:gd name="connsiteX28" fmla="*/ 1360485 w 12192000"/>
              <a:gd name="connsiteY28" fmla="*/ 3119920 h 3429000"/>
              <a:gd name="connsiteX29" fmla="*/ 1360485 w 12192000"/>
              <a:gd name="connsiteY29" fmla="*/ 2997999 h 3429000"/>
              <a:gd name="connsiteX30" fmla="*/ 1372868 w 12192000"/>
              <a:gd name="connsiteY30" fmla="*/ 2997998 h 3429000"/>
              <a:gd name="connsiteX31" fmla="*/ 1414778 w 12192000"/>
              <a:gd name="connsiteY31" fmla="*/ 3119920 h 3429000"/>
              <a:gd name="connsiteX32" fmla="*/ 1457640 w 12192000"/>
              <a:gd name="connsiteY32" fmla="*/ 3119920 h 3429000"/>
              <a:gd name="connsiteX33" fmla="*/ 1501455 w 12192000"/>
              <a:gd name="connsiteY33" fmla="*/ 2997998 h 3429000"/>
              <a:gd name="connsiteX34" fmla="*/ 1465260 w 12192000"/>
              <a:gd name="connsiteY34" fmla="*/ 2997998 h 3429000"/>
              <a:gd name="connsiteX35" fmla="*/ 1437638 w 12192000"/>
              <a:gd name="connsiteY35" fmla="*/ 3082772 h 3429000"/>
              <a:gd name="connsiteX36" fmla="*/ 1410015 w 12192000"/>
              <a:gd name="connsiteY36" fmla="*/ 2997998 h 3429000"/>
              <a:gd name="connsiteX37" fmla="*/ 1781490 w 12192000"/>
              <a:gd name="connsiteY37" fmla="*/ 2996093 h 3429000"/>
              <a:gd name="connsiteX38" fmla="*/ 1718625 w 12192000"/>
              <a:gd name="connsiteY38" fmla="*/ 3059912 h 3429000"/>
              <a:gd name="connsiteX39" fmla="*/ 1782442 w 12192000"/>
              <a:gd name="connsiteY39" fmla="*/ 3123730 h 3429000"/>
              <a:gd name="connsiteX40" fmla="*/ 1843402 w 12192000"/>
              <a:gd name="connsiteY40" fmla="*/ 3085629 h 3429000"/>
              <a:gd name="connsiteX41" fmla="*/ 1807207 w 12192000"/>
              <a:gd name="connsiteY41" fmla="*/ 3081819 h 3429000"/>
              <a:gd name="connsiteX42" fmla="*/ 1782442 w 12192000"/>
              <a:gd name="connsiteY42" fmla="*/ 3094202 h 3429000"/>
              <a:gd name="connsiteX43" fmla="*/ 1754820 w 12192000"/>
              <a:gd name="connsiteY43" fmla="*/ 3069437 h 3429000"/>
              <a:gd name="connsiteX44" fmla="*/ 1845307 w 12192000"/>
              <a:gd name="connsiteY44" fmla="*/ 3069437 h 3429000"/>
              <a:gd name="connsiteX45" fmla="*/ 1845307 w 12192000"/>
              <a:gd name="connsiteY45" fmla="*/ 3068484 h 3429000"/>
              <a:gd name="connsiteX46" fmla="*/ 1781490 w 12192000"/>
              <a:gd name="connsiteY46" fmla="*/ 2996093 h 3429000"/>
              <a:gd name="connsiteX47" fmla="*/ 1282380 w 12192000"/>
              <a:gd name="connsiteY47" fmla="*/ 2996093 h 3429000"/>
              <a:gd name="connsiteX48" fmla="*/ 1250947 w 12192000"/>
              <a:gd name="connsiteY48" fmla="*/ 3017048 h 3429000"/>
              <a:gd name="connsiteX49" fmla="*/ 1250947 w 12192000"/>
              <a:gd name="connsiteY49" fmla="*/ 2997998 h 3429000"/>
              <a:gd name="connsiteX50" fmla="*/ 1217610 w 12192000"/>
              <a:gd name="connsiteY50" fmla="*/ 2997998 h 3429000"/>
              <a:gd name="connsiteX51" fmla="*/ 1217610 w 12192000"/>
              <a:gd name="connsiteY51" fmla="*/ 3119920 h 3429000"/>
              <a:gd name="connsiteX52" fmla="*/ 1251900 w 12192000"/>
              <a:gd name="connsiteY52" fmla="*/ 3119920 h 3429000"/>
              <a:gd name="connsiteX53" fmla="*/ 1251900 w 12192000"/>
              <a:gd name="connsiteY53" fmla="*/ 3061817 h 3429000"/>
              <a:gd name="connsiteX54" fmla="*/ 1277617 w 12192000"/>
              <a:gd name="connsiteY54" fmla="*/ 3032289 h 3429000"/>
              <a:gd name="connsiteX55" fmla="*/ 1291905 w 12192000"/>
              <a:gd name="connsiteY55" fmla="*/ 3032289 h 3429000"/>
              <a:gd name="connsiteX56" fmla="*/ 1291905 w 12192000"/>
              <a:gd name="connsiteY56" fmla="*/ 2997046 h 3429000"/>
              <a:gd name="connsiteX57" fmla="*/ 1282380 w 12192000"/>
              <a:gd name="connsiteY57" fmla="*/ 2996093 h 3429000"/>
              <a:gd name="connsiteX58" fmla="*/ 1562414 w 12192000"/>
              <a:gd name="connsiteY58" fmla="*/ 2995141 h 3429000"/>
              <a:gd name="connsiteX59" fmla="*/ 1510027 w 12192000"/>
              <a:gd name="connsiteY59" fmla="*/ 3010381 h 3429000"/>
              <a:gd name="connsiteX60" fmla="*/ 1523362 w 12192000"/>
              <a:gd name="connsiteY60" fmla="*/ 3036099 h 3429000"/>
              <a:gd name="connsiteX61" fmla="*/ 1559557 w 12192000"/>
              <a:gd name="connsiteY61" fmla="*/ 3024669 h 3429000"/>
              <a:gd name="connsiteX62" fmla="*/ 1579559 w 12192000"/>
              <a:gd name="connsiteY62" fmla="*/ 3038957 h 3429000"/>
              <a:gd name="connsiteX63" fmla="*/ 1580512 w 12192000"/>
              <a:gd name="connsiteY63" fmla="*/ 3039909 h 3429000"/>
              <a:gd name="connsiteX64" fmla="*/ 1571939 w 12192000"/>
              <a:gd name="connsiteY64" fmla="*/ 3047529 h 3429000"/>
              <a:gd name="connsiteX65" fmla="*/ 1548127 w 12192000"/>
              <a:gd name="connsiteY65" fmla="*/ 3047529 h 3429000"/>
              <a:gd name="connsiteX66" fmla="*/ 1504312 w 12192000"/>
              <a:gd name="connsiteY66" fmla="*/ 3084677 h 3429000"/>
              <a:gd name="connsiteX67" fmla="*/ 1547174 w 12192000"/>
              <a:gd name="connsiteY67" fmla="*/ 3122778 h 3429000"/>
              <a:gd name="connsiteX68" fmla="*/ 1581464 w 12192000"/>
              <a:gd name="connsiteY68" fmla="*/ 3108490 h 3429000"/>
              <a:gd name="connsiteX69" fmla="*/ 1581464 w 12192000"/>
              <a:gd name="connsiteY69" fmla="*/ 3119920 h 3429000"/>
              <a:gd name="connsiteX70" fmla="*/ 1615754 w 12192000"/>
              <a:gd name="connsiteY70" fmla="*/ 3119920 h 3429000"/>
              <a:gd name="connsiteX71" fmla="*/ 1615754 w 12192000"/>
              <a:gd name="connsiteY71" fmla="*/ 3039909 h 3429000"/>
              <a:gd name="connsiteX72" fmla="*/ 1562414 w 12192000"/>
              <a:gd name="connsiteY72" fmla="*/ 2995141 h 3429000"/>
              <a:gd name="connsiteX73" fmla="*/ 1145220 w 12192000"/>
              <a:gd name="connsiteY73" fmla="*/ 2995141 h 3429000"/>
              <a:gd name="connsiteX74" fmla="*/ 1092833 w 12192000"/>
              <a:gd name="connsiteY74" fmla="*/ 3010381 h 3429000"/>
              <a:gd name="connsiteX75" fmla="*/ 1106168 w 12192000"/>
              <a:gd name="connsiteY75" fmla="*/ 3036099 h 3429000"/>
              <a:gd name="connsiteX76" fmla="*/ 1142363 w 12192000"/>
              <a:gd name="connsiteY76" fmla="*/ 3024669 h 3429000"/>
              <a:gd name="connsiteX77" fmla="*/ 1162365 w 12192000"/>
              <a:gd name="connsiteY77" fmla="*/ 3038957 h 3429000"/>
              <a:gd name="connsiteX78" fmla="*/ 1163318 w 12192000"/>
              <a:gd name="connsiteY78" fmla="*/ 3039909 h 3429000"/>
              <a:gd name="connsiteX79" fmla="*/ 1154745 w 12192000"/>
              <a:gd name="connsiteY79" fmla="*/ 3047529 h 3429000"/>
              <a:gd name="connsiteX80" fmla="*/ 1130933 w 12192000"/>
              <a:gd name="connsiteY80" fmla="*/ 3047529 h 3429000"/>
              <a:gd name="connsiteX81" fmla="*/ 1087118 w 12192000"/>
              <a:gd name="connsiteY81" fmla="*/ 3084677 h 3429000"/>
              <a:gd name="connsiteX82" fmla="*/ 1129980 w 12192000"/>
              <a:gd name="connsiteY82" fmla="*/ 3122778 h 3429000"/>
              <a:gd name="connsiteX83" fmla="*/ 1164270 w 12192000"/>
              <a:gd name="connsiteY83" fmla="*/ 3108490 h 3429000"/>
              <a:gd name="connsiteX84" fmla="*/ 1164270 w 12192000"/>
              <a:gd name="connsiteY84" fmla="*/ 3119920 h 3429000"/>
              <a:gd name="connsiteX85" fmla="*/ 1198560 w 12192000"/>
              <a:gd name="connsiteY85" fmla="*/ 3119920 h 3429000"/>
              <a:gd name="connsiteX86" fmla="*/ 1198560 w 12192000"/>
              <a:gd name="connsiteY86" fmla="*/ 3039909 h 3429000"/>
              <a:gd name="connsiteX87" fmla="*/ 1145220 w 12192000"/>
              <a:gd name="connsiteY87" fmla="*/ 2995141 h 3429000"/>
              <a:gd name="connsiteX88" fmla="*/ 587056 w 12192000"/>
              <a:gd name="connsiteY88" fmla="*/ 2957040 h 3429000"/>
              <a:gd name="connsiteX89" fmla="*/ 564196 w 12192000"/>
              <a:gd name="connsiteY89" fmla="*/ 2957993 h 3429000"/>
              <a:gd name="connsiteX90" fmla="*/ 564196 w 12192000"/>
              <a:gd name="connsiteY90" fmla="*/ 3095155 h 3429000"/>
              <a:gd name="connsiteX91" fmla="*/ 587056 w 12192000"/>
              <a:gd name="connsiteY91" fmla="*/ 3097060 h 3429000"/>
              <a:gd name="connsiteX92" fmla="*/ 619441 w 12192000"/>
              <a:gd name="connsiteY92" fmla="*/ 3094202 h 3429000"/>
              <a:gd name="connsiteX93" fmla="*/ 613726 w 12192000"/>
              <a:gd name="connsiteY93" fmla="*/ 2977043 h 3429000"/>
              <a:gd name="connsiteX94" fmla="*/ 619441 w 12192000"/>
              <a:gd name="connsiteY94" fmla="*/ 2959898 h 3429000"/>
              <a:gd name="connsiteX95" fmla="*/ 587056 w 12192000"/>
              <a:gd name="connsiteY95" fmla="*/ 2957040 h 3429000"/>
              <a:gd name="connsiteX96" fmla="*/ 1647187 w 12192000"/>
              <a:gd name="connsiteY96" fmla="*/ 2952278 h 3429000"/>
              <a:gd name="connsiteX97" fmla="*/ 1647187 w 12192000"/>
              <a:gd name="connsiteY97" fmla="*/ 2998951 h 3429000"/>
              <a:gd name="connsiteX98" fmla="*/ 1628137 w 12192000"/>
              <a:gd name="connsiteY98" fmla="*/ 2998951 h 3429000"/>
              <a:gd name="connsiteX99" fmla="*/ 1628137 w 12192000"/>
              <a:gd name="connsiteY99" fmla="*/ 3028479 h 3429000"/>
              <a:gd name="connsiteX100" fmla="*/ 1647187 w 12192000"/>
              <a:gd name="connsiteY100" fmla="*/ 3028479 h 3429000"/>
              <a:gd name="connsiteX101" fmla="*/ 1647187 w 12192000"/>
              <a:gd name="connsiteY101" fmla="*/ 3095155 h 3429000"/>
              <a:gd name="connsiteX102" fmla="*/ 1682429 w 12192000"/>
              <a:gd name="connsiteY102" fmla="*/ 3122778 h 3429000"/>
              <a:gd name="connsiteX103" fmla="*/ 1709099 w 12192000"/>
              <a:gd name="connsiteY103" fmla="*/ 3120873 h 3429000"/>
              <a:gd name="connsiteX104" fmla="*/ 1709099 w 12192000"/>
              <a:gd name="connsiteY104" fmla="*/ 3091345 h 3429000"/>
              <a:gd name="connsiteX105" fmla="*/ 1692907 w 12192000"/>
              <a:gd name="connsiteY105" fmla="*/ 3091345 h 3429000"/>
              <a:gd name="connsiteX106" fmla="*/ 1681477 w 12192000"/>
              <a:gd name="connsiteY106" fmla="*/ 3082772 h 3429000"/>
              <a:gd name="connsiteX107" fmla="*/ 1681477 w 12192000"/>
              <a:gd name="connsiteY107" fmla="*/ 3027526 h 3429000"/>
              <a:gd name="connsiteX108" fmla="*/ 1708147 w 12192000"/>
              <a:gd name="connsiteY108" fmla="*/ 3027526 h 3429000"/>
              <a:gd name="connsiteX109" fmla="*/ 1708147 w 12192000"/>
              <a:gd name="connsiteY109" fmla="*/ 2997998 h 3429000"/>
              <a:gd name="connsiteX110" fmla="*/ 1681477 w 12192000"/>
              <a:gd name="connsiteY110" fmla="*/ 2997998 h 3429000"/>
              <a:gd name="connsiteX111" fmla="*/ 1681477 w 12192000"/>
              <a:gd name="connsiteY111" fmla="*/ 2952278 h 3429000"/>
              <a:gd name="connsiteX112" fmla="*/ 1341435 w 12192000"/>
              <a:gd name="connsiteY112" fmla="*/ 2934180 h 3429000"/>
              <a:gd name="connsiteX113" fmla="*/ 1319527 w 12192000"/>
              <a:gd name="connsiteY113" fmla="*/ 2956088 h 3429000"/>
              <a:gd name="connsiteX114" fmla="*/ 1341435 w 12192000"/>
              <a:gd name="connsiteY114" fmla="*/ 2977996 h 3429000"/>
              <a:gd name="connsiteX115" fmla="*/ 1363342 w 12192000"/>
              <a:gd name="connsiteY115" fmla="*/ 2956088 h 3429000"/>
              <a:gd name="connsiteX116" fmla="*/ 1341435 w 12192000"/>
              <a:gd name="connsiteY116" fmla="*/ 2934180 h 3429000"/>
              <a:gd name="connsiteX117" fmla="*/ 1032826 w 12192000"/>
              <a:gd name="connsiteY117" fmla="*/ 2934180 h 3429000"/>
              <a:gd name="connsiteX118" fmla="*/ 1032826 w 12192000"/>
              <a:gd name="connsiteY118" fmla="*/ 3119920 h 3429000"/>
              <a:gd name="connsiteX119" fmla="*/ 1067116 w 12192000"/>
              <a:gd name="connsiteY119" fmla="*/ 3119920 h 3429000"/>
              <a:gd name="connsiteX120" fmla="*/ 1067116 w 12192000"/>
              <a:gd name="connsiteY120" fmla="*/ 2934180 h 3429000"/>
              <a:gd name="connsiteX121" fmla="*/ 922336 w 12192000"/>
              <a:gd name="connsiteY121" fmla="*/ 2930370 h 3429000"/>
              <a:gd name="connsiteX122" fmla="*/ 825181 w 12192000"/>
              <a:gd name="connsiteY122" fmla="*/ 3026574 h 3429000"/>
              <a:gd name="connsiteX123" fmla="*/ 922336 w 12192000"/>
              <a:gd name="connsiteY123" fmla="*/ 3122778 h 3429000"/>
              <a:gd name="connsiteX124" fmla="*/ 1013776 w 12192000"/>
              <a:gd name="connsiteY124" fmla="*/ 3053244 h 3429000"/>
              <a:gd name="connsiteX125" fmla="*/ 973771 w 12192000"/>
              <a:gd name="connsiteY125" fmla="*/ 3053244 h 3429000"/>
              <a:gd name="connsiteX126" fmla="*/ 923288 w 12192000"/>
              <a:gd name="connsiteY126" fmla="*/ 3088488 h 3429000"/>
              <a:gd name="connsiteX127" fmla="*/ 865186 w 12192000"/>
              <a:gd name="connsiteY127" fmla="*/ 3026574 h 3429000"/>
              <a:gd name="connsiteX128" fmla="*/ 923288 w 12192000"/>
              <a:gd name="connsiteY128" fmla="*/ 2964661 h 3429000"/>
              <a:gd name="connsiteX129" fmla="*/ 972818 w 12192000"/>
              <a:gd name="connsiteY129" fmla="*/ 2999904 h 3429000"/>
              <a:gd name="connsiteX130" fmla="*/ 1013776 w 12192000"/>
              <a:gd name="connsiteY130" fmla="*/ 2999904 h 3429000"/>
              <a:gd name="connsiteX131" fmla="*/ 922336 w 12192000"/>
              <a:gd name="connsiteY131" fmla="*/ 2930370 h 3429000"/>
              <a:gd name="connsiteX132" fmla="*/ 646112 w 12192000"/>
              <a:gd name="connsiteY132" fmla="*/ 2910367 h 3429000"/>
              <a:gd name="connsiteX133" fmla="*/ 619442 w 12192000"/>
              <a:gd name="connsiteY133" fmla="*/ 2958945 h 3429000"/>
              <a:gd name="connsiteX134" fmla="*/ 735647 w 12192000"/>
              <a:gd name="connsiteY134" fmla="*/ 3026574 h 3429000"/>
              <a:gd name="connsiteX135" fmla="*/ 764222 w 12192000"/>
              <a:gd name="connsiteY135" fmla="*/ 2978948 h 3429000"/>
              <a:gd name="connsiteX136" fmla="*/ 646112 w 12192000"/>
              <a:gd name="connsiteY136" fmla="*/ 2910367 h 3429000"/>
              <a:gd name="connsiteX137" fmla="*/ 0 w 12192000"/>
              <a:gd name="connsiteY137" fmla="*/ 0 h 3429000"/>
              <a:gd name="connsiteX138" fmla="*/ 12192000 w 12192000"/>
              <a:gd name="connsiteY138" fmla="*/ 0 h 3429000"/>
              <a:gd name="connsiteX139" fmla="*/ 12192000 w 12192000"/>
              <a:gd name="connsiteY139" fmla="*/ 3429000 h 3429000"/>
              <a:gd name="connsiteX140" fmla="*/ 8040688 w 12192000"/>
              <a:gd name="connsiteY140" fmla="*/ 3429000 h 3429000"/>
              <a:gd name="connsiteX141" fmla="*/ 7499776 w 12192000"/>
              <a:gd name="connsiteY141" fmla="*/ 3429000 h 3429000"/>
              <a:gd name="connsiteX142" fmla="*/ 0 w 12192000"/>
              <a:gd name="connsiteY142" fmla="*/ 3429000 h 34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2192000" h="3429000">
                <a:moveTo>
                  <a:pt x="1579559" y="3067532"/>
                </a:moveTo>
                <a:lnTo>
                  <a:pt x="1579559" y="3076105"/>
                </a:lnTo>
                <a:cubicBezTo>
                  <a:pt x="1579559" y="3091345"/>
                  <a:pt x="1566224" y="3098013"/>
                  <a:pt x="1555747" y="3098013"/>
                </a:cubicBezTo>
                <a:cubicBezTo>
                  <a:pt x="1545269" y="3098013"/>
                  <a:pt x="1538602" y="3092298"/>
                  <a:pt x="1538602" y="3083725"/>
                </a:cubicBezTo>
                <a:cubicBezTo>
                  <a:pt x="1538602" y="3075152"/>
                  <a:pt x="1545269" y="3070390"/>
                  <a:pt x="1555747" y="3070390"/>
                </a:cubicBezTo>
                <a:lnTo>
                  <a:pt x="1569082" y="3070390"/>
                </a:lnTo>
                <a:cubicBezTo>
                  <a:pt x="1573844" y="3070390"/>
                  <a:pt x="1577654" y="3069437"/>
                  <a:pt x="1579559" y="3067532"/>
                </a:cubicBezTo>
                <a:close/>
                <a:moveTo>
                  <a:pt x="1162365" y="3067532"/>
                </a:moveTo>
                <a:lnTo>
                  <a:pt x="1162365" y="3076105"/>
                </a:lnTo>
                <a:cubicBezTo>
                  <a:pt x="1162365" y="3091345"/>
                  <a:pt x="1149030" y="3098013"/>
                  <a:pt x="1138553" y="3098013"/>
                </a:cubicBezTo>
                <a:cubicBezTo>
                  <a:pt x="1128075" y="3098013"/>
                  <a:pt x="1121408" y="3092298"/>
                  <a:pt x="1121408" y="3083725"/>
                </a:cubicBezTo>
                <a:cubicBezTo>
                  <a:pt x="1121408" y="3075152"/>
                  <a:pt x="1128075" y="3070390"/>
                  <a:pt x="1138553" y="3070390"/>
                </a:cubicBezTo>
                <a:lnTo>
                  <a:pt x="1151888" y="3070390"/>
                </a:lnTo>
                <a:cubicBezTo>
                  <a:pt x="1156650" y="3070390"/>
                  <a:pt x="1160460" y="3069437"/>
                  <a:pt x="1162365" y="3067532"/>
                </a:cubicBezTo>
                <a:close/>
                <a:moveTo>
                  <a:pt x="736599" y="3026574"/>
                </a:moveTo>
                <a:cubicBezTo>
                  <a:pt x="707072" y="3061817"/>
                  <a:pt x="666114" y="3086582"/>
                  <a:pt x="619442" y="3094203"/>
                </a:cubicBezTo>
                <a:cubicBezTo>
                  <a:pt x="623252" y="3103728"/>
                  <a:pt x="628014" y="3114205"/>
                  <a:pt x="632777" y="3123731"/>
                </a:cubicBezTo>
                <a:cubicBezTo>
                  <a:pt x="636587" y="3130398"/>
                  <a:pt x="641349" y="3137066"/>
                  <a:pt x="646112" y="3142781"/>
                </a:cubicBezTo>
                <a:cubicBezTo>
                  <a:pt x="691832" y="3131351"/>
                  <a:pt x="732789" y="3107538"/>
                  <a:pt x="765174" y="3074200"/>
                </a:cubicBezTo>
                <a:cubicBezTo>
                  <a:pt x="757554" y="3057054"/>
                  <a:pt x="748029" y="3040862"/>
                  <a:pt x="736599" y="3026574"/>
                </a:cubicBezTo>
                <a:close/>
                <a:moveTo>
                  <a:pt x="1781490" y="3023716"/>
                </a:moveTo>
                <a:cubicBezTo>
                  <a:pt x="1795777" y="3023716"/>
                  <a:pt x="1806255" y="3033241"/>
                  <a:pt x="1808160" y="3045624"/>
                </a:cubicBezTo>
                <a:lnTo>
                  <a:pt x="1753867" y="3045624"/>
                </a:lnTo>
                <a:cubicBezTo>
                  <a:pt x="1756725" y="3032289"/>
                  <a:pt x="1767202" y="3023716"/>
                  <a:pt x="1781490" y="3023716"/>
                </a:cubicBezTo>
                <a:close/>
                <a:moveTo>
                  <a:pt x="1309050" y="2997999"/>
                </a:moveTo>
                <a:lnTo>
                  <a:pt x="1309050" y="3027526"/>
                </a:lnTo>
                <a:lnTo>
                  <a:pt x="1326195" y="3027526"/>
                </a:lnTo>
                <a:lnTo>
                  <a:pt x="1326195" y="3119920"/>
                </a:lnTo>
                <a:lnTo>
                  <a:pt x="1360485" y="3119920"/>
                </a:lnTo>
                <a:lnTo>
                  <a:pt x="1360485" y="2997999"/>
                </a:lnTo>
                <a:close/>
                <a:moveTo>
                  <a:pt x="1372868" y="2997998"/>
                </a:moveTo>
                <a:lnTo>
                  <a:pt x="1414778" y="3119920"/>
                </a:lnTo>
                <a:lnTo>
                  <a:pt x="1457640" y="3119920"/>
                </a:lnTo>
                <a:lnTo>
                  <a:pt x="1501455" y="2997998"/>
                </a:lnTo>
                <a:lnTo>
                  <a:pt x="1465260" y="2997998"/>
                </a:lnTo>
                <a:lnTo>
                  <a:pt x="1437638" y="3082772"/>
                </a:lnTo>
                <a:lnTo>
                  <a:pt x="1410015" y="2997998"/>
                </a:lnTo>
                <a:close/>
                <a:moveTo>
                  <a:pt x="1781490" y="2996093"/>
                </a:moveTo>
                <a:cubicBezTo>
                  <a:pt x="1745295" y="2996093"/>
                  <a:pt x="1718625" y="3022763"/>
                  <a:pt x="1718625" y="3059912"/>
                </a:cubicBezTo>
                <a:cubicBezTo>
                  <a:pt x="1718625" y="3097060"/>
                  <a:pt x="1754820" y="3123730"/>
                  <a:pt x="1782442" y="3123730"/>
                </a:cubicBezTo>
                <a:cubicBezTo>
                  <a:pt x="1810065" y="3123730"/>
                  <a:pt x="1832925" y="3111347"/>
                  <a:pt x="1843402" y="3085629"/>
                </a:cubicBezTo>
                <a:lnTo>
                  <a:pt x="1807207" y="3081819"/>
                </a:lnTo>
                <a:cubicBezTo>
                  <a:pt x="1802445" y="3089439"/>
                  <a:pt x="1797682" y="3094202"/>
                  <a:pt x="1782442" y="3094202"/>
                </a:cubicBezTo>
                <a:cubicBezTo>
                  <a:pt x="1767202" y="3094202"/>
                  <a:pt x="1756725" y="3082772"/>
                  <a:pt x="1754820" y="3069437"/>
                </a:cubicBezTo>
                <a:lnTo>
                  <a:pt x="1845307" y="3069437"/>
                </a:lnTo>
                <a:lnTo>
                  <a:pt x="1845307" y="3068484"/>
                </a:lnTo>
                <a:cubicBezTo>
                  <a:pt x="1845307" y="3018001"/>
                  <a:pt x="1817685" y="2996093"/>
                  <a:pt x="1781490" y="2996093"/>
                </a:cubicBezTo>
                <a:close/>
                <a:moveTo>
                  <a:pt x="1282380" y="2996093"/>
                </a:moveTo>
                <a:cubicBezTo>
                  <a:pt x="1267140" y="2996093"/>
                  <a:pt x="1255710" y="3003713"/>
                  <a:pt x="1250947" y="3017048"/>
                </a:cubicBezTo>
                <a:lnTo>
                  <a:pt x="1250947" y="2997998"/>
                </a:lnTo>
                <a:lnTo>
                  <a:pt x="1217610" y="2997998"/>
                </a:lnTo>
                <a:lnTo>
                  <a:pt x="1217610" y="3119920"/>
                </a:lnTo>
                <a:lnTo>
                  <a:pt x="1251900" y="3119920"/>
                </a:lnTo>
                <a:lnTo>
                  <a:pt x="1251900" y="3061817"/>
                </a:lnTo>
                <a:cubicBezTo>
                  <a:pt x="1251900" y="3040861"/>
                  <a:pt x="1260472" y="3032289"/>
                  <a:pt x="1277617" y="3032289"/>
                </a:cubicBezTo>
                <a:lnTo>
                  <a:pt x="1291905" y="3032289"/>
                </a:lnTo>
                <a:cubicBezTo>
                  <a:pt x="1291905" y="3032289"/>
                  <a:pt x="1291905" y="2997046"/>
                  <a:pt x="1291905" y="2997046"/>
                </a:cubicBezTo>
                <a:cubicBezTo>
                  <a:pt x="1289047" y="2996093"/>
                  <a:pt x="1297620" y="2996093"/>
                  <a:pt x="1282380" y="2996093"/>
                </a:cubicBezTo>
                <a:close/>
                <a:moveTo>
                  <a:pt x="1562414" y="2995141"/>
                </a:moveTo>
                <a:cubicBezTo>
                  <a:pt x="1532887" y="2995141"/>
                  <a:pt x="1510027" y="3010381"/>
                  <a:pt x="1510027" y="3010381"/>
                </a:cubicBezTo>
                <a:lnTo>
                  <a:pt x="1523362" y="3036099"/>
                </a:lnTo>
                <a:cubicBezTo>
                  <a:pt x="1531934" y="3030384"/>
                  <a:pt x="1546222" y="3024669"/>
                  <a:pt x="1559557" y="3024669"/>
                </a:cubicBezTo>
                <a:cubicBezTo>
                  <a:pt x="1572892" y="3024669"/>
                  <a:pt x="1579559" y="3030384"/>
                  <a:pt x="1579559" y="3038957"/>
                </a:cubicBezTo>
                <a:lnTo>
                  <a:pt x="1580512" y="3039909"/>
                </a:lnTo>
                <a:cubicBezTo>
                  <a:pt x="1580512" y="3044672"/>
                  <a:pt x="1577654" y="3047529"/>
                  <a:pt x="1571939" y="3047529"/>
                </a:cubicBezTo>
                <a:lnTo>
                  <a:pt x="1548127" y="3047529"/>
                </a:lnTo>
                <a:cubicBezTo>
                  <a:pt x="1521457" y="3047529"/>
                  <a:pt x="1504312" y="3064675"/>
                  <a:pt x="1504312" y="3084677"/>
                </a:cubicBezTo>
                <a:cubicBezTo>
                  <a:pt x="1504312" y="3104680"/>
                  <a:pt x="1521457" y="3122778"/>
                  <a:pt x="1547174" y="3122778"/>
                </a:cubicBezTo>
                <a:cubicBezTo>
                  <a:pt x="1561462" y="3122778"/>
                  <a:pt x="1574797" y="3118015"/>
                  <a:pt x="1581464" y="3108490"/>
                </a:cubicBezTo>
                <a:lnTo>
                  <a:pt x="1581464" y="3119920"/>
                </a:lnTo>
                <a:lnTo>
                  <a:pt x="1615754" y="3119920"/>
                </a:lnTo>
                <a:lnTo>
                  <a:pt x="1615754" y="3039909"/>
                </a:lnTo>
                <a:cubicBezTo>
                  <a:pt x="1615754" y="3007524"/>
                  <a:pt x="1591942" y="2995141"/>
                  <a:pt x="1562414" y="2995141"/>
                </a:cubicBezTo>
                <a:close/>
                <a:moveTo>
                  <a:pt x="1145220" y="2995141"/>
                </a:moveTo>
                <a:cubicBezTo>
                  <a:pt x="1115693" y="2995141"/>
                  <a:pt x="1092833" y="3010381"/>
                  <a:pt x="1092833" y="3010381"/>
                </a:cubicBezTo>
                <a:lnTo>
                  <a:pt x="1106168" y="3036099"/>
                </a:lnTo>
                <a:cubicBezTo>
                  <a:pt x="1114740" y="3030384"/>
                  <a:pt x="1129028" y="3024669"/>
                  <a:pt x="1142363" y="3024669"/>
                </a:cubicBezTo>
                <a:cubicBezTo>
                  <a:pt x="1155698" y="3024669"/>
                  <a:pt x="1162365" y="3030384"/>
                  <a:pt x="1162365" y="3038957"/>
                </a:cubicBezTo>
                <a:lnTo>
                  <a:pt x="1163318" y="3039909"/>
                </a:lnTo>
                <a:cubicBezTo>
                  <a:pt x="1163318" y="3044672"/>
                  <a:pt x="1160460" y="3047529"/>
                  <a:pt x="1154745" y="3047529"/>
                </a:cubicBezTo>
                <a:lnTo>
                  <a:pt x="1130933" y="3047529"/>
                </a:lnTo>
                <a:cubicBezTo>
                  <a:pt x="1104263" y="3047529"/>
                  <a:pt x="1087118" y="3064675"/>
                  <a:pt x="1087118" y="3084677"/>
                </a:cubicBezTo>
                <a:cubicBezTo>
                  <a:pt x="1087118" y="3104680"/>
                  <a:pt x="1104263" y="3122778"/>
                  <a:pt x="1129980" y="3122778"/>
                </a:cubicBezTo>
                <a:cubicBezTo>
                  <a:pt x="1144268" y="3122778"/>
                  <a:pt x="1157603" y="3118015"/>
                  <a:pt x="1164270" y="3108490"/>
                </a:cubicBezTo>
                <a:lnTo>
                  <a:pt x="1164270" y="3119920"/>
                </a:lnTo>
                <a:lnTo>
                  <a:pt x="1198560" y="3119920"/>
                </a:lnTo>
                <a:lnTo>
                  <a:pt x="1198560" y="3039909"/>
                </a:lnTo>
                <a:cubicBezTo>
                  <a:pt x="1198560" y="3007524"/>
                  <a:pt x="1174748" y="2995141"/>
                  <a:pt x="1145220" y="2995141"/>
                </a:cubicBezTo>
                <a:close/>
                <a:moveTo>
                  <a:pt x="587056" y="2957040"/>
                </a:moveTo>
                <a:cubicBezTo>
                  <a:pt x="575626" y="2957040"/>
                  <a:pt x="571816" y="2957040"/>
                  <a:pt x="564196" y="2957993"/>
                </a:cubicBezTo>
                <a:cubicBezTo>
                  <a:pt x="551814" y="3001808"/>
                  <a:pt x="550861" y="3049434"/>
                  <a:pt x="564196" y="3095155"/>
                </a:cubicBezTo>
                <a:cubicBezTo>
                  <a:pt x="571816" y="3095155"/>
                  <a:pt x="579436" y="3097060"/>
                  <a:pt x="587056" y="3097060"/>
                </a:cubicBezTo>
                <a:cubicBezTo>
                  <a:pt x="598486" y="3097060"/>
                  <a:pt x="608964" y="3096107"/>
                  <a:pt x="619441" y="3094202"/>
                </a:cubicBezTo>
                <a:cubicBezTo>
                  <a:pt x="605154" y="3057054"/>
                  <a:pt x="603249" y="3016096"/>
                  <a:pt x="613726" y="2977043"/>
                </a:cubicBezTo>
                <a:cubicBezTo>
                  <a:pt x="615631" y="2971328"/>
                  <a:pt x="617536" y="2965613"/>
                  <a:pt x="619441" y="2959898"/>
                </a:cubicBezTo>
                <a:cubicBezTo>
                  <a:pt x="608964" y="2957993"/>
                  <a:pt x="598486" y="2957040"/>
                  <a:pt x="587056" y="2957040"/>
                </a:cubicBezTo>
                <a:close/>
                <a:moveTo>
                  <a:pt x="1647187" y="2952278"/>
                </a:moveTo>
                <a:lnTo>
                  <a:pt x="1647187" y="2998951"/>
                </a:lnTo>
                <a:lnTo>
                  <a:pt x="1628137" y="2998951"/>
                </a:lnTo>
                <a:lnTo>
                  <a:pt x="1628137" y="3028479"/>
                </a:lnTo>
                <a:lnTo>
                  <a:pt x="1647187" y="3028479"/>
                </a:lnTo>
                <a:lnTo>
                  <a:pt x="1647187" y="3095155"/>
                </a:lnTo>
                <a:cubicBezTo>
                  <a:pt x="1647187" y="3119920"/>
                  <a:pt x="1665284" y="3122778"/>
                  <a:pt x="1682429" y="3122778"/>
                </a:cubicBezTo>
                <a:cubicBezTo>
                  <a:pt x="1691954" y="3122778"/>
                  <a:pt x="1709099" y="3120873"/>
                  <a:pt x="1709099" y="3120873"/>
                </a:cubicBezTo>
                <a:lnTo>
                  <a:pt x="1709099" y="3091345"/>
                </a:lnTo>
                <a:cubicBezTo>
                  <a:pt x="1709099" y="3091345"/>
                  <a:pt x="1701479" y="3091345"/>
                  <a:pt x="1692907" y="3091345"/>
                </a:cubicBezTo>
                <a:cubicBezTo>
                  <a:pt x="1687192" y="3091345"/>
                  <a:pt x="1681477" y="3090392"/>
                  <a:pt x="1681477" y="3082772"/>
                </a:cubicBezTo>
                <a:lnTo>
                  <a:pt x="1681477" y="3027526"/>
                </a:lnTo>
                <a:lnTo>
                  <a:pt x="1708147" y="3027526"/>
                </a:lnTo>
                <a:lnTo>
                  <a:pt x="1708147" y="2997998"/>
                </a:lnTo>
                <a:lnTo>
                  <a:pt x="1681477" y="2997998"/>
                </a:lnTo>
                <a:lnTo>
                  <a:pt x="1681477" y="2952278"/>
                </a:lnTo>
                <a:close/>
                <a:moveTo>
                  <a:pt x="1341435" y="2934180"/>
                </a:moveTo>
                <a:cubicBezTo>
                  <a:pt x="1329052" y="2934180"/>
                  <a:pt x="1319527" y="2943705"/>
                  <a:pt x="1319527" y="2956088"/>
                </a:cubicBezTo>
                <a:cubicBezTo>
                  <a:pt x="1319527" y="2968471"/>
                  <a:pt x="1329052" y="2977996"/>
                  <a:pt x="1341435" y="2977996"/>
                </a:cubicBezTo>
                <a:cubicBezTo>
                  <a:pt x="1353817" y="2977996"/>
                  <a:pt x="1363342" y="2967518"/>
                  <a:pt x="1363342" y="2956088"/>
                </a:cubicBezTo>
                <a:cubicBezTo>
                  <a:pt x="1363342" y="2944658"/>
                  <a:pt x="1353817" y="2934180"/>
                  <a:pt x="1341435" y="2934180"/>
                </a:cubicBezTo>
                <a:close/>
                <a:moveTo>
                  <a:pt x="1032826" y="2934180"/>
                </a:moveTo>
                <a:lnTo>
                  <a:pt x="1032826" y="3119920"/>
                </a:lnTo>
                <a:lnTo>
                  <a:pt x="1067116" y="3119920"/>
                </a:lnTo>
                <a:lnTo>
                  <a:pt x="1067116" y="2934180"/>
                </a:lnTo>
                <a:close/>
                <a:moveTo>
                  <a:pt x="922336" y="2930370"/>
                </a:moveTo>
                <a:cubicBezTo>
                  <a:pt x="867091" y="2930370"/>
                  <a:pt x="825181" y="2970376"/>
                  <a:pt x="825181" y="3026574"/>
                </a:cubicBezTo>
                <a:cubicBezTo>
                  <a:pt x="825181" y="3082772"/>
                  <a:pt x="880426" y="3122778"/>
                  <a:pt x="922336" y="3122778"/>
                </a:cubicBezTo>
                <a:cubicBezTo>
                  <a:pt x="964246" y="3122778"/>
                  <a:pt x="1003298" y="3097060"/>
                  <a:pt x="1013776" y="3053244"/>
                </a:cubicBezTo>
                <a:lnTo>
                  <a:pt x="973771" y="3053244"/>
                </a:lnTo>
                <a:cubicBezTo>
                  <a:pt x="967103" y="3075152"/>
                  <a:pt x="948053" y="3088488"/>
                  <a:pt x="923288" y="3088488"/>
                </a:cubicBezTo>
                <a:cubicBezTo>
                  <a:pt x="888046" y="3088488"/>
                  <a:pt x="865186" y="3061817"/>
                  <a:pt x="865186" y="3026574"/>
                </a:cubicBezTo>
                <a:cubicBezTo>
                  <a:pt x="865186" y="2991331"/>
                  <a:pt x="888046" y="2964661"/>
                  <a:pt x="923288" y="2964661"/>
                </a:cubicBezTo>
                <a:cubicBezTo>
                  <a:pt x="947101" y="2964661"/>
                  <a:pt x="966151" y="2977996"/>
                  <a:pt x="972818" y="2999904"/>
                </a:cubicBezTo>
                <a:lnTo>
                  <a:pt x="1013776" y="2999904"/>
                </a:lnTo>
                <a:cubicBezTo>
                  <a:pt x="1002346" y="2956088"/>
                  <a:pt x="977581" y="2930370"/>
                  <a:pt x="922336" y="2930370"/>
                </a:cubicBezTo>
                <a:close/>
                <a:moveTo>
                  <a:pt x="646112" y="2910367"/>
                </a:moveTo>
                <a:cubicBezTo>
                  <a:pt x="634682" y="2925607"/>
                  <a:pt x="626109" y="2941800"/>
                  <a:pt x="619442" y="2958945"/>
                </a:cubicBezTo>
                <a:cubicBezTo>
                  <a:pt x="666114" y="2966565"/>
                  <a:pt x="707072" y="2991331"/>
                  <a:pt x="735647" y="3026574"/>
                </a:cubicBezTo>
                <a:cubicBezTo>
                  <a:pt x="747077" y="3012286"/>
                  <a:pt x="757554" y="2996093"/>
                  <a:pt x="764222" y="2978948"/>
                </a:cubicBezTo>
                <a:cubicBezTo>
                  <a:pt x="732789" y="2946563"/>
                  <a:pt x="691832" y="2921797"/>
                  <a:pt x="646112" y="2910367"/>
                </a:cubicBezTo>
                <a:close/>
                <a:moveTo>
                  <a:pt x="0" y="0"/>
                </a:moveTo>
                <a:lnTo>
                  <a:pt x="12192000" y="0"/>
                </a:lnTo>
                <a:lnTo>
                  <a:pt x="12192000" y="3429000"/>
                </a:lnTo>
                <a:lnTo>
                  <a:pt x="8040688" y="3429000"/>
                </a:lnTo>
                <a:lnTo>
                  <a:pt x="7499776" y="3429000"/>
                </a:lnTo>
                <a:lnTo>
                  <a:pt x="0" y="3429000"/>
                </a:lnTo>
                <a:close/>
              </a:path>
            </a:pathLst>
          </a:custGeom>
          <a:solidFill>
            <a:schemeClr val="bg1">
              <a:lumMod val="95000"/>
            </a:schemeClr>
          </a:solidFill>
          <a:ln>
            <a:noFill/>
          </a:ln>
        </p:spPr>
        <p:txBody>
          <a:bodyPr wrap="square" tIns="108000" anchor="t" anchorCtr="0">
            <a:noAutofit/>
          </a:bodyPr>
          <a:lstStyle>
            <a:lvl1pPr marL="0" indent="0" algn="ctr">
              <a:buNone/>
              <a:defRPr sz="1000">
                <a:solidFill>
                  <a:schemeClr val="accent2"/>
                </a:solidFill>
                <a:latin typeface="+mn-lt"/>
              </a:defRPr>
            </a:lvl1pPr>
          </a:lstStyle>
          <a:p>
            <a:pPr lvl="0"/>
            <a:r>
              <a:rPr lang="en-US"/>
              <a:t>Drag picture file here or click </a:t>
            </a:r>
            <a:r>
              <a:rPr lang="en-US" noProof="0"/>
              <a:t>center</a:t>
            </a:r>
            <a:r>
              <a:rPr lang="en-US"/>
              <a:t> icon to insert light image</a:t>
            </a:r>
          </a:p>
        </p:txBody>
      </p:sp>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251885"/>
          </a:xfrm>
        </p:spPr>
        <p:txBody>
          <a:bodyPr/>
          <a:lstStyle>
            <a:lvl1pPr>
              <a:defRPr/>
            </a:lvl1pPr>
          </a:lstStyle>
          <a:p>
            <a:r>
              <a:rPr lang="en-US"/>
              <a:t>Header avenir demi</a:t>
            </a:r>
            <a:endParaRPr lang="en-GB"/>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7" name="Text Placeholder 12">
            <a:extLst>
              <a:ext uri="{FF2B5EF4-FFF2-40B4-BE49-F238E27FC236}">
                <a16:creationId xmlns:a16="http://schemas.microsoft.com/office/drawing/2014/main" id="{841E26EB-9911-0A6E-407B-8667159EEC13}"/>
              </a:ext>
            </a:extLst>
          </p:cNvPr>
          <p:cNvSpPr>
            <a:spLocks noGrp="1"/>
          </p:cNvSpPr>
          <p:nvPr>
            <p:ph type="body" sz="quarter" idx="14"/>
          </p:nvPr>
        </p:nvSpPr>
        <p:spPr>
          <a:xfrm>
            <a:off x="550863" y="1808164"/>
            <a:ext cx="3204000" cy="1441450"/>
          </a:xfrm>
        </p:spPr>
        <p:txBody>
          <a:bodyPr/>
          <a:lstStyle/>
          <a:p>
            <a:pPr lvl="0"/>
            <a:r>
              <a:rPr lang="en-US"/>
              <a:t>Click to edit Master text styles</a:t>
            </a:r>
          </a:p>
          <a:p>
            <a:pPr lvl="1"/>
            <a:r>
              <a:rPr lang="en-US"/>
              <a:t>Second level</a:t>
            </a:r>
          </a:p>
          <a:p>
            <a:pPr lvl="2"/>
            <a:r>
              <a:rPr lang="en-US"/>
              <a:t>Third level</a:t>
            </a:r>
          </a:p>
        </p:txBody>
      </p:sp>
      <p:sp>
        <p:nvSpPr>
          <p:cNvPr id="10" name="Text Placeholder 12">
            <a:extLst>
              <a:ext uri="{FF2B5EF4-FFF2-40B4-BE49-F238E27FC236}">
                <a16:creationId xmlns:a16="http://schemas.microsoft.com/office/drawing/2014/main" id="{45BEBC43-8186-4AEB-F4CF-271F011B0368}"/>
              </a:ext>
            </a:extLst>
          </p:cNvPr>
          <p:cNvSpPr>
            <a:spLocks noGrp="1"/>
          </p:cNvSpPr>
          <p:nvPr>
            <p:ph type="body" sz="quarter" idx="15"/>
          </p:nvPr>
        </p:nvSpPr>
        <p:spPr>
          <a:xfrm>
            <a:off x="4295776" y="1808164"/>
            <a:ext cx="3204000" cy="1441450"/>
          </a:xfrm>
        </p:spPr>
        <p:txBody>
          <a:bodyPr/>
          <a:lstStyle/>
          <a:p>
            <a:pPr lvl="0"/>
            <a:r>
              <a:rPr lang="en-US"/>
              <a:t>Click to edit Master text styles</a:t>
            </a:r>
          </a:p>
          <a:p>
            <a:pPr lvl="1"/>
            <a:r>
              <a:rPr lang="en-US"/>
              <a:t>Second level</a:t>
            </a:r>
          </a:p>
          <a:p>
            <a:pPr lvl="2"/>
            <a:r>
              <a:rPr lang="en-US"/>
              <a:t>Third level</a:t>
            </a:r>
          </a:p>
        </p:txBody>
      </p:sp>
      <p:sp>
        <p:nvSpPr>
          <p:cNvPr id="11" name="Text Placeholder 12">
            <a:extLst>
              <a:ext uri="{FF2B5EF4-FFF2-40B4-BE49-F238E27FC236}">
                <a16:creationId xmlns:a16="http://schemas.microsoft.com/office/drawing/2014/main" id="{042CC176-3CD8-0372-5942-EAD056B059E7}"/>
              </a:ext>
            </a:extLst>
          </p:cNvPr>
          <p:cNvSpPr>
            <a:spLocks noGrp="1"/>
          </p:cNvSpPr>
          <p:nvPr>
            <p:ph type="body" sz="quarter" idx="16"/>
          </p:nvPr>
        </p:nvSpPr>
        <p:spPr>
          <a:xfrm>
            <a:off x="8040687" y="1808164"/>
            <a:ext cx="3204000" cy="1441450"/>
          </a:xfrm>
        </p:spPr>
        <p:txBody>
          <a:body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7" y="6348353"/>
            <a:ext cx="3292474" cy="215901"/>
          </a:xfrm>
        </p:spPr>
        <p:txBody>
          <a:bodyPr/>
          <a:lstStyle>
            <a:lvl1pPr>
              <a:defRPr>
                <a:solidFill>
                  <a:schemeClr val="tx1"/>
                </a:solidFill>
              </a:defRPr>
            </a:lvl1p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spTree>
    <p:extLst>
      <p:ext uri="{BB962C8B-B14F-4D97-AF65-F5344CB8AC3E}">
        <p14:creationId xmlns:p14="http://schemas.microsoft.com/office/powerpoint/2010/main" val="35149043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x Columns - Blue / Purpl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DAD0FDE-F3B7-E9ED-8FBE-820CEDD9BD52}"/>
              </a:ext>
            </a:extLst>
          </p:cNvPr>
          <p:cNvSpPr/>
          <p:nvPr userDrawn="1"/>
        </p:nvSpPr>
        <p:spPr>
          <a:xfrm rot="10800000">
            <a:off x="8040684" y="0"/>
            <a:ext cx="4151311" cy="6858000"/>
          </a:xfrm>
          <a:prstGeom prst="rect">
            <a:avLst/>
          </a:pr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1" name="Text Placeholder 12">
            <a:extLst>
              <a:ext uri="{FF2B5EF4-FFF2-40B4-BE49-F238E27FC236}">
                <a16:creationId xmlns:a16="http://schemas.microsoft.com/office/drawing/2014/main" id="{CBD94631-F21A-E9A8-E18B-36A8C2123E83}"/>
              </a:ext>
            </a:extLst>
          </p:cNvPr>
          <p:cNvSpPr>
            <a:spLocks noGrp="1"/>
          </p:cNvSpPr>
          <p:nvPr>
            <p:ph type="body" sz="quarter" idx="14"/>
          </p:nvPr>
        </p:nvSpPr>
        <p:spPr>
          <a:xfrm>
            <a:off x="550864"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12" name="Text Placeholder 12">
            <a:extLst>
              <a:ext uri="{FF2B5EF4-FFF2-40B4-BE49-F238E27FC236}">
                <a16:creationId xmlns:a16="http://schemas.microsoft.com/office/drawing/2014/main" id="{78E62AFA-8CAC-DF8F-ECBF-F7D5E587FEDD}"/>
              </a:ext>
            </a:extLst>
          </p:cNvPr>
          <p:cNvSpPr>
            <a:spLocks noGrp="1"/>
          </p:cNvSpPr>
          <p:nvPr>
            <p:ph type="body" sz="quarter" idx="17"/>
          </p:nvPr>
        </p:nvSpPr>
        <p:spPr>
          <a:xfrm>
            <a:off x="4295151"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FB29449A-7F88-8F52-2169-99B80B568955}"/>
              </a:ext>
            </a:extLst>
          </p:cNvPr>
          <p:cNvSpPr>
            <a:spLocks noGrp="1"/>
          </p:cNvSpPr>
          <p:nvPr>
            <p:ph type="body" sz="quarter" idx="18"/>
          </p:nvPr>
        </p:nvSpPr>
        <p:spPr>
          <a:xfrm>
            <a:off x="8437136" y="1808163"/>
            <a:ext cx="3204000" cy="4321175"/>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93369339"/>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Horizontal Split - 3x Col / Dark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58867A9-9407-75CF-0561-28134BDEED22}"/>
              </a:ext>
              <a:ext uri="{C183D7F6-B498-43B3-948B-1728B52AA6E4}">
                <adec:decorative xmlns:adec="http://schemas.microsoft.com/office/drawing/2017/decorative" val="1"/>
              </a:ext>
            </a:extLst>
          </p:cNvPr>
          <p:cNvSpPr/>
          <p:nvPr userDrawn="1"/>
        </p:nvSpPr>
        <p:spPr>
          <a:xfrm>
            <a:off x="0" y="6129338"/>
            <a:ext cx="2279650" cy="7286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Picture Placeholder 13">
            <a:extLst>
              <a:ext uri="{FF2B5EF4-FFF2-40B4-BE49-F238E27FC236}">
                <a16:creationId xmlns:a16="http://schemas.microsoft.com/office/drawing/2014/main" id="{8CFA6BBC-586D-E0A3-EF35-77D4AFC290B5}"/>
              </a:ext>
              <a:ext uri="{C183D7F6-B498-43B3-948B-1728B52AA6E4}">
                <adec:decorative xmlns:adec="http://schemas.microsoft.com/office/drawing/2017/decorative" val="1"/>
              </a:ext>
            </a:extLst>
          </p:cNvPr>
          <p:cNvSpPr>
            <a:spLocks noGrp="1"/>
          </p:cNvSpPr>
          <p:nvPr>
            <p:ph type="pic" sz="quarter" idx="20" hasCustomPrompt="1"/>
          </p:nvPr>
        </p:nvSpPr>
        <p:spPr>
          <a:xfrm>
            <a:off x="0" y="3429000"/>
            <a:ext cx="12192000" cy="3429000"/>
          </a:xfrm>
          <a:custGeom>
            <a:avLst/>
            <a:gdLst>
              <a:gd name="connsiteX0" fmla="*/ 1579559 w 12192000"/>
              <a:gd name="connsiteY0" fmla="*/ 3067532 h 3429000"/>
              <a:gd name="connsiteX1" fmla="*/ 1579559 w 12192000"/>
              <a:gd name="connsiteY1" fmla="*/ 3076105 h 3429000"/>
              <a:gd name="connsiteX2" fmla="*/ 1555747 w 12192000"/>
              <a:gd name="connsiteY2" fmla="*/ 3098013 h 3429000"/>
              <a:gd name="connsiteX3" fmla="*/ 1538602 w 12192000"/>
              <a:gd name="connsiteY3" fmla="*/ 3083725 h 3429000"/>
              <a:gd name="connsiteX4" fmla="*/ 1555747 w 12192000"/>
              <a:gd name="connsiteY4" fmla="*/ 3070390 h 3429000"/>
              <a:gd name="connsiteX5" fmla="*/ 1569082 w 12192000"/>
              <a:gd name="connsiteY5" fmla="*/ 3070390 h 3429000"/>
              <a:gd name="connsiteX6" fmla="*/ 1579559 w 12192000"/>
              <a:gd name="connsiteY6" fmla="*/ 3067532 h 3429000"/>
              <a:gd name="connsiteX7" fmla="*/ 1162365 w 12192000"/>
              <a:gd name="connsiteY7" fmla="*/ 3067532 h 3429000"/>
              <a:gd name="connsiteX8" fmla="*/ 1162365 w 12192000"/>
              <a:gd name="connsiteY8" fmla="*/ 3076105 h 3429000"/>
              <a:gd name="connsiteX9" fmla="*/ 1138553 w 12192000"/>
              <a:gd name="connsiteY9" fmla="*/ 3098013 h 3429000"/>
              <a:gd name="connsiteX10" fmla="*/ 1121408 w 12192000"/>
              <a:gd name="connsiteY10" fmla="*/ 3083725 h 3429000"/>
              <a:gd name="connsiteX11" fmla="*/ 1138553 w 12192000"/>
              <a:gd name="connsiteY11" fmla="*/ 3070390 h 3429000"/>
              <a:gd name="connsiteX12" fmla="*/ 1151888 w 12192000"/>
              <a:gd name="connsiteY12" fmla="*/ 3070390 h 3429000"/>
              <a:gd name="connsiteX13" fmla="*/ 1162365 w 12192000"/>
              <a:gd name="connsiteY13" fmla="*/ 3067532 h 3429000"/>
              <a:gd name="connsiteX14" fmla="*/ 736599 w 12192000"/>
              <a:gd name="connsiteY14" fmla="*/ 3026574 h 3429000"/>
              <a:gd name="connsiteX15" fmla="*/ 619442 w 12192000"/>
              <a:gd name="connsiteY15" fmla="*/ 3094203 h 3429000"/>
              <a:gd name="connsiteX16" fmla="*/ 632777 w 12192000"/>
              <a:gd name="connsiteY16" fmla="*/ 3123731 h 3429000"/>
              <a:gd name="connsiteX17" fmla="*/ 646112 w 12192000"/>
              <a:gd name="connsiteY17" fmla="*/ 3142781 h 3429000"/>
              <a:gd name="connsiteX18" fmla="*/ 765174 w 12192000"/>
              <a:gd name="connsiteY18" fmla="*/ 3074200 h 3429000"/>
              <a:gd name="connsiteX19" fmla="*/ 736599 w 12192000"/>
              <a:gd name="connsiteY19" fmla="*/ 3026574 h 3429000"/>
              <a:gd name="connsiteX20" fmla="*/ 1781490 w 12192000"/>
              <a:gd name="connsiteY20" fmla="*/ 3023716 h 3429000"/>
              <a:gd name="connsiteX21" fmla="*/ 1808160 w 12192000"/>
              <a:gd name="connsiteY21" fmla="*/ 3045624 h 3429000"/>
              <a:gd name="connsiteX22" fmla="*/ 1753867 w 12192000"/>
              <a:gd name="connsiteY22" fmla="*/ 3045624 h 3429000"/>
              <a:gd name="connsiteX23" fmla="*/ 1781490 w 12192000"/>
              <a:gd name="connsiteY23" fmla="*/ 3023716 h 3429000"/>
              <a:gd name="connsiteX24" fmla="*/ 1309050 w 12192000"/>
              <a:gd name="connsiteY24" fmla="*/ 2997999 h 3429000"/>
              <a:gd name="connsiteX25" fmla="*/ 1309050 w 12192000"/>
              <a:gd name="connsiteY25" fmla="*/ 3027526 h 3429000"/>
              <a:gd name="connsiteX26" fmla="*/ 1326195 w 12192000"/>
              <a:gd name="connsiteY26" fmla="*/ 3027526 h 3429000"/>
              <a:gd name="connsiteX27" fmla="*/ 1326195 w 12192000"/>
              <a:gd name="connsiteY27" fmla="*/ 3119920 h 3429000"/>
              <a:gd name="connsiteX28" fmla="*/ 1360485 w 12192000"/>
              <a:gd name="connsiteY28" fmla="*/ 3119920 h 3429000"/>
              <a:gd name="connsiteX29" fmla="*/ 1360485 w 12192000"/>
              <a:gd name="connsiteY29" fmla="*/ 2997999 h 3429000"/>
              <a:gd name="connsiteX30" fmla="*/ 1372868 w 12192000"/>
              <a:gd name="connsiteY30" fmla="*/ 2997998 h 3429000"/>
              <a:gd name="connsiteX31" fmla="*/ 1414778 w 12192000"/>
              <a:gd name="connsiteY31" fmla="*/ 3119920 h 3429000"/>
              <a:gd name="connsiteX32" fmla="*/ 1457640 w 12192000"/>
              <a:gd name="connsiteY32" fmla="*/ 3119920 h 3429000"/>
              <a:gd name="connsiteX33" fmla="*/ 1501455 w 12192000"/>
              <a:gd name="connsiteY33" fmla="*/ 2997998 h 3429000"/>
              <a:gd name="connsiteX34" fmla="*/ 1465260 w 12192000"/>
              <a:gd name="connsiteY34" fmla="*/ 2997998 h 3429000"/>
              <a:gd name="connsiteX35" fmla="*/ 1437638 w 12192000"/>
              <a:gd name="connsiteY35" fmla="*/ 3082772 h 3429000"/>
              <a:gd name="connsiteX36" fmla="*/ 1410015 w 12192000"/>
              <a:gd name="connsiteY36" fmla="*/ 2997998 h 3429000"/>
              <a:gd name="connsiteX37" fmla="*/ 1781490 w 12192000"/>
              <a:gd name="connsiteY37" fmla="*/ 2996093 h 3429000"/>
              <a:gd name="connsiteX38" fmla="*/ 1718625 w 12192000"/>
              <a:gd name="connsiteY38" fmla="*/ 3059912 h 3429000"/>
              <a:gd name="connsiteX39" fmla="*/ 1782442 w 12192000"/>
              <a:gd name="connsiteY39" fmla="*/ 3123730 h 3429000"/>
              <a:gd name="connsiteX40" fmla="*/ 1843402 w 12192000"/>
              <a:gd name="connsiteY40" fmla="*/ 3085629 h 3429000"/>
              <a:gd name="connsiteX41" fmla="*/ 1807207 w 12192000"/>
              <a:gd name="connsiteY41" fmla="*/ 3081819 h 3429000"/>
              <a:gd name="connsiteX42" fmla="*/ 1782442 w 12192000"/>
              <a:gd name="connsiteY42" fmla="*/ 3094202 h 3429000"/>
              <a:gd name="connsiteX43" fmla="*/ 1754820 w 12192000"/>
              <a:gd name="connsiteY43" fmla="*/ 3069437 h 3429000"/>
              <a:gd name="connsiteX44" fmla="*/ 1845307 w 12192000"/>
              <a:gd name="connsiteY44" fmla="*/ 3069437 h 3429000"/>
              <a:gd name="connsiteX45" fmla="*/ 1845307 w 12192000"/>
              <a:gd name="connsiteY45" fmla="*/ 3068484 h 3429000"/>
              <a:gd name="connsiteX46" fmla="*/ 1781490 w 12192000"/>
              <a:gd name="connsiteY46" fmla="*/ 2996093 h 3429000"/>
              <a:gd name="connsiteX47" fmla="*/ 1282380 w 12192000"/>
              <a:gd name="connsiteY47" fmla="*/ 2996093 h 3429000"/>
              <a:gd name="connsiteX48" fmla="*/ 1250947 w 12192000"/>
              <a:gd name="connsiteY48" fmla="*/ 3017048 h 3429000"/>
              <a:gd name="connsiteX49" fmla="*/ 1250947 w 12192000"/>
              <a:gd name="connsiteY49" fmla="*/ 2997998 h 3429000"/>
              <a:gd name="connsiteX50" fmla="*/ 1217610 w 12192000"/>
              <a:gd name="connsiteY50" fmla="*/ 2997998 h 3429000"/>
              <a:gd name="connsiteX51" fmla="*/ 1217610 w 12192000"/>
              <a:gd name="connsiteY51" fmla="*/ 3119920 h 3429000"/>
              <a:gd name="connsiteX52" fmla="*/ 1251900 w 12192000"/>
              <a:gd name="connsiteY52" fmla="*/ 3119920 h 3429000"/>
              <a:gd name="connsiteX53" fmla="*/ 1251900 w 12192000"/>
              <a:gd name="connsiteY53" fmla="*/ 3061817 h 3429000"/>
              <a:gd name="connsiteX54" fmla="*/ 1277617 w 12192000"/>
              <a:gd name="connsiteY54" fmla="*/ 3032289 h 3429000"/>
              <a:gd name="connsiteX55" fmla="*/ 1291905 w 12192000"/>
              <a:gd name="connsiteY55" fmla="*/ 3032289 h 3429000"/>
              <a:gd name="connsiteX56" fmla="*/ 1291905 w 12192000"/>
              <a:gd name="connsiteY56" fmla="*/ 2997046 h 3429000"/>
              <a:gd name="connsiteX57" fmla="*/ 1282380 w 12192000"/>
              <a:gd name="connsiteY57" fmla="*/ 2996093 h 3429000"/>
              <a:gd name="connsiteX58" fmla="*/ 1562414 w 12192000"/>
              <a:gd name="connsiteY58" fmla="*/ 2995141 h 3429000"/>
              <a:gd name="connsiteX59" fmla="*/ 1510027 w 12192000"/>
              <a:gd name="connsiteY59" fmla="*/ 3010381 h 3429000"/>
              <a:gd name="connsiteX60" fmla="*/ 1523362 w 12192000"/>
              <a:gd name="connsiteY60" fmla="*/ 3036099 h 3429000"/>
              <a:gd name="connsiteX61" fmla="*/ 1559557 w 12192000"/>
              <a:gd name="connsiteY61" fmla="*/ 3024669 h 3429000"/>
              <a:gd name="connsiteX62" fmla="*/ 1579559 w 12192000"/>
              <a:gd name="connsiteY62" fmla="*/ 3038957 h 3429000"/>
              <a:gd name="connsiteX63" fmla="*/ 1580512 w 12192000"/>
              <a:gd name="connsiteY63" fmla="*/ 3039909 h 3429000"/>
              <a:gd name="connsiteX64" fmla="*/ 1571939 w 12192000"/>
              <a:gd name="connsiteY64" fmla="*/ 3047529 h 3429000"/>
              <a:gd name="connsiteX65" fmla="*/ 1548127 w 12192000"/>
              <a:gd name="connsiteY65" fmla="*/ 3047529 h 3429000"/>
              <a:gd name="connsiteX66" fmla="*/ 1504312 w 12192000"/>
              <a:gd name="connsiteY66" fmla="*/ 3084677 h 3429000"/>
              <a:gd name="connsiteX67" fmla="*/ 1547174 w 12192000"/>
              <a:gd name="connsiteY67" fmla="*/ 3122778 h 3429000"/>
              <a:gd name="connsiteX68" fmla="*/ 1581464 w 12192000"/>
              <a:gd name="connsiteY68" fmla="*/ 3108490 h 3429000"/>
              <a:gd name="connsiteX69" fmla="*/ 1581464 w 12192000"/>
              <a:gd name="connsiteY69" fmla="*/ 3119920 h 3429000"/>
              <a:gd name="connsiteX70" fmla="*/ 1615754 w 12192000"/>
              <a:gd name="connsiteY70" fmla="*/ 3119920 h 3429000"/>
              <a:gd name="connsiteX71" fmla="*/ 1615754 w 12192000"/>
              <a:gd name="connsiteY71" fmla="*/ 3039909 h 3429000"/>
              <a:gd name="connsiteX72" fmla="*/ 1562414 w 12192000"/>
              <a:gd name="connsiteY72" fmla="*/ 2995141 h 3429000"/>
              <a:gd name="connsiteX73" fmla="*/ 1145220 w 12192000"/>
              <a:gd name="connsiteY73" fmla="*/ 2995141 h 3429000"/>
              <a:gd name="connsiteX74" fmla="*/ 1092833 w 12192000"/>
              <a:gd name="connsiteY74" fmla="*/ 3010381 h 3429000"/>
              <a:gd name="connsiteX75" fmla="*/ 1106168 w 12192000"/>
              <a:gd name="connsiteY75" fmla="*/ 3036099 h 3429000"/>
              <a:gd name="connsiteX76" fmla="*/ 1142363 w 12192000"/>
              <a:gd name="connsiteY76" fmla="*/ 3024669 h 3429000"/>
              <a:gd name="connsiteX77" fmla="*/ 1162365 w 12192000"/>
              <a:gd name="connsiteY77" fmla="*/ 3038957 h 3429000"/>
              <a:gd name="connsiteX78" fmla="*/ 1163318 w 12192000"/>
              <a:gd name="connsiteY78" fmla="*/ 3039909 h 3429000"/>
              <a:gd name="connsiteX79" fmla="*/ 1154745 w 12192000"/>
              <a:gd name="connsiteY79" fmla="*/ 3047529 h 3429000"/>
              <a:gd name="connsiteX80" fmla="*/ 1130933 w 12192000"/>
              <a:gd name="connsiteY80" fmla="*/ 3047529 h 3429000"/>
              <a:gd name="connsiteX81" fmla="*/ 1087118 w 12192000"/>
              <a:gd name="connsiteY81" fmla="*/ 3084677 h 3429000"/>
              <a:gd name="connsiteX82" fmla="*/ 1129980 w 12192000"/>
              <a:gd name="connsiteY82" fmla="*/ 3122778 h 3429000"/>
              <a:gd name="connsiteX83" fmla="*/ 1164270 w 12192000"/>
              <a:gd name="connsiteY83" fmla="*/ 3108490 h 3429000"/>
              <a:gd name="connsiteX84" fmla="*/ 1164270 w 12192000"/>
              <a:gd name="connsiteY84" fmla="*/ 3119920 h 3429000"/>
              <a:gd name="connsiteX85" fmla="*/ 1198560 w 12192000"/>
              <a:gd name="connsiteY85" fmla="*/ 3119920 h 3429000"/>
              <a:gd name="connsiteX86" fmla="*/ 1198560 w 12192000"/>
              <a:gd name="connsiteY86" fmla="*/ 3039909 h 3429000"/>
              <a:gd name="connsiteX87" fmla="*/ 1145220 w 12192000"/>
              <a:gd name="connsiteY87" fmla="*/ 2995141 h 3429000"/>
              <a:gd name="connsiteX88" fmla="*/ 587056 w 12192000"/>
              <a:gd name="connsiteY88" fmla="*/ 2957040 h 3429000"/>
              <a:gd name="connsiteX89" fmla="*/ 564196 w 12192000"/>
              <a:gd name="connsiteY89" fmla="*/ 2957993 h 3429000"/>
              <a:gd name="connsiteX90" fmla="*/ 564196 w 12192000"/>
              <a:gd name="connsiteY90" fmla="*/ 3095155 h 3429000"/>
              <a:gd name="connsiteX91" fmla="*/ 587056 w 12192000"/>
              <a:gd name="connsiteY91" fmla="*/ 3097060 h 3429000"/>
              <a:gd name="connsiteX92" fmla="*/ 619441 w 12192000"/>
              <a:gd name="connsiteY92" fmla="*/ 3094202 h 3429000"/>
              <a:gd name="connsiteX93" fmla="*/ 613726 w 12192000"/>
              <a:gd name="connsiteY93" fmla="*/ 2977043 h 3429000"/>
              <a:gd name="connsiteX94" fmla="*/ 619441 w 12192000"/>
              <a:gd name="connsiteY94" fmla="*/ 2959898 h 3429000"/>
              <a:gd name="connsiteX95" fmla="*/ 587056 w 12192000"/>
              <a:gd name="connsiteY95" fmla="*/ 2957040 h 3429000"/>
              <a:gd name="connsiteX96" fmla="*/ 1647187 w 12192000"/>
              <a:gd name="connsiteY96" fmla="*/ 2952278 h 3429000"/>
              <a:gd name="connsiteX97" fmla="*/ 1647187 w 12192000"/>
              <a:gd name="connsiteY97" fmla="*/ 2998951 h 3429000"/>
              <a:gd name="connsiteX98" fmla="*/ 1628137 w 12192000"/>
              <a:gd name="connsiteY98" fmla="*/ 2998951 h 3429000"/>
              <a:gd name="connsiteX99" fmla="*/ 1628137 w 12192000"/>
              <a:gd name="connsiteY99" fmla="*/ 3028479 h 3429000"/>
              <a:gd name="connsiteX100" fmla="*/ 1647187 w 12192000"/>
              <a:gd name="connsiteY100" fmla="*/ 3028479 h 3429000"/>
              <a:gd name="connsiteX101" fmla="*/ 1647187 w 12192000"/>
              <a:gd name="connsiteY101" fmla="*/ 3095155 h 3429000"/>
              <a:gd name="connsiteX102" fmla="*/ 1682429 w 12192000"/>
              <a:gd name="connsiteY102" fmla="*/ 3122778 h 3429000"/>
              <a:gd name="connsiteX103" fmla="*/ 1709099 w 12192000"/>
              <a:gd name="connsiteY103" fmla="*/ 3120873 h 3429000"/>
              <a:gd name="connsiteX104" fmla="*/ 1709099 w 12192000"/>
              <a:gd name="connsiteY104" fmla="*/ 3091345 h 3429000"/>
              <a:gd name="connsiteX105" fmla="*/ 1692907 w 12192000"/>
              <a:gd name="connsiteY105" fmla="*/ 3091345 h 3429000"/>
              <a:gd name="connsiteX106" fmla="*/ 1681477 w 12192000"/>
              <a:gd name="connsiteY106" fmla="*/ 3082772 h 3429000"/>
              <a:gd name="connsiteX107" fmla="*/ 1681477 w 12192000"/>
              <a:gd name="connsiteY107" fmla="*/ 3027526 h 3429000"/>
              <a:gd name="connsiteX108" fmla="*/ 1708147 w 12192000"/>
              <a:gd name="connsiteY108" fmla="*/ 3027526 h 3429000"/>
              <a:gd name="connsiteX109" fmla="*/ 1708147 w 12192000"/>
              <a:gd name="connsiteY109" fmla="*/ 2997998 h 3429000"/>
              <a:gd name="connsiteX110" fmla="*/ 1681477 w 12192000"/>
              <a:gd name="connsiteY110" fmla="*/ 2997998 h 3429000"/>
              <a:gd name="connsiteX111" fmla="*/ 1681477 w 12192000"/>
              <a:gd name="connsiteY111" fmla="*/ 2952278 h 3429000"/>
              <a:gd name="connsiteX112" fmla="*/ 1341435 w 12192000"/>
              <a:gd name="connsiteY112" fmla="*/ 2934180 h 3429000"/>
              <a:gd name="connsiteX113" fmla="*/ 1319527 w 12192000"/>
              <a:gd name="connsiteY113" fmla="*/ 2956088 h 3429000"/>
              <a:gd name="connsiteX114" fmla="*/ 1341435 w 12192000"/>
              <a:gd name="connsiteY114" fmla="*/ 2977996 h 3429000"/>
              <a:gd name="connsiteX115" fmla="*/ 1363342 w 12192000"/>
              <a:gd name="connsiteY115" fmla="*/ 2956088 h 3429000"/>
              <a:gd name="connsiteX116" fmla="*/ 1341435 w 12192000"/>
              <a:gd name="connsiteY116" fmla="*/ 2934180 h 3429000"/>
              <a:gd name="connsiteX117" fmla="*/ 1032826 w 12192000"/>
              <a:gd name="connsiteY117" fmla="*/ 2934180 h 3429000"/>
              <a:gd name="connsiteX118" fmla="*/ 1032826 w 12192000"/>
              <a:gd name="connsiteY118" fmla="*/ 3119920 h 3429000"/>
              <a:gd name="connsiteX119" fmla="*/ 1067116 w 12192000"/>
              <a:gd name="connsiteY119" fmla="*/ 3119920 h 3429000"/>
              <a:gd name="connsiteX120" fmla="*/ 1067116 w 12192000"/>
              <a:gd name="connsiteY120" fmla="*/ 2934180 h 3429000"/>
              <a:gd name="connsiteX121" fmla="*/ 922336 w 12192000"/>
              <a:gd name="connsiteY121" fmla="*/ 2930370 h 3429000"/>
              <a:gd name="connsiteX122" fmla="*/ 825181 w 12192000"/>
              <a:gd name="connsiteY122" fmla="*/ 3026574 h 3429000"/>
              <a:gd name="connsiteX123" fmla="*/ 922336 w 12192000"/>
              <a:gd name="connsiteY123" fmla="*/ 3122778 h 3429000"/>
              <a:gd name="connsiteX124" fmla="*/ 1013776 w 12192000"/>
              <a:gd name="connsiteY124" fmla="*/ 3053244 h 3429000"/>
              <a:gd name="connsiteX125" fmla="*/ 973771 w 12192000"/>
              <a:gd name="connsiteY125" fmla="*/ 3053244 h 3429000"/>
              <a:gd name="connsiteX126" fmla="*/ 923288 w 12192000"/>
              <a:gd name="connsiteY126" fmla="*/ 3088488 h 3429000"/>
              <a:gd name="connsiteX127" fmla="*/ 865186 w 12192000"/>
              <a:gd name="connsiteY127" fmla="*/ 3026574 h 3429000"/>
              <a:gd name="connsiteX128" fmla="*/ 923288 w 12192000"/>
              <a:gd name="connsiteY128" fmla="*/ 2964661 h 3429000"/>
              <a:gd name="connsiteX129" fmla="*/ 972818 w 12192000"/>
              <a:gd name="connsiteY129" fmla="*/ 2999904 h 3429000"/>
              <a:gd name="connsiteX130" fmla="*/ 1013776 w 12192000"/>
              <a:gd name="connsiteY130" fmla="*/ 2999904 h 3429000"/>
              <a:gd name="connsiteX131" fmla="*/ 922336 w 12192000"/>
              <a:gd name="connsiteY131" fmla="*/ 2930370 h 3429000"/>
              <a:gd name="connsiteX132" fmla="*/ 646112 w 12192000"/>
              <a:gd name="connsiteY132" fmla="*/ 2910367 h 3429000"/>
              <a:gd name="connsiteX133" fmla="*/ 619442 w 12192000"/>
              <a:gd name="connsiteY133" fmla="*/ 2958945 h 3429000"/>
              <a:gd name="connsiteX134" fmla="*/ 735647 w 12192000"/>
              <a:gd name="connsiteY134" fmla="*/ 3026574 h 3429000"/>
              <a:gd name="connsiteX135" fmla="*/ 764222 w 12192000"/>
              <a:gd name="connsiteY135" fmla="*/ 2978948 h 3429000"/>
              <a:gd name="connsiteX136" fmla="*/ 646112 w 12192000"/>
              <a:gd name="connsiteY136" fmla="*/ 2910367 h 3429000"/>
              <a:gd name="connsiteX137" fmla="*/ 0 w 12192000"/>
              <a:gd name="connsiteY137" fmla="*/ 0 h 3429000"/>
              <a:gd name="connsiteX138" fmla="*/ 12192000 w 12192000"/>
              <a:gd name="connsiteY138" fmla="*/ 0 h 3429000"/>
              <a:gd name="connsiteX139" fmla="*/ 12192000 w 12192000"/>
              <a:gd name="connsiteY139" fmla="*/ 3429000 h 3429000"/>
              <a:gd name="connsiteX140" fmla="*/ 8040688 w 12192000"/>
              <a:gd name="connsiteY140" fmla="*/ 3429000 h 3429000"/>
              <a:gd name="connsiteX141" fmla="*/ 7499776 w 12192000"/>
              <a:gd name="connsiteY141" fmla="*/ 3429000 h 3429000"/>
              <a:gd name="connsiteX142" fmla="*/ 0 w 12192000"/>
              <a:gd name="connsiteY142" fmla="*/ 3429000 h 34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2192000" h="3429000">
                <a:moveTo>
                  <a:pt x="1579559" y="3067532"/>
                </a:moveTo>
                <a:lnTo>
                  <a:pt x="1579559" y="3076105"/>
                </a:lnTo>
                <a:cubicBezTo>
                  <a:pt x="1579559" y="3091345"/>
                  <a:pt x="1566224" y="3098013"/>
                  <a:pt x="1555747" y="3098013"/>
                </a:cubicBezTo>
                <a:cubicBezTo>
                  <a:pt x="1545269" y="3098013"/>
                  <a:pt x="1538602" y="3092298"/>
                  <a:pt x="1538602" y="3083725"/>
                </a:cubicBezTo>
                <a:cubicBezTo>
                  <a:pt x="1538602" y="3075152"/>
                  <a:pt x="1545269" y="3070390"/>
                  <a:pt x="1555747" y="3070390"/>
                </a:cubicBezTo>
                <a:lnTo>
                  <a:pt x="1569082" y="3070390"/>
                </a:lnTo>
                <a:cubicBezTo>
                  <a:pt x="1573844" y="3070390"/>
                  <a:pt x="1577654" y="3069437"/>
                  <a:pt x="1579559" y="3067532"/>
                </a:cubicBezTo>
                <a:close/>
                <a:moveTo>
                  <a:pt x="1162365" y="3067532"/>
                </a:moveTo>
                <a:lnTo>
                  <a:pt x="1162365" y="3076105"/>
                </a:lnTo>
                <a:cubicBezTo>
                  <a:pt x="1162365" y="3091345"/>
                  <a:pt x="1149030" y="3098013"/>
                  <a:pt x="1138553" y="3098013"/>
                </a:cubicBezTo>
                <a:cubicBezTo>
                  <a:pt x="1128075" y="3098013"/>
                  <a:pt x="1121408" y="3092298"/>
                  <a:pt x="1121408" y="3083725"/>
                </a:cubicBezTo>
                <a:cubicBezTo>
                  <a:pt x="1121408" y="3075152"/>
                  <a:pt x="1128075" y="3070390"/>
                  <a:pt x="1138553" y="3070390"/>
                </a:cubicBezTo>
                <a:lnTo>
                  <a:pt x="1151888" y="3070390"/>
                </a:lnTo>
                <a:cubicBezTo>
                  <a:pt x="1156650" y="3070390"/>
                  <a:pt x="1160460" y="3069437"/>
                  <a:pt x="1162365" y="3067532"/>
                </a:cubicBezTo>
                <a:close/>
                <a:moveTo>
                  <a:pt x="736599" y="3026574"/>
                </a:moveTo>
                <a:cubicBezTo>
                  <a:pt x="707072" y="3061817"/>
                  <a:pt x="666114" y="3086582"/>
                  <a:pt x="619442" y="3094203"/>
                </a:cubicBezTo>
                <a:cubicBezTo>
                  <a:pt x="623252" y="3103728"/>
                  <a:pt x="628014" y="3114205"/>
                  <a:pt x="632777" y="3123731"/>
                </a:cubicBezTo>
                <a:cubicBezTo>
                  <a:pt x="636587" y="3130398"/>
                  <a:pt x="641349" y="3137066"/>
                  <a:pt x="646112" y="3142781"/>
                </a:cubicBezTo>
                <a:cubicBezTo>
                  <a:pt x="691832" y="3131351"/>
                  <a:pt x="732789" y="3107538"/>
                  <a:pt x="765174" y="3074200"/>
                </a:cubicBezTo>
                <a:cubicBezTo>
                  <a:pt x="757554" y="3057054"/>
                  <a:pt x="748029" y="3040862"/>
                  <a:pt x="736599" y="3026574"/>
                </a:cubicBezTo>
                <a:close/>
                <a:moveTo>
                  <a:pt x="1781490" y="3023716"/>
                </a:moveTo>
                <a:cubicBezTo>
                  <a:pt x="1795777" y="3023716"/>
                  <a:pt x="1806255" y="3033241"/>
                  <a:pt x="1808160" y="3045624"/>
                </a:cubicBezTo>
                <a:lnTo>
                  <a:pt x="1753867" y="3045624"/>
                </a:lnTo>
                <a:cubicBezTo>
                  <a:pt x="1756725" y="3032289"/>
                  <a:pt x="1767202" y="3023716"/>
                  <a:pt x="1781490" y="3023716"/>
                </a:cubicBezTo>
                <a:close/>
                <a:moveTo>
                  <a:pt x="1309050" y="2997999"/>
                </a:moveTo>
                <a:lnTo>
                  <a:pt x="1309050" y="3027526"/>
                </a:lnTo>
                <a:lnTo>
                  <a:pt x="1326195" y="3027526"/>
                </a:lnTo>
                <a:lnTo>
                  <a:pt x="1326195" y="3119920"/>
                </a:lnTo>
                <a:lnTo>
                  <a:pt x="1360485" y="3119920"/>
                </a:lnTo>
                <a:lnTo>
                  <a:pt x="1360485" y="2997999"/>
                </a:lnTo>
                <a:close/>
                <a:moveTo>
                  <a:pt x="1372868" y="2997998"/>
                </a:moveTo>
                <a:lnTo>
                  <a:pt x="1414778" y="3119920"/>
                </a:lnTo>
                <a:lnTo>
                  <a:pt x="1457640" y="3119920"/>
                </a:lnTo>
                <a:lnTo>
                  <a:pt x="1501455" y="2997998"/>
                </a:lnTo>
                <a:lnTo>
                  <a:pt x="1465260" y="2997998"/>
                </a:lnTo>
                <a:lnTo>
                  <a:pt x="1437638" y="3082772"/>
                </a:lnTo>
                <a:lnTo>
                  <a:pt x="1410015" y="2997998"/>
                </a:lnTo>
                <a:close/>
                <a:moveTo>
                  <a:pt x="1781490" y="2996093"/>
                </a:moveTo>
                <a:cubicBezTo>
                  <a:pt x="1745295" y="2996093"/>
                  <a:pt x="1718625" y="3022763"/>
                  <a:pt x="1718625" y="3059912"/>
                </a:cubicBezTo>
                <a:cubicBezTo>
                  <a:pt x="1718625" y="3097060"/>
                  <a:pt x="1754820" y="3123730"/>
                  <a:pt x="1782442" y="3123730"/>
                </a:cubicBezTo>
                <a:cubicBezTo>
                  <a:pt x="1810065" y="3123730"/>
                  <a:pt x="1832925" y="3111347"/>
                  <a:pt x="1843402" y="3085629"/>
                </a:cubicBezTo>
                <a:lnTo>
                  <a:pt x="1807207" y="3081819"/>
                </a:lnTo>
                <a:cubicBezTo>
                  <a:pt x="1802445" y="3089439"/>
                  <a:pt x="1797682" y="3094202"/>
                  <a:pt x="1782442" y="3094202"/>
                </a:cubicBezTo>
                <a:cubicBezTo>
                  <a:pt x="1767202" y="3094202"/>
                  <a:pt x="1756725" y="3082772"/>
                  <a:pt x="1754820" y="3069437"/>
                </a:cubicBezTo>
                <a:lnTo>
                  <a:pt x="1845307" y="3069437"/>
                </a:lnTo>
                <a:lnTo>
                  <a:pt x="1845307" y="3068484"/>
                </a:lnTo>
                <a:cubicBezTo>
                  <a:pt x="1845307" y="3018001"/>
                  <a:pt x="1817685" y="2996093"/>
                  <a:pt x="1781490" y="2996093"/>
                </a:cubicBezTo>
                <a:close/>
                <a:moveTo>
                  <a:pt x="1282380" y="2996093"/>
                </a:moveTo>
                <a:cubicBezTo>
                  <a:pt x="1267140" y="2996093"/>
                  <a:pt x="1255710" y="3003713"/>
                  <a:pt x="1250947" y="3017048"/>
                </a:cubicBezTo>
                <a:lnTo>
                  <a:pt x="1250947" y="2997998"/>
                </a:lnTo>
                <a:lnTo>
                  <a:pt x="1217610" y="2997998"/>
                </a:lnTo>
                <a:lnTo>
                  <a:pt x="1217610" y="3119920"/>
                </a:lnTo>
                <a:lnTo>
                  <a:pt x="1251900" y="3119920"/>
                </a:lnTo>
                <a:lnTo>
                  <a:pt x="1251900" y="3061817"/>
                </a:lnTo>
                <a:cubicBezTo>
                  <a:pt x="1251900" y="3040861"/>
                  <a:pt x="1260472" y="3032289"/>
                  <a:pt x="1277617" y="3032289"/>
                </a:cubicBezTo>
                <a:lnTo>
                  <a:pt x="1291905" y="3032289"/>
                </a:lnTo>
                <a:cubicBezTo>
                  <a:pt x="1291905" y="3032289"/>
                  <a:pt x="1291905" y="2997046"/>
                  <a:pt x="1291905" y="2997046"/>
                </a:cubicBezTo>
                <a:cubicBezTo>
                  <a:pt x="1289047" y="2996093"/>
                  <a:pt x="1297620" y="2996093"/>
                  <a:pt x="1282380" y="2996093"/>
                </a:cubicBezTo>
                <a:close/>
                <a:moveTo>
                  <a:pt x="1562414" y="2995141"/>
                </a:moveTo>
                <a:cubicBezTo>
                  <a:pt x="1532887" y="2995141"/>
                  <a:pt x="1510027" y="3010381"/>
                  <a:pt x="1510027" y="3010381"/>
                </a:cubicBezTo>
                <a:lnTo>
                  <a:pt x="1523362" y="3036099"/>
                </a:lnTo>
                <a:cubicBezTo>
                  <a:pt x="1531934" y="3030384"/>
                  <a:pt x="1546222" y="3024669"/>
                  <a:pt x="1559557" y="3024669"/>
                </a:cubicBezTo>
                <a:cubicBezTo>
                  <a:pt x="1572892" y="3024669"/>
                  <a:pt x="1579559" y="3030384"/>
                  <a:pt x="1579559" y="3038957"/>
                </a:cubicBezTo>
                <a:lnTo>
                  <a:pt x="1580512" y="3039909"/>
                </a:lnTo>
                <a:cubicBezTo>
                  <a:pt x="1580512" y="3044672"/>
                  <a:pt x="1577654" y="3047529"/>
                  <a:pt x="1571939" y="3047529"/>
                </a:cubicBezTo>
                <a:lnTo>
                  <a:pt x="1548127" y="3047529"/>
                </a:lnTo>
                <a:cubicBezTo>
                  <a:pt x="1521457" y="3047529"/>
                  <a:pt x="1504312" y="3064675"/>
                  <a:pt x="1504312" y="3084677"/>
                </a:cubicBezTo>
                <a:cubicBezTo>
                  <a:pt x="1504312" y="3104680"/>
                  <a:pt x="1521457" y="3122778"/>
                  <a:pt x="1547174" y="3122778"/>
                </a:cubicBezTo>
                <a:cubicBezTo>
                  <a:pt x="1561462" y="3122778"/>
                  <a:pt x="1574797" y="3118015"/>
                  <a:pt x="1581464" y="3108490"/>
                </a:cubicBezTo>
                <a:lnTo>
                  <a:pt x="1581464" y="3119920"/>
                </a:lnTo>
                <a:lnTo>
                  <a:pt x="1615754" y="3119920"/>
                </a:lnTo>
                <a:lnTo>
                  <a:pt x="1615754" y="3039909"/>
                </a:lnTo>
                <a:cubicBezTo>
                  <a:pt x="1615754" y="3007524"/>
                  <a:pt x="1591942" y="2995141"/>
                  <a:pt x="1562414" y="2995141"/>
                </a:cubicBezTo>
                <a:close/>
                <a:moveTo>
                  <a:pt x="1145220" y="2995141"/>
                </a:moveTo>
                <a:cubicBezTo>
                  <a:pt x="1115693" y="2995141"/>
                  <a:pt x="1092833" y="3010381"/>
                  <a:pt x="1092833" y="3010381"/>
                </a:cubicBezTo>
                <a:lnTo>
                  <a:pt x="1106168" y="3036099"/>
                </a:lnTo>
                <a:cubicBezTo>
                  <a:pt x="1114740" y="3030384"/>
                  <a:pt x="1129028" y="3024669"/>
                  <a:pt x="1142363" y="3024669"/>
                </a:cubicBezTo>
                <a:cubicBezTo>
                  <a:pt x="1155698" y="3024669"/>
                  <a:pt x="1162365" y="3030384"/>
                  <a:pt x="1162365" y="3038957"/>
                </a:cubicBezTo>
                <a:lnTo>
                  <a:pt x="1163318" y="3039909"/>
                </a:lnTo>
                <a:cubicBezTo>
                  <a:pt x="1163318" y="3044672"/>
                  <a:pt x="1160460" y="3047529"/>
                  <a:pt x="1154745" y="3047529"/>
                </a:cubicBezTo>
                <a:lnTo>
                  <a:pt x="1130933" y="3047529"/>
                </a:lnTo>
                <a:cubicBezTo>
                  <a:pt x="1104263" y="3047529"/>
                  <a:pt x="1087118" y="3064675"/>
                  <a:pt x="1087118" y="3084677"/>
                </a:cubicBezTo>
                <a:cubicBezTo>
                  <a:pt x="1087118" y="3104680"/>
                  <a:pt x="1104263" y="3122778"/>
                  <a:pt x="1129980" y="3122778"/>
                </a:cubicBezTo>
                <a:cubicBezTo>
                  <a:pt x="1144268" y="3122778"/>
                  <a:pt x="1157603" y="3118015"/>
                  <a:pt x="1164270" y="3108490"/>
                </a:cubicBezTo>
                <a:lnTo>
                  <a:pt x="1164270" y="3119920"/>
                </a:lnTo>
                <a:lnTo>
                  <a:pt x="1198560" y="3119920"/>
                </a:lnTo>
                <a:lnTo>
                  <a:pt x="1198560" y="3039909"/>
                </a:lnTo>
                <a:cubicBezTo>
                  <a:pt x="1198560" y="3007524"/>
                  <a:pt x="1174748" y="2995141"/>
                  <a:pt x="1145220" y="2995141"/>
                </a:cubicBezTo>
                <a:close/>
                <a:moveTo>
                  <a:pt x="587056" y="2957040"/>
                </a:moveTo>
                <a:cubicBezTo>
                  <a:pt x="575626" y="2957040"/>
                  <a:pt x="571816" y="2957040"/>
                  <a:pt x="564196" y="2957993"/>
                </a:cubicBezTo>
                <a:cubicBezTo>
                  <a:pt x="551814" y="3001808"/>
                  <a:pt x="550861" y="3049434"/>
                  <a:pt x="564196" y="3095155"/>
                </a:cubicBezTo>
                <a:cubicBezTo>
                  <a:pt x="571816" y="3095155"/>
                  <a:pt x="579436" y="3097060"/>
                  <a:pt x="587056" y="3097060"/>
                </a:cubicBezTo>
                <a:cubicBezTo>
                  <a:pt x="598486" y="3097060"/>
                  <a:pt x="608964" y="3096107"/>
                  <a:pt x="619441" y="3094202"/>
                </a:cubicBezTo>
                <a:cubicBezTo>
                  <a:pt x="605154" y="3057054"/>
                  <a:pt x="603249" y="3016096"/>
                  <a:pt x="613726" y="2977043"/>
                </a:cubicBezTo>
                <a:cubicBezTo>
                  <a:pt x="615631" y="2971328"/>
                  <a:pt x="617536" y="2965613"/>
                  <a:pt x="619441" y="2959898"/>
                </a:cubicBezTo>
                <a:cubicBezTo>
                  <a:pt x="608964" y="2957993"/>
                  <a:pt x="598486" y="2957040"/>
                  <a:pt x="587056" y="2957040"/>
                </a:cubicBezTo>
                <a:close/>
                <a:moveTo>
                  <a:pt x="1647187" y="2952278"/>
                </a:moveTo>
                <a:lnTo>
                  <a:pt x="1647187" y="2998951"/>
                </a:lnTo>
                <a:lnTo>
                  <a:pt x="1628137" y="2998951"/>
                </a:lnTo>
                <a:lnTo>
                  <a:pt x="1628137" y="3028479"/>
                </a:lnTo>
                <a:lnTo>
                  <a:pt x="1647187" y="3028479"/>
                </a:lnTo>
                <a:lnTo>
                  <a:pt x="1647187" y="3095155"/>
                </a:lnTo>
                <a:cubicBezTo>
                  <a:pt x="1647187" y="3119920"/>
                  <a:pt x="1665284" y="3122778"/>
                  <a:pt x="1682429" y="3122778"/>
                </a:cubicBezTo>
                <a:cubicBezTo>
                  <a:pt x="1691954" y="3122778"/>
                  <a:pt x="1709099" y="3120873"/>
                  <a:pt x="1709099" y="3120873"/>
                </a:cubicBezTo>
                <a:lnTo>
                  <a:pt x="1709099" y="3091345"/>
                </a:lnTo>
                <a:cubicBezTo>
                  <a:pt x="1709099" y="3091345"/>
                  <a:pt x="1701479" y="3091345"/>
                  <a:pt x="1692907" y="3091345"/>
                </a:cubicBezTo>
                <a:cubicBezTo>
                  <a:pt x="1687192" y="3091345"/>
                  <a:pt x="1681477" y="3090392"/>
                  <a:pt x="1681477" y="3082772"/>
                </a:cubicBezTo>
                <a:lnTo>
                  <a:pt x="1681477" y="3027526"/>
                </a:lnTo>
                <a:lnTo>
                  <a:pt x="1708147" y="3027526"/>
                </a:lnTo>
                <a:lnTo>
                  <a:pt x="1708147" y="2997998"/>
                </a:lnTo>
                <a:lnTo>
                  <a:pt x="1681477" y="2997998"/>
                </a:lnTo>
                <a:lnTo>
                  <a:pt x="1681477" y="2952278"/>
                </a:lnTo>
                <a:close/>
                <a:moveTo>
                  <a:pt x="1341435" y="2934180"/>
                </a:moveTo>
                <a:cubicBezTo>
                  <a:pt x="1329052" y="2934180"/>
                  <a:pt x="1319527" y="2943705"/>
                  <a:pt x="1319527" y="2956088"/>
                </a:cubicBezTo>
                <a:cubicBezTo>
                  <a:pt x="1319527" y="2968471"/>
                  <a:pt x="1329052" y="2977996"/>
                  <a:pt x="1341435" y="2977996"/>
                </a:cubicBezTo>
                <a:cubicBezTo>
                  <a:pt x="1353817" y="2977996"/>
                  <a:pt x="1363342" y="2967518"/>
                  <a:pt x="1363342" y="2956088"/>
                </a:cubicBezTo>
                <a:cubicBezTo>
                  <a:pt x="1363342" y="2944658"/>
                  <a:pt x="1353817" y="2934180"/>
                  <a:pt x="1341435" y="2934180"/>
                </a:cubicBezTo>
                <a:close/>
                <a:moveTo>
                  <a:pt x="1032826" y="2934180"/>
                </a:moveTo>
                <a:lnTo>
                  <a:pt x="1032826" y="3119920"/>
                </a:lnTo>
                <a:lnTo>
                  <a:pt x="1067116" y="3119920"/>
                </a:lnTo>
                <a:lnTo>
                  <a:pt x="1067116" y="2934180"/>
                </a:lnTo>
                <a:close/>
                <a:moveTo>
                  <a:pt x="922336" y="2930370"/>
                </a:moveTo>
                <a:cubicBezTo>
                  <a:pt x="867091" y="2930370"/>
                  <a:pt x="825181" y="2970376"/>
                  <a:pt x="825181" y="3026574"/>
                </a:cubicBezTo>
                <a:cubicBezTo>
                  <a:pt x="825181" y="3082772"/>
                  <a:pt x="880426" y="3122778"/>
                  <a:pt x="922336" y="3122778"/>
                </a:cubicBezTo>
                <a:cubicBezTo>
                  <a:pt x="964246" y="3122778"/>
                  <a:pt x="1003298" y="3097060"/>
                  <a:pt x="1013776" y="3053244"/>
                </a:cubicBezTo>
                <a:lnTo>
                  <a:pt x="973771" y="3053244"/>
                </a:lnTo>
                <a:cubicBezTo>
                  <a:pt x="967103" y="3075152"/>
                  <a:pt x="948053" y="3088488"/>
                  <a:pt x="923288" y="3088488"/>
                </a:cubicBezTo>
                <a:cubicBezTo>
                  <a:pt x="888046" y="3088488"/>
                  <a:pt x="865186" y="3061817"/>
                  <a:pt x="865186" y="3026574"/>
                </a:cubicBezTo>
                <a:cubicBezTo>
                  <a:pt x="865186" y="2991331"/>
                  <a:pt x="888046" y="2964661"/>
                  <a:pt x="923288" y="2964661"/>
                </a:cubicBezTo>
                <a:cubicBezTo>
                  <a:pt x="947101" y="2964661"/>
                  <a:pt x="966151" y="2977996"/>
                  <a:pt x="972818" y="2999904"/>
                </a:cubicBezTo>
                <a:lnTo>
                  <a:pt x="1013776" y="2999904"/>
                </a:lnTo>
                <a:cubicBezTo>
                  <a:pt x="1002346" y="2956088"/>
                  <a:pt x="977581" y="2930370"/>
                  <a:pt x="922336" y="2930370"/>
                </a:cubicBezTo>
                <a:close/>
                <a:moveTo>
                  <a:pt x="646112" y="2910367"/>
                </a:moveTo>
                <a:cubicBezTo>
                  <a:pt x="634682" y="2925607"/>
                  <a:pt x="626109" y="2941800"/>
                  <a:pt x="619442" y="2958945"/>
                </a:cubicBezTo>
                <a:cubicBezTo>
                  <a:pt x="666114" y="2966565"/>
                  <a:pt x="707072" y="2991331"/>
                  <a:pt x="735647" y="3026574"/>
                </a:cubicBezTo>
                <a:cubicBezTo>
                  <a:pt x="747077" y="3012286"/>
                  <a:pt x="757554" y="2996093"/>
                  <a:pt x="764222" y="2978948"/>
                </a:cubicBezTo>
                <a:cubicBezTo>
                  <a:pt x="732789" y="2946563"/>
                  <a:pt x="691832" y="2921797"/>
                  <a:pt x="646112" y="2910367"/>
                </a:cubicBezTo>
                <a:close/>
                <a:moveTo>
                  <a:pt x="0" y="0"/>
                </a:moveTo>
                <a:lnTo>
                  <a:pt x="12192000" y="0"/>
                </a:lnTo>
                <a:lnTo>
                  <a:pt x="12192000" y="3429000"/>
                </a:lnTo>
                <a:lnTo>
                  <a:pt x="8040688" y="3429000"/>
                </a:lnTo>
                <a:lnTo>
                  <a:pt x="7499776" y="3429000"/>
                </a:lnTo>
                <a:lnTo>
                  <a:pt x="0" y="3429000"/>
                </a:lnTo>
                <a:close/>
              </a:path>
            </a:pathLst>
          </a:custGeom>
          <a:solidFill>
            <a:schemeClr val="tx1">
              <a:lumMod val="75000"/>
              <a:lumOff val="25000"/>
            </a:schemeClr>
          </a:solidFill>
          <a:ln>
            <a:noFill/>
          </a:ln>
        </p:spPr>
        <p:txBody>
          <a:bodyPr wrap="square" tIns="108000" anchor="t" anchorCtr="0">
            <a:noAutofit/>
          </a:bodyPr>
          <a:lstStyle>
            <a:lvl1pPr marL="0" indent="0" algn="ctr">
              <a:buNone/>
              <a:defRPr sz="1000">
                <a:solidFill>
                  <a:schemeClr val="accent1"/>
                </a:solidFill>
                <a:latin typeface="+mn-lt"/>
              </a:defRPr>
            </a:lvl1pPr>
          </a:lstStyle>
          <a:p>
            <a:pPr lvl="0"/>
            <a:r>
              <a:rPr lang="en-US"/>
              <a:t>Drag picture file here or click </a:t>
            </a:r>
            <a:r>
              <a:rPr lang="en-US" noProof="0"/>
              <a:t>center</a:t>
            </a:r>
            <a:r>
              <a:rPr lang="en-US"/>
              <a:t> icon to insert dark image</a:t>
            </a:r>
          </a:p>
        </p:txBody>
      </p:sp>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251885"/>
          </a:xfrm>
        </p:spPr>
        <p:txBody>
          <a:bodyPr/>
          <a:lstStyle>
            <a:lvl1pPr>
              <a:defRPr/>
            </a:lvl1pPr>
          </a:lstStyle>
          <a:p>
            <a:r>
              <a:rPr lang="en-US"/>
              <a:t>Header avenir demi</a:t>
            </a:r>
            <a:endParaRPr lang="en-GB"/>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7" name="Text Placeholder 12">
            <a:extLst>
              <a:ext uri="{FF2B5EF4-FFF2-40B4-BE49-F238E27FC236}">
                <a16:creationId xmlns:a16="http://schemas.microsoft.com/office/drawing/2014/main" id="{841E26EB-9911-0A6E-407B-8667159EEC13}"/>
              </a:ext>
            </a:extLst>
          </p:cNvPr>
          <p:cNvSpPr>
            <a:spLocks noGrp="1"/>
          </p:cNvSpPr>
          <p:nvPr>
            <p:ph type="body" sz="quarter" idx="14"/>
          </p:nvPr>
        </p:nvSpPr>
        <p:spPr>
          <a:xfrm>
            <a:off x="550863" y="1808164"/>
            <a:ext cx="3204000" cy="1441450"/>
          </a:xfrm>
        </p:spPr>
        <p:txBody>
          <a:bodyPr/>
          <a:lstStyle/>
          <a:p>
            <a:pPr lvl="0"/>
            <a:r>
              <a:rPr lang="en-US"/>
              <a:t>Click to edit Master text styles</a:t>
            </a:r>
          </a:p>
          <a:p>
            <a:pPr lvl="1"/>
            <a:r>
              <a:rPr lang="en-US"/>
              <a:t>Second level</a:t>
            </a:r>
          </a:p>
          <a:p>
            <a:pPr lvl="2"/>
            <a:r>
              <a:rPr lang="en-US"/>
              <a:t>Third level</a:t>
            </a:r>
          </a:p>
        </p:txBody>
      </p:sp>
      <p:sp>
        <p:nvSpPr>
          <p:cNvPr id="10" name="Text Placeholder 12">
            <a:extLst>
              <a:ext uri="{FF2B5EF4-FFF2-40B4-BE49-F238E27FC236}">
                <a16:creationId xmlns:a16="http://schemas.microsoft.com/office/drawing/2014/main" id="{45BEBC43-8186-4AEB-F4CF-271F011B0368}"/>
              </a:ext>
            </a:extLst>
          </p:cNvPr>
          <p:cNvSpPr>
            <a:spLocks noGrp="1"/>
          </p:cNvSpPr>
          <p:nvPr>
            <p:ph type="body" sz="quarter" idx="15"/>
          </p:nvPr>
        </p:nvSpPr>
        <p:spPr>
          <a:xfrm>
            <a:off x="4295776" y="1808164"/>
            <a:ext cx="3204000" cy="1441450"/>
          </a:xfrm>
        </p:spPr>
        <p:txBody>
          <a:bodyPr/>
          <a:lstStyle/>
          <a:p>
            <a:pPr lvl="0"/>
            <a:r>
              <a:rPr lang="en-US"/>
              <a:t>Click to edit Master text styles</a:t>
            </a:r>
          </a:p>
          <a:p>
            <a:pPr lvl="1"/>
            <a:r>
              <a:rPr lang="en-US"/>
              <a:t>Second level</a:t>
            </a:r>
          </a:p>
          <a:p>
            <a:pPr lvl="2"/>
            <a:r>
              <a:rPr lang="en-US"/>
              <a:t>Third level</a:t>
            </a:r>
          </a:p>
        </p:txBody>
      </p:sp>
      <p:sp>
        <p:nvSpPr>
          <p:cNvPr id="11" name="Text Placeholder 12">
            <a:extLst>
              <a:ext uri="{FF2B5EF4-FFF2-40B4-BE49-F238E27FC236}">
                <a16:creationId xmlns:a16="http://schemas.microsoft.com/office/drawing/2014/main" id="{042CC176-3CD8-0372-5942-EAD056B059E7}"/>
              </a:ext>
            </a:extLst>
          </p:cNvPr>
          <p:cNvSpPr>
            <a:spLocks noGrp="1"/>
          </p:cNvSpPr>
          <p:nvPr>
            <p:ph type="body" sz="quarter" idx="16"/>
          </p:nvPr>
        </p:nvSpPr>
        <p:spPr>
          <a:xfrm>
            <a:off x="8040687" y="1808164"/>
            <a:ext cx="3204000" cy="1441450"/>
          </a:xfrm>
        </p:spPr>
        <p:txBody>
          <a:body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7" y="6348353"/>
            <a:ext cx="3292474" cy="215901"/>
          </a:xfrm>
        </p:spPr>
        <p:txBody>
          <a:bodyPr/>
          <a:lstStyle>
            <a:lvl1pPr>
              <a:defRPr>
                <a:solidFill>
                  <a:schemeClr val="bg1"/>
                </a:solidFill>
              </a:defRPr>
            </a:lvl1p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Tree>
    <p:extLst>
      <p:ext uri="{BB962C8B-B14F-4D97-AF65-F5344CB8AC3E}">
        <p14:creationId xmlns:p14="http://schemas.microsoft.com/office/powerpoint/2010/main" val="16522470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itrus/mint pattern - Black quote">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5659636-78CF-6EFF-68F5-52F1AB62035D}"/>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8" name="Text Placeholder 9">
            <a:extLst>
              <a:ext uri="{FF2B5EF4-FFF2-40B4-BE49-F238E27FC236}">
                <a16:creationId xmlns:a16="http://schemas.microsoft.com/office/drawing/2014/main" id="{6A6F47D2-4DE8-3A51-AB24-AA4D5A7F13E9}"/>
              </a:ext>
            </a:extLst>
          </p:cNvPr>
          <p:cNvSpPr>
            <a:spLocks noGrp="1"/>
          </p:cNvSpPr>
          <p:nvPr>
            <p:ph type="body" sz="quarter" idx="26" hasCustomPrompt="1"/>
          </p:nvPr>
        </p:nvSpPr>
        <p:spPr>
          <a:xfrm>
            <a:off x="1487488" y="2979813"/>
            <a:ext cx="8280400" cy="1107996"/>
          </a:xfrm>
          <a:prstGeom prst="rect">
            <a:avLst/>
          </a:prstGeom>
          <a:noFill/>
        </p:spPr>
        <p:txBody>
          <a:bodyPr wrap="square" lIns="0" tIns="0" rIns="0" bIns="0" anchor="b" anchorCtr="0">
            <a:spAutoFit/>
          </a:bodyPr>
          <a:lstStyle>
            <a:lvl1pPr marL="0" indent="0" algn="l">
              <a:buNone/>
              <a:tabLst/>
              <a:defRPr sz="3600">
                <a:solidFill>
                  <a:schemeClr val="tx1"/>
                </a:solidFill>
                <a:latin typeface="+mj-lt"/>
              </a:defRPr>
            </a:lvl1pPr>
          </a:lstStyle>
          <a:p>
            <a:pPr lvl="0"/>
            <a:r>
              <a:rPr lang="en-US"/>
              <a:t>“Quote copy, resize textbox horizontally as required”.</a:t>
            </a:r>
            <a:endParaRPr lang="en-GB"/>
          </a:p>
        </p:txBody>
      </p:sp>
      <p:sp>
        <p:nvSpPr>
          <p:cNvPr id="2" name="Text Placeholder 12">
            <a:extLst>
              <a:ext uri="{FF2B5EF4-FFF2-40B4-BE49-F238E27FC236}">
                <a16:creationId xmlns:a16="http://schemas.microsoft.com/office/drawing/2014/main" id="{51D1D711-9691-BEE7-727A-A074BC47FEA0}"/>
              </a:ext>
            </a:extLst>
          </p:cNvPr>
          <p:cNvSpPr>
            <a:spLocks noGrp="1"/>
          </p:cNvSpPr>
          <p:nvPr>
            <p:ph type="body" sz="quarter" idx="28" hasCustomPrompt="1"/>
          </p:nvPr>
        </p:nvSpPr>
        <p:spPr>
          <a:xfrm>
            <a:off x="1487488" y="4286568"/>
            <a:ext cx="3600450" cy="259239"/>
          </a:xfrm>
          <a:noFill/>
        </p:spPr>
        <p:txBody>
          <a:bodyPr/>
          <a:lstStyle>
            <a:lvl1pPr marL="0" indent="0" algn="l">
              <a:buNone/>
              <a:defRPr sz="16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6" name="Text Placeholder 12">
            <a:extLst>
              <a:ext uri="{FF2B5EF4-FFF2-40B4-BE49-F238E27FC236}">
                <a16:creationId xmlns:a16="http://schemas.microsoft.com/office/drawing/2014/main" id="{0EFA41F3-CF2B-F07E-F3DA-DC0602B25A9D}"/>
              </a:ext>
            </a:extLst>
          </p:cNvPr>
          <p:cNvSpPr>
            <a:spLocks noGrp="1"/>
          </p:cNvSpPr>
          <p:nvPr>
            <p:ph type="body" sz="quarter" idx="29" hasCustomPrompt="1"/>
          </p:nvPr>
        </p:nvSpPr>
        <p:spPr>
          <a:xfrm>
            <a:off x="1487488" y="4543748"/>
            <a:ext cx="3600450" cy="259239"/>
          </a:xfrm>
          <a:noFill/>
        </p:spPr>
        <p:txBody>
          <a:bodyPr/>
          <a:lstStyle>
            <a:lvl1pPr marL="0" indent="0" algn="l">
              <a:buNone/>
              <a:defRPr sz="1500">
                <a:solidFill>
                  <a:schemeClr val="tx1"/>
                </a:solidFill>
                <a:latin typeface="+mn-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Company name</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9200" y="6348353"/>
            <a:ext cx="215899" cy="215900"/>
          </a:xfrm>
        </p:spPr>
        <p:txBody>
          <a:bodyPr/>
          <a:lstStyle>
            <a:lvl1pPr>
              <a:defRPr>
                <a:solidFill>
                  <a:schemeClr val="tx1"/>
                </a:solidFill>
              </a:defRPr>
            </a:lvl1pPr>
          </a:lstStyle>
          <a:p>
            <a:fld id="{F59CD943-D024-467A-B36E-F11E1285ED75}" type="slidenum">
              <a:rPr lang="en-GB" smtClean="0"/>
              <a:pPr/>
              <a:t>‹#›</a:t>
            </a:fld>
            <a:endParaRPr lang="en-GB"/>
          </a:p>
        </p:txBody>
      </p:sp>
      <p:pic>
        <p:nvPicPr>
          <p:cNvPr id="5" name="Graphic 4">
            <a:extLst>
              <a:ext uri="{FF2B5EF4-FFF2-40B4-BE49-F238E27FC236}">
                <a16:creationId xmlns:a16="http://schemas.microsoft.com/office/drawing/2014/main" id="{B6ECEDCA-E71D-E002-B6EF-1A2EE328FA46}"/>
              </a:ext>
            </a:extLst>
          </p:cNvPr>
          <p:cNvPicPr>
            <a:picLocks noChangeAspect="1"/>
          </p:cNvPicPr>
          <p:nvPr userDrawn="1"/>
        </p:nvPicPr>
        <p:blipFill>
          <a:blip r:embed="rId3">
            <a:extLst>
              <a:ext uri="{96DAC541-7B7A-43D3-8B79-37D633B846F1}">
                <asvg:svgBlip xmlns:asvg="http://schemas.microsoft.com/office/drawing/2016/SVG/main" r:embed="rId4"/>
              </a:ext>
            </a:extLst>
          </a:blip>
          <a:srcRect l="9263" t="23870" r="9262" b="23680"/>
          <a:stretch/>
        </p:blipFill>
        <p:spPr>
          <a:xfrm>
            <a:off x="550863" y="6329363"/>
            <a:ext cx="1296000" cy="254793"/>
          </a:xfrm>
          <a:prstGeom prst="rect">
            <a:avLst/>
          </a:prstGeom>
        </p:spPr>
      </p:pic>
    </p:spTree>
    <p:extLst>
      <p:ext uri="{BB962C8B-B14F-4D97-AF65-F5344CB8AC3E}">
        <p14:creationId xmlns:p14="http://schemas.microsoft.com/office/powerpoint/2010/main" val="3132669828"/>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Full Light Image - Quot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B24388A-E89F-1465-CB42-4F8D1E8B7BCE}"/>
              </a:ext>
              <a:ext uri="{C183D7F6-B498-43B3-948B-1728B52AA6E4}">
                <adec:decorative xmlns:adec="http://schemas.microsoft.com/office/drawing/2017/decorative" val="1"/>
              </a:ext>
            </a:extLst>
          </p:cNvPr>
          <p:cNvSpPr/>
          <p:nvPr userDrawn="1"/>
        </p:nvSpPr>
        <p:spPr>
          <a:xfrm>
            <a:off x="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Picture Placeholder 30">
            <a:extLst>
              <a:ext uri="{FF2B5EF4-FFF2-40B4-BE49-F238E27FC236}">
                <a16:creationId xmlns:a16="http://schemas.microsoft.com/office/drawing/2014/main" id="{3CAA78D0-D0A4-A0FA-888C-DEC2B44E9337}"/>
              </a:ext>
              <a:ext uri="{C183D7F6-B498-43B3-948B-1728B52AA6E4}">
                <adec:decorative xmlns:adec="http://schemas.microsoft.com/office/drawing/2017/decorative" val="1"/>
              </a:ext>
            </a:extLst>
          </p:cNvPr>
          <p:cNvSpPr>
            <a:spLocks noGrp="1"/>
          </p:cNvSpPr>
          <p:nvPr>
            <p:ph type="pic" sz="quarter" idx="20" hasCustomPrompt="1"/>
          </p:nvPr>
        </p:nvSpPr>
        <p:spPr>
          <a:xfrm>
            <a:off x="0" y="0"/>
            <a:ext cx="12192000" cy="6858000"/>
          </a:xfrm>
          <a:custGeom>
            <a:avLst/>
            <a:gdLst>
              <a:gd name="connsiteX0" fmla="*/ 1579559 w 12192000"/>
              <a:gd name="connsiteY0" fmla="*/ 6496532 h 6858000"/>
              <a:gd name="connsiteX1" fmla="*/ 1579559 w 12192000"/>
              <a:gd name="connsiteY1" fmla="*/ 6505105 h 6858000"/>
              <a:gd name="connsiteX2" fmla="*/ 1555747 w 12192000"/>
              <a:gd name="connsiteY2" fmla="*/ 6527013 h 6858000"/>
              <a:gd name="connsiteX3" fmla="*/ 1538602 w 12192000"/>
              <a:gd name="connsiteY3" fmla="*/ 6512725 h 6858000"/>
              <a:gd name="connsiteX4" fmla="*/ 1555747 w 12192000"/>
              <a:gd name="connsiteY4" fmla="*/ 6499390 h 6858000"/>
              <a:gd name="connsiteX5" fmla="*/ 1569082 w 12192000"/>
              <a:gd name="connsiteY5" fmla="*/ 6499390 h 6858000"/>
              <a:gd name="connsiteX6" fmla="*/ 1579559 w 12192000"/>
              <a:gd name="connsiteY6" fmla="*/ 6496532 h 6858000"/>
              <a:gd name="connsiteX7" fmla="*/ 1162365 w 12192000"/>
              <a:gd name="connsiteY7" fmla="*/ 6496532 h 6858000"/>
              <a:gd name="connsiteX8" fmla="*/ 1162365 w 12192000"/>
              <a:gd name="connsiteY8" fmla="*/ 6505105 h 6858000"/>
              <a:gd name="connsiteX9" fmla="*/ 1138553 w 12192000"/>
              <a:gd name="connsiteY9" fmla="*/ 6527013 h 6858000"/>
              <a:gd name="connsiteX10" fmla="*/ 1121408 w 12192000"/>
              <a:gd name="connsiteY10" fmla="*/ 6512725 h 6858000"/>
              <a:gd name="connsiteX11" fmla="*/ 1138553 w 12192000"/>
              <a:gd name="connsiteY11" fmla="*/ 6499390 h 6858000"/>
              <a:gd name="connsiteX12" fmla="*/ 1151888 w 12192000"/>
              <a:gd name="connsiteY12" fmla="*/ 6499390 h 6858000"/>
              <a:gd name="connsiteX13" fmla="*/ 1162365 w 12192000"/>
              <a:gd name="connsiteY13" fmla="*/ 6496532 h 6858000"/>
              <a:gd name="connsiteX14" fmla="*/ 736599 w 12192000"/>
              <a:gd name="connsiteY14" fmla="*/ 6455574 h 6858000"/>
              <a:gd name="connsiteX15" fmla="*/ 619442 w 12192000"/>
              <a:gd name="connsiteY15" fmla="*/ 6523203 h 6858000"/>
              <a:gd name="connsiteX16" fmla="*/ 632777 w 12192000"/>
              <a:gd name="connsiteY16" fmla="*/ 6552731 h 6858000"/>
              <a:gd name="connsiteX17" fmla="*/ 646112 w 12192000"/>
              <a:gd name="connsiteY17" fmla="*/ 6571781 h 6858000"/>
              <a:gd name="connsiteX18" fmla="*/ 765174 w 12192000"/>
              <a:gd name="connsiteY18" fmla="*/ 6503200 h 6858000"/>
              <a:gd name="connsiteX19" fmla="*/ 736599 w 12192000"/>
              <a:gd name="connsiteY19" fmla="*/ 6455574 h 6858000"/>
              <a:gd name="connsiteX20" fmla="*/ 1781490 w 12192000"/>
              <a:gd name="connsiteY20" fmla="*/ 6452716 h 6858000"/>
              <a:gd name="connsiteX21" fmla="*/ 1808160 w 12192000"/>
              <a:gd name="connsiteY21" fmla="*/ 6474624 h 6858000"/>
              <a:gd name="connsiteX22" fmla="*/ 1753867 w 12192000"/>
              <a:gd name="connsiteY22" fmla="*/ 6474624 h 6858000"/>
              <a:gd name="connsiteX23" fmla="*/ 1781490 w 12192000"/>
              <a:gd name="connsiteY23" fmla="*/ 6452716 h 6858000"/>
              <a:gd name="connsiteX24" fmla="*/ 1309050 w 12192000"/>
              <a:gd name="connsiteY24" fmla="*/ 6426999 h 6858000"/>
              <a:gd name="connsiteX25" fmla="*/ 1309050 w 12192000"/>
              <a:gd name="connsiteY25" fmla="*/ 6456526 h 6858000"/>
              <a:gd name="connsiteX26" fmla="*/ 1326195 w 12192000"/>
              <a:gd name="connsiteY26" fmla="*/ 6456526 h 6858000"/>
              <a:gd name="connsiteX27" fmla="*/ 1326195 w 12192000"/>
              <a:gd name="connsiteY27" fmla="*/ 6548920 h 6858000"/>
              <a:gd name="connsiteX28" fmla="*/ 1360485 w 12192000"/>
              <a:gd name="connsiteY28" fmla="*/ 6548920 h 6858000"/>
              <a:gd name="connsiteX29" fmla="*/ 1360485 w 12192000"/>
              <a:gd name="connsiteY29" fmla="*/ 6426999 h 6858000"/>
              <a:gd name="connsiteX30" fmla="*/ 1372868 w 12192000"/>
              <a:gd name="connsiteY30" fmla="*/ 6426998 h 6858000"/>
              <a:gd name="connsiteX31" fmla="*/ 1414778 w 12192000"/>
              <a:gd name="connsiteY31" fmla="*/ 6548920 h 6858000"/>
              <a:gd name="connsiteX32" fmla="*/ 1457640 w 12192000"/>
              <a:gd name="connsiteY32" fmla="*/ 6548920 h 6858000"/>
              <a:gd name="connsiteX33" fmla="*/ 1501455 w 12192000"/>
              <a:gd name="connsiteY33" fmla="*/ 6426998 h 6858000"/>
              <a:gd name="connsiteX34" fmla="*/ 1465260 w 12192000"/>
              <a:gd name="connsiteY34" fmla="*/ 6426998 h 6858000"/>
              <a:gd name="connsiteX35" fmla="*/ 1437638 w 12192000"/>
              <a:gd name="connsiteY35" fmla="*/ 6511772 h 6858000"/>
              <a:gd name="connsiteX36" fmla="*/ 1410015 w 12192000"/>
              <a:gd name="connsiteY36" fmla="*/ 6426998 h 6858000"/>
              <a:gd name="connsiteX37" fmla="*/ 1781490 w 12192000"/>
              <a:gd name="connsiteY37" fmla="*/ 6425093 h 6858000"/>
              <a:gd name="connsiteX38" fmla="*/ 1718625 w 12192000"/>
              <a:gd name="connsiteY38" fmla="*/ 6488912 h 6858000"/>
              <a:gd name="connsiteX39" fmla="*/ 1782442 w 12192000"/>
              <a:gd name="connsiteY39" fmla="*/ 6552730 h 6858000"/>
              <a:gd name="connsiteX40" fmla="*/ 1843402 w 12192000"/>
              <a:gd name="connsiteY40" fmla="*/ 6514629 h 6858000"/>
              <a:gd name="connsiteX41" fmla="*/ 1807207 w 12192000"/>
              <a:gd name="connsiteY41" fmla="*/ 6510819 h 6858000"/>
              <a:gd name="connsiteX42" fmla="*/ 1782442 w 12192000"/>
              <a:gd name="connsiteY42" fmla="*/ 6523202 h 6858000"/>
              <a:gd name="connsiteX43" fmla="*/ 1754820 w 12192000"/>
              <a:gd name="connsiteY43" fmla="*/ 6498437 h 6858000"/>
              <a:gd name="connsiteX44" fmla="*/ 1845307 w 12192000"/>
              <a:gd name="connsiteY44" fmla="*/ 6498437 h 6858000"/>
              <a:gd name="connsiteX45" fmla="*/ 1845307 w 12192000"/>
              <a:gd name="connsiteY45" fmla="*/ 6497484 h 6858000"/>
              <a:gd name="connsiteX46" fmla="*/ 1781490 w 12192000"/>
              <a:gd name="connsiteY46" fmla="*/ 6425093 h 6858000"/>
              <a:gd name="connsiteX47" fmla="*/ 1282380 w 12192000"/>
              <a:gd name="connsiteY47" fmla="*/ 6425093 h 6858000"/>
              <a:gd name="connsiteX48" fmla="*/ 1250947 w 12192000"/>
              <a:gd name="connsiteY48" fmla="*/ 6446048 h 6858000"/>
              <a:gd name="connsiteX49" fmla="*/ 1250947 w 12192000"/>
              <a:gd name="connsiteY49" fmla="*/ 6426998 h 6858000"/>
              <a:gd name="connsiteX50" fmla="*/ 1217610 w 12192000"/>
              <a:gd name="connsiteY50" fmla="*/ 6426998 h 6858000"/>
              <a:gd name="connsiteX51" fmla="*/ 1217610 w 12192000"/>
              <a:gd name="connsiteY51" fmla="*/ 6548920 h 6858000"/>
              <a:gd name="connsiteX52" fmla="*/ 1251900 w 12192000"/>
              <a:gd name="connsiteY52" fmla="*/ 6548920 h 6858000"/>
              <a:gd name="connsiteX53" fmla="*/ 1251900 w 12192000"/>
              <a:gd name="connsiteY53" fmla="*/ 6490817 h 6858000"/>
              <a:gd name="connsiteX54" fmla="*/ 1277617 w 12192000"/>
              <a:gd name="connsiteY54" fmla="*/ 6461289 h 6858000"/>
              <a:gd name="connsiteX55" fmla="*/ 1291905 w 12192000"/>
              <a:gd name="connsiteY55" fmla="*/ 6461289 h 6858000"/>
              <a:gd name="connsiteX56" fmla="*/ 1291905 w 12192000"/>
              <a:gd name="connsiteY56" fmla="*/ 6426046 h 6858000"/>
              <a:gd name="connsiteX57" fmla="*/ 1282380 w 12192000"/>
              <a:gd name="connsiteY57" fmla="*/ 6425093 h 6858000"/>
              <a:gd name="connsiteX58" fmla="*/ 1562414 w 12192000"/>
              <a:gd name="connsiteY58" fmla="*/ 6424141 h 6858000"/>
              <a:gd name="connsiteX59" fmla="*/ 1510027 w 12192000"/>
              <a:gd name="connsiteY59" fmla="*/ 6439381 h 6858000"/>
              <a:gd name="connsiteX60" fmla="*/ 1523362 w 12192000"/>
              <a:gd name="connsiteY60" fmla="*/ 6465099 h 6858000"/>
              <a:gd name="connsiteX61" fmla="*/ 1559557 w 12192000"/>
              <a:gd name="connsiteY61" fmla="*/ 6453669 h 6858000"/>
              <a:gd name="connsiteX62" fmla="*/ 1579559 w 12192000"/>
              <a:gd name="connsiteY62" fmla="*/ 6467957 h 6858000"/>
              <a:gd name="connsiteX63" fmla="*/ 1580512 w 12192000"/>
              <a:gd name="connsiteY63" fmla="*/ 6468909 h 6858000"/>
              <a:gd name="connsiteX64" fmla="*/ 1571939 w 12192000"/>
              <a:gd name="connsiteY64" fmla="*/ 6476529 h 6858000"/>
              <a:gd name="connsiteX65" fmla="*/ 1548127 w 12192000"/>
              <a:gd name="connsiteY65" fmla="*/ 6476529 h 6858000"/>
              <a:gd name="connsiteX66" fmla="*/ 1504312 w 12192000"/>
              <a:gd name="connsiteY66" fmla="*/ 6513677 h 6858000"/>
              <a:gd name="connsiteX67" fmla="*/ 1547174 w 12192000"/>
              <a:gd name="connsiteY67" fmla="*/ 6551778 h 6858000"/>
              <a:gd name="connsiteX68" fmla="*/ 1581464 w 12192000"/>
              <a:gd name="connsiteY68" fmla="*/ 6537490 h 6858000"/>
              <a:gd name="connsiteX69" fmla="*/ 1581464 w 12192000"/>
              <a:gd name="connsiteY69" fmla="*/ 6548920 h 6858000"/>
              <a:gd name="connsiteX70" fmla="*/ 1615754 w 12192000"/>
              <a:gd name="connsiteY70" fmla="*/ 6548920 h 6858000"/>
              <a:gd name="connsiteX71" fmla="*/ 1615754 w 12192000"/>
              <a:gd name="connsiteY71" fmla="*/ 6468909 h 6858000"/>
              <a:gd name="connsiteX72" fmla="*/ 1562414 w 12192000"/>
              <a:gd name="connsiteY72" fmla="*/ 6424141 h 6858000"/>
              <a:gd name="connsiteX73" fmla="*/ 1145220 w 12192000"/>
              <a:gd name="connsiteY73" fmla="*/ 6424141 h 6858000"/>
              <a:gd name="connsiteX74" fmla="*/ 1092833 w 12192000"/>
              <a:gd name="connsiteY74" fmla="*/ 6439381 h 6858000"/>
              <a:gd name="connsiteX75" fmla="*/ 1106168 w 12192000"/>
              <a:gd name="connsiteY75" fmla="*/ 6465099 h 6858000"/>
              <a:gd name="connsiteX76" fmla="*/ 1142363 w 12192000"/>
              <a:gd name="connsiteY76" fmla="*/ 6453669 h 6858000"/>
              <a:gd name="connsiteX77" fmla="*/ 1162365 w 12192000"/>
              <a:gd name="connsiteY77" fmla="*/ 6467957 h 6858000"/>
              <a:gd name="connsiteX78" fmla="*/ 1163318 w 12192000"/>
              <a:gd name="connsiteY78" fmla="*/ 6468909 h 6858000"/>
              <a:gd name="connsiteX79" fmla="*/ 1154745 w 12192000"/>
              <a:gd name="connsiteY79" fmla="*/ 6476529 h 6858000"/>
              <a:gd name="connsiteX80" fmla="*/ 1130933 w 12192000"/>
              <a:gd name="connsiteY80" fmla="*/ 6476529 h 6858000"/>
              <a:gd name="connsiteX81" fmla="*/ 1087118 w 12192000"/>
              <a:gd name="connsiteY81" fmla="*/ 6513677 h 6858000"/>
              <a:gd name="connsiteX82" fmla="*/ 1129980 w 12192000"/>
              <a:gd name="connsiteY82" fmla="*/ 6551778 h 6858000"/>
              <a:gd name="connsiteX83" fmla="*/ 1164270 w 12192000"/>
              <a:gd name="connsiteY83" fmla="*/ 6537490 h 6858000"/>
              <a:gd name="connsiteX84" fmla="*/ 1164270 w 12192000"/>
              <a:gd name="connsiteY84" fmla="*/ 6548920 h 6858000"/>
              <a:gd name="connsiteX85" fmla="*/ 1198560 w 12192000"/>
              <a:gd name="connsiteY85" fmla="*/ 6548920 h 6858000"/>
              <a:gd name="connsiteX86" fmla="*/ 1198560 w 12192000"/>
              <a:gd name="connsiteY86" fmla="*/ 6468909 h 6858000"/>
              <a:gd name="connsiteX87" fmla="*/ 1145220 w 12192000"/>
              <a:gd name="connsiteY87" fmla="*/ 6424141 h 6858000"/>
              <a:gd name="connsiteX88" fmla="*/ 587056 w 12192000"/>
              <a:gd name="connsiteY88" fmla="*/ 6386040 h 6858000"/>
              <a:gd name="connsiteX89" fmla="*/ 564196 w 12192000"/>
              <a:gd name="connsiteY89" fmla="*/ 6386993 h 6858000"/>
              <a:gd name="connsiteX90" fmla="*/ 564196 w 12192000"/>
              <a:gd name="connsiteY90" fmla="*/ 6524155 h 6858000"/>
              <a:gd name="connsiteX91" fmla="*/ 587056 w 12192000"/>
              <a:gd name="connsiteY91" fmla="*/ 6526060 h 6858000"/>
              <a:gd name="connsiteX92" fmla="*/ 619441 w 12192000"/>
              <a:gd name="connsiteY92" fmla="*/ 6523202 h 6858000"/>
              <a:gd name="connsiteX93" fmla="*/ 613726 w 12192000"/>
              <a:gd name="connsiteY93" fmla="*/ 6406043 h 6858000"/>
              <a:gd name="connsiteX94" fmla="*/ 619441 w 12192000"/>
              <a:gd name="connsiteY94" fmla="*/ 6388898 h 6858000"/>
              <a:gd name="connsiteX95" fmla="*/ 587056 w 12192000"/>
              <a:gd name="connsiteY95" fmla="*/ 6386040 h 6858000"/>
              <a:gd name="connsiteX96" fmla="*/ 1647187 w 12192000"/>
              <a:gd name="connsiteY96" fmla="*/ 6381278 h 6858000"/>
              <a:gd name="connsiteX97" fmla="*/ 1647187 w 12192000"/>
              <a:gd name="connsiteY97" fmla="*/ 6427951 h 6858000"/>
              <a:gd name="connsiteX98" fmla="*/ 1628137 w 12192000"/>
              <a:gd name="connsiteY98" fmla="*/ 6427951 h 6858000"/>
              <a:gd name="connsiteX99" fmla="*/ 1628137 w 12192000"/>
              <a:gd name="connsiteY99" fmla="*/ 6457479 h 6858000"/>
              <a:gd name="connsiteX100" fmla="*/ 1647187 w 12192000"/>
              <a:gd name="connsiteY100" fmla="*/ 6457479 h 6858000"/>
              <a:gd name="connsiteX101" fmla="*/ 1647187 w 12192000"/>
              <a:gd name="connsiteY101" fmla="*/ 6524155 h 6858000"/>
              <a:gd name="connsiteX102" fmla="*/ 1682429 w 12192000"/>
              <a:gd name="connsiteY102" fmla="*/ 6551778 h 6858000"/>
              <a:gd name="connsiteX103" fmla="*/ 1709099 w 12192000"/>
              <a:gd name="connsiteY103" fmla="*/ 6549873 h 6858000"/>
              <a:gd name="connsiteX104" fmla="*/ 1709099 w 12192000"/>
              <a:gd name="connsiteY104" fmla="*/ 6520345 h 6858000"/>
              <a:gd name="connsiteX105" fmla="*/ 1692907 w 12192000"/>
              <a:gd name="connsiteY105" fmla="*/ 6520345 h 6858000"/>
              <a:gd name="connsiteX106" fmla="*/ 1681477 w 12192000"/>
              <a:gd name="connsiteY106" fmla="*/ 6511772 h 6858000"/>
              <a:gd name="connsiteX107" fmla="*/ 1681477 w 12192000"/>
              <a:gd name="connsiteY107" fmla="*/ 6456526 h 6858000"/>
              <a:gd name="connsiteX108" fmla="*/ 1708147 w 12192000"/>
              <a:gd name="connsiteY108" fmla="*/ 6456526 h 6858000"/>
              <a:gd name="connsiteX109" fmla="*/ 1708147 w 12192000"/>
              <a:gd name="connsiteY109" fmla="*/ 6426998 h 6858000"/>
              <a:gd name="connsiteX110" fmla="*/ 1681477 w 12192000"/>
              <a:gd name="connsiteY110" fmla="*/ 6426998 h 6858000"/>
              <a:gd name="connsiteX111" fmla="*/ 1681477 w 12192000"/>
              <a:gd name="connsiteY111" fmla="*/ 6381278 h 6858000"/>
              <a:gd name="connsiteX112" fmla="*/ 1341435 w 12192000"/>
              <a:gd name="connsiteY112" fmla="*/ 6363180 h 6858000"/>
              <a:gd name="connsiteX113" fmla="*/ 1319527 w 12192000"/>
              <a:gd name="connsiteY113" fmla="*/ 6385088 h 6858000"/>
              <a:gd name="connsiteX114" fmla="*/ 1341435 w 12192000"/>
              <a:gd name="connsiteY114" fmla="*/ 6406996 h 6858000"/>
              <a:gd name="connsiteX115" fmla="*/ 1363342 w 12192000"/>
              <a:gd name="connsiteY115" fmla="*/ 6385088 h 6858000"/>
              <a:gd name="connsiteX116" fmla="*/ 1341435 w 12192000"/>
              <a:gd name="connsiteY116" fmla="*/ 6363180 h 6858000"/>
              <a:gd name="connsiteX117" fmla="*/ 1032826 w 12192000"/>
              <a:gd name="connsiteY117" fmla="*/ 6363180 h 6858000"/>
              <a:gd name="connsiteX118" fmla="*/ 1032826 w 12192000"/>
              <a:gd name="connsiteY118" fmla="*/ 6548920 h 6858000"/>
              <a:gd name="connsiteX119" fmla="*/ 1067116 w 12192000"/>
              <a:gd name="connsiteY119" fmla="*/ 6548920 h 6858000"/>
              <a:gd name="connsiteX120" fmla="*/ 1067116 w 12192000"/>
              <a:gd name="connsiteY120" fmla="*/ 6363180 h 6858000"/>
              <a:gd name="connsiteX121" fmla="*/ 922336 w 12192000"/>
              <a:gd name="connsiteY121" fmla="*/ 6359370 h 6858000"/>
              <a:gd name="connsiteX122" fmla="*/ 825181 w 12192000"/>
              <a:gd name="connsiteY122" fmla="*/ 6455574 h 6858000"/>
              <a:gd name="connsiteX123" fmla="*/ 922336 w 12192000"/>
              <a:gd name="connsiteY123" fmla="*/ 6551778 h 6858000"/>
              <a:gd name="connsiteX124" fmla="*/ 1013776 w 12192000"/>
              <a:gd name="connsiteY124" fmla="*/ 6482244 h 6858000"/>
              <a:gd name="connsiteX125" fmla="*/ 973771 w 12192000"/>
              <a:gd name="connsiteY125" fmla="*/ 6482244 h 6858000"/>
              <a:gd name="connsiteX126" fmla="*/ 923288 w 12192000"/>
              <a:gd name="connsiteY126" fmla="*/ 6517488 h 6858000"/>
              <a:gd name="connsiteX127" fmla="*/ 865186 w 12192000"/>
              <a:gd name="connsiteY127" fmla="*/ 6455574 h 6858000"/>
              <a:gd name="connsiteX128" fmla="*/ 923288 w 12192000"/>
              <a:gd name="connsiteY128" fmla="*/ 6393661 h 6858000"/>
              <a:gd name="connsiteX129" fmla="*/ 972818 w 12192000"/>
              <a:gd name="connsiteY129" fmla="*/ 6428904 h 6858000"/>
              <a:gd name="connsiteX130" fmla="*/ 1013776 w 12192000"/>
              <a:gd name="connsiteY130" fmla="*/ 6428904 h 6858000"/>
              <a:gd name="connsiteX131" fmla="*/ 922336 w 12192000"/>
              <a:gd name="connsiteY131" fmla="*/ 6359370 h 6858000"/>
              <a:gd name="connsiteX132" fmla="*/ 646112 w 12192000"/>
              <a:gd name="connsiteY132" fmla="*/ 6339367 h 6858000"/>
              <a:gd name="connsiteX133" fmla="*/ 619442 w 12192000"/>
              <a:gd name="connsiteY133" fmla="*/ 6387945 h 6858000"/>
              <a:gd name="connsiteX134" fmla="*/ 735647 w 12192000"/>
              <a:gd name="connsiteY134" fmla="*/ 6455574 h 6858000"/>
              <a:gd name="connsiteX135" fmla="*/ 764222 w 12192000"/>
              <a:gd name="connsiteY135" fmla="*/ 6407948 h 6858000"/>
              <a:gd name="connsiteX136" fmla="*/ 646112 w 12192000"/>
              <a:gd name="connsiteY136" fmla="*/ 6339367 h 6858000"/>
              <a:gd name="connsiteX137" fmla="*/ 0 w 12192000"/>
              <a:gd name="connsiteY137" fmla="*/ 0 h 6858000"/>
              <a:gd name="connsiteX138" fmla="*/ 7104065 w 12192000"/>
              <a:gd name="connsiteY138" fmla="*/ 0 h 6858000"/>
              <a:gd name="connsiteX139" fmla="*/ 8040688 w 12192000"/>
              <a:gd name="connsiteY139" fmla="*/ 0 h 6858000"/>
              <a:gd name="connsiteX140" fmla="*/ 12192000 w 12192000"/>
              <a:gd name="connsiteY140" fmla="*/ 0 h 6858000"/>
              <a:gd name="connsiteX141" fmla="*/ 12192000 w 12192000"/>
              <a:gd name="connsiteY141" fmla="*/ 6858000 h 6858000"/>
              <a:gd name="connsiteX142" fmla="*/ 8040688 w 12192000"/>
              <a:gd name="connsiteY142" fmla="*/ 6858000 h 6858000"/>
              <a:gd name="connsiteX143" fmla="*/ 7104065 w 12192000"/>
              <a:gd name="connsiteY143" fmla="*/ 6858000 h 6858000"/>
              <a:gd name="connsiteX144" fmla="*/ 0 w 12192000"/>
              <a:gd name="connsiteY144"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12192000" h="6858000">
                <a:moveTo>
                  <a:pt x="1579559" y="6496532"/>
                </a:moveTo>
                <a:lnTo>
                  <a:pt x="1579559" y="6505105"/>
                </a:lnTo>
                <a:cubicBezTo>
                  <a:pt x="1579559" y="6520345"/>
                  <a:pt x="1566224" y="6527013"/>
                  <a:pt x="1555747" y="6527013"/>
                </a:cubicBezTo>
                <a:cubicBezTo>
                  <a:pt x="1545269" y="6527013"/>
                  <a:pt x="1538602" y="6521298"/>
                  <a:pt x="1538602" y="6512725"/>
                </a:cubicBezTo>
                <a:cubicBezTo>
                  <a:pt x="1538602" y="6504152"/>
                  <a:pt x="1545269" y="6499390"/>
                  <a:pt x="1555747" y="6499390"/>
                </a:cubicBezTo>
                <a:lnTo>
                  <a:pt x="1569082" y="6499390"/>
                </a:lnTo>
                <a:cubicBezTo>
                  <a:pt x="1573844" y="6499390"/>
                  <a:pt x="1577654" y="6498437"/>
                  <a:pt x="1579559" y="6496532"/>
                </a:cubicBezTo>
                <a:close/>
                <a:moveTo>
                  <a:pt x="1162365" y="6496532"/>
                </a:moveTo>
                <a:lnTo>
                  <a:pt x="1162365" y="6505105"/>
                </a:lnTo>
                <a:cubicBezTo>
                  <a:pt x="1162365" y="6520345"/>
                  <a:pt x="1149030" y="6527013"/>
                  <a:pt x="1138553" y="6527013"/>
                </a:cubicBezTo>
                <a:cubicBezTo>
                  <a:pt x="1128075" y="6527013"/>
                  <a:pt x="1121408" y="6521298"/>
                  <a:pt x="1121408" y="6512725"/>
                </a:cubicBezTo>
                <a:cubicBezTo>
                  <a:pt x="1121408" y="6504152"/>
                  <a:pt x="1128075" y="6499390"/>
                  <a:pt x="1138553" y="6499390"/>
                </a:cubicBezTo>
                <a:lnTo>
                  <a:pt x="1151888" y="6499390"/>
                </a:lnTo>
                <a:cubicBezTo>
                  <a:pt x="1156650" y="6499390"/>
                  <a:pt x="1160460" y="6498437"/>
                  <a:pt x="1162365" y="6496532"/>
                </a:cubicBezTo>
                <a:close/>
                <a:moveTo>
                  <a:pt x="736599" y="6455574"/>
                </a:moveTo>
                <a:cubicBezTo>
                  <a:pt x="707072" y="6490817"/>
                  <a:pt x="666114" y="6515582"/>
                  <a:pt x="619442" y="6523203"/>
                </a:cubicBezTo>
                <a:cubicBezTo>
                  <a:pt x="623252" y="6532728"/>
                  <a:pt x="628014" y="6543205"/>
                  <a:pt x="632777" y="6552731"/>
                </a:cubicBezTo>
                <a:cubicBezTo>
                  <a:pt x="636587" y="6559398"/>
                  <a:pt x="641349" y="6566066"/>
                  <a:pt x="646112" y="6571781"/>
                </a:cubicBezTo>
                <a:cubicBezTo>
                  <a:pt x="691832" y="6560351"/>
                  <a:pt x="732789" y="6536538"/>
                  <a:pt x="765174" y="6503200"/>
                </a:cubicBezTo>
                <a:cubicBezTo>
                  <a:pt x="757554" y="6486054"/>
                  <a:pt x="748029" y="6469862"/>
                  <a:pt x="736599" y="6455574"/>
                </a:cubicBezTo>
                <a:close/>
                <a:moveTo>
                  <a:pt x="1781490" y="6452716"/>
                </a:moveTo>
                <a:cubicBezTo>
                  <a:pt x="1795777" y="6452716"/>
                  <a:pt x="1806255" y="6462241"/>
                  <a:pt x="1808160" y="6474624"/>
                </a:cubicBezTo>
                <a:lnTo>
                  <a:pt x="1753867" y="6474624"/>
                </a:lnTo>
                <a:cubicBezTo>
                  <a:pt x="1756725" y="6461289"/>
                  <a:pt x="1767202" y="6452716"/>
                  <a:pt x="1781490" y="6452716"/>
                </a:cubicBezTo>
                <a:close/>
                <a:moveTo>
                  <a:pt x="1309050" y="6426999"/>
                </a:moveTo>
                <a:lnTo>
                  <a:pt x="1309050" y="6456526"/>
                </a:lnTo>
                <a:lnTo>
                  <a:pt x="1326195" y="6456526"/>
                </a:lnTo>
                <a:lnTo>
                  <a:pt x="1326195" y="6548920"/>
                </a:lnTo>
                <a:lnTo>
                  <a:pt x="1360485" y="6548920"/>
                </a:lnTo>
                <a:lnTo>
                  <a:pt x="1360485" y="6426999"/>
                </a:lnTo>
                <a:close/>
                <a:moveTo>
                  <a:pt x="1372868" y="6426998"/>
                </a:moveTo>
                <a:lnTo>
                  <a:pt x="1414778" y="6548920"/>
                </a:lnTo>
                <a:lnTo>
                  <a:pt x="1457640" y="6548920"/>
                </a:lnTo>
                <a:lnTo>
                  <a:pt x="1501455" y="6426998"/>
                </a:lnTo>
                <a:lnTo>
                  <a:pt x="1465260" y="6426998"/>
                </a:lnTo>
                <a:lnTo>
                  <a:pt x="1437638" y="6511772"/>
                </a:lnTo>
                <a:lnTo>
                  <a:pt x="1410015" y="6426998"/>
                </a:lnTo>
                <a:close/>
                <a:moveTo>
                  <a:pt x="1781490" y="6425093"/>
                </a:moveTo>
                <a:cubicBezTo>
                  <a:pt x="1745295" y="6425093"/>
                  <a:pt x="1718625" y="6451763"/>
                  <a:pt x="1718625" y="6488912"/>
                </a:cubicBezTo>
                <a:cubicBezTo>
                  <a:pt x="1718625" y="6526060"/>
                  <a:pt x="1754820" y="6552730"/>
                  <a:pt x="1782442" y="6552730"/>
                </a:cubicBezTo>
                <a:cubicBezTo>
                  <a:pt x="1810065" y="6552730"/>
                  <a:pt x="1832925" y="6540347"/>
                  <a:pt x="1843402" y="6514629"/>
                </a:cubicBezTo>
                <a:lnTo>
                  <a:pt x="1807207" y="6510819"/>
                </a:lnTo>
                <a:cubicBezTo>
                  <a:pt x="1802445" y="6518439"/>
                  <a:pt x="1797682" y="6523202"/>
                  <a:pt x="1782442" y="6523202"/>
                </a:cubicBezTo>
                <a:cubicBezTo>
                  <a:pt x="1767202" y="6523202"/>
                  <a:pt x="1756725" y="6511772"/>
                  <a:pt x="1754820" y="6498437"/>
                </a:cubicBezTo>
                <a:lnTo>
                  <a:pt x="1845307" y="6498437"/>
                </a:lnTo>
                <a:lnTo>
                  <a:pt x="1845307" y="6497484"/>
                </a:lnTo>
                <a:cubicBezTo>
                  <a:pt x="1845307" y="6447001"/>
                  <a:pt x="1817685" y="6425093"/>
                  <a:pt x="1781490" y="6425093"/>
                </a:cubicBezTo>
                <a:close/>
                <a:moveTo>
                  <a:pt x="1282380" y="6425093"/>
                </a:moveTo>
                <a:cubicBezTo>
                  <a:pt x="1267140" y="6425093"/>
                  <a:pt x="1255710" y="6432713"/>
                  <a:pt x="1250947" y="6446048"/>
                </a:cubicBezTo>
                <a:lnTo>
                  <a:pt x="1250947" y="6426998"/>
                </a:lnTo>
                <a:lnTo>
                  <a:pt x="1217610" y="6426998"/>
                </a:lnTo>
                <a:lnTo>
                  <a:pt x="1217610" y="6548920"/>
                </a:lnTo>
                <a:lnTo>
                  <a:pt x="1251900" y="6548920"/>
                </a:lnTo>
                <a:lnTo>
                  <a:pt x="1251900" y="6490817"/>
                </a:lnTo>
                <a:cubicBezTo>
                  <a:pt x="1251900" y="6469861"/>
                  <a:pt x="1260472" y="6461289"/>
                  <a:pt x="1277617" y="6461289"/>
                </a:cubicBezTo>
                <a:lnTo>
                  <a:pt x="1291905" y="6461289"/>
                </a:lnTo>
                <a:cubicBezTo>
                  <a:pt x="1291905" y="6461289"/>
                  <a:pt x="1291905" y="6426046"/>
                  <a:pt x="1291905" y="6426046"/>
                </a:cubicBezTo>
                <a:cubicBezTo>
                  <a:pt x="1289047" y="6425093"/>
                  <a:pt x="1297620" y="6425093"/>
                  <a:pt x="1282380" y="6425093"/>
                </a:cubicBezTo>
                <a:close/>
                <a:moveTo>
                  <a:pt x="1562414" y="6424141"/>
                </a:moveTo>
                <a:cubicBezTo>
                  <a:pt x="1532887" y="6424141"/>
                  <a:pt x="1510027" y="6439381"/>
                  <a:pt x="1510027" y="6439381"/>
                </a:cubicBezTo>
                <a:lnTo>
                  <a:pt x="1523362" y="6465099"/>
                </a:lnTo>
                <a:cubicBezTo>
                  <a:pt x="1531934" y="6459384"/>
                  <a:pt x="1546222" y="6453669"/>
                  <a:pt x="1559557" y="6453669"/>
                </a:cubicBezTo>
                <a:cubicBezTo>
                  <a:pt x="1572892" y="6453669"/>
                  <a:pt x="1579559" y="6459384"/>
                  <a:pt x="1579559" y="6467957"/>
                </a:cubicBezTo>
                <a:lnTo>
                  <a:pt x="1580512" y="6468909"/>
                </a:lnTo>
                <a:cubicBezTo>
                  <a:pt x="1580512" y="6473672"/>
                  <a:pt x="1577654" y="6476529"/>
                  <a:pt x="1571939" y="6476529"/>
                </a:cubicBezTo>
                <a:lnTo>
                  <a:pt x="1548127" y="6476529"/>
                </a:lnTo>
                <a:cubicBezTo>
                  <a:pt x="1521457" y="6476529"/>
                  <a:pt x="1504312" y="6493675"/>
                  <a:pt x="1504312" y="6513677"/>
                </a:cubicBezTo>
                <a:cubicBezTo>
                  <a:pt x="1504312" y="6533680"/>
                  <a:pt x="1521457" y="6551778"/>
                  <a:pt x="1547174" y="6551778"/>
                </a:cubicBezTo>
                <a:cubicBezTo>
                  <a:pt x="1561462" y="6551778"/>
                  <a:pt x="1574797" y="6547015"/>
                  <a:pt x="1581464" y="6537490"/>
                </a:cubicBezTo>
                <a:lnTo>
                  <a:pt x="1581464" y="6548920"/>
                </a:lnTo>
                <a:lnTo>
                  <a:pt x="1615754" y="6548920"/>
                </a:lnTo>
                <a:lnTo>
                  <a:pt x="1615754" y="6468909"/>
                </a:lnTo>
                <a:cubicBezTo>
                  <a:pt x="1615754" y="6436524"/>
                  <a:pt x="1591942" y="6424141"/>
                  <a:pt x="1562414" y="6424141"/>
                </a:cubicBezTo>
                <a:close/>
                <a:moveTo>
                  <a:pt x="1145220" y="6424141"/>
                </a:moveTo>
                <a:cubicBezTo>
                  <a:pt x="1115693" y="6424141"/>
                  <a:pt x="1092833" y="6439381"/>
                  <a:pt x="1092833" y="6439381"/>
                </a:cubicBezTo>
                <a:lnTo>
                  <a:pt x="1106168" y="6465099"/>
                </a:lnTo>
                <a:cubicBezTo>
                  <a:pt x="1114740" y="6459384"/>
                  <a:pt x="1129028" y="6453669"/>
                  <a:pt x="1142363" y="6453669"/>
                </a:cubicBezTo>
                <a:cubicBezTo>
                  <a:pt x="1155698" y="6453669"/>
                  <a:pt x="1162365" y="6459384"/>
                  <a:pt x="1162365" y="6467957"/>
                </a:cubicBezTo>
                <a:lnTo>
                  <a:pt x="1163318" y="6468909"/>
                </a:lnTo>
                <a:cubicBezTo>
                  <a:pt x="1163318" y="6473672"/>
                  <a:pt x="1160460" y="6476529"/>
                  <a:pt x="1154745" y="6476529"/>
                </a:cubicBezTo>
                <a:lnTo>
                  <a:pt x="1130933" y="6476529"/>
                </a:lnTo>
                <a:cubicBezTo>
                  <a:pt x="1104263" y="6476529"/>
                  <a:pt x="1087118" y="6493675"/>
                  <a:pt x="1087118" y="6513677"/>
                </a:cubicBezTo>
                <a:cubicBezTo>
                  <a:pt x="1087118" y="6533680"/>
                  <a:pt x="1104263" y="6551778"/>
                  <a:pt x="1129980" y="6551778"/>
                </a:cubicBezTo>
                <a:cubicBezTo>
                  <a:pt x="1144268" y="6551778"/>
                  <a:pt x="1157603" y="6547015"/>
                  <a:pt x="1164270" y="6537490"/>
                </a:cubicBezTo>
                <a:lnTo>
                  <a:pt x="1164270" y="6548920"/>
                </a:lnTo>
                <a:lnTo>
                  <a:pt x="1198560" y="6548920"/>
                </a:lnTo>
                <a:lnTo>
                  <a:pt x="1198560" y="6468909"/>
                </a:lnTo>
                <a:cubicBezTo>
                  <a:pt x="1198560" y="6436524"/>
                  <a:pt x="1174748" y="6424141"/>
                  <a:pt x="1145220" y="6424141"/>
                </a:cubicBezTo>
                <a:close/>
                <a:moveTo>
                  <a:pt x="587056" y="6386040"/>
                </a:moveTo>
                <a:cubicBezTo>
                  <a:pt x="575626" y="6386040"/>
                  <a:pt x="571816" y="6386040"/>
                  <a:pt x="564196" y="6386993"/>
                </a:cubicBezTo>
                <a:cubicBezTo>
                  <a:pt x="551814" y="6430808"/>
                  <a:pt x="550861" y="6478434"/>
                  <a:pt x="564196" y="6524155"/>
                </a:cubicBezTo>
                <a:cubicBezTo>
                  <a:pt x="571816" y="6524155"/>
                  <a:pt x="579436" y="6526060"/>
                  <a:pt x="587056" y="6526060"/>
                </a:cubicBezTo>
                <a:cubicBezTo>
                  <a:pt x="598486" y="6526060"/>
                  <a:pt x="608964" y="6525107"/>
                  <a:pt x="619441" y="6523202"/>
                </a:cubicBezTo>
                <a:cubicBezTo>
                  <a:pt x="605154" y="6486054"/>
                  <a:pt x="603249" y="6445096"/>
                  <a:pt x="613726" y="6406043"/>
                </a:cubicBezTo>
                <a:cubicBezTo>
                  <a:pt x="615631" y="6400328"/>
                  <a:pt x="617536" y="6394613"/>
                  <a:pt x="619441" y="6388898"/>
                </a:cubicBezTo>
                <a:cubicBezTo>
                  <a:pt x="608964" y="6386993"/>
                  <a:pt x="598486" y="6386040"/>
                  <a:pt x="587056" y="6386040"/>
                </a:cubicBezTo>
                <a:close/>
                <a:moveTo>
                  <a:pt x="1647187" y="6381278"/>
                </a:moveTo>
                <a:lnTo>
                  <a:pt x="1647187" y="6427951"/>
                </a:lnTo>
                <a:lnTo>
                  <a:pt x="1628137" y="6427951"/>
                </a:lnTo>
                <a:lnTo>
                  <a:pt x="1628137" y="6457479"/>
                </a:lnTo>
                <a:lnTo>
                  <a:pt x="1647187" y="6457479"/>
                </a:lnTo>
                <a:lnTo>
                  <a:pt x="1647187" y="6524155"/>
                </a:lnTo>
                <a:cubicBezTo>
                  <a:pt x="1647187" y="6548920"/>
                  <a:pt x="1665284" y="6551778"/>
                  <a:pt x="1682429" y="6551778"/>
                </a:cubicBezTo>
                <a:cubicBezTo>
                  <a:pt x="1691954" y="6551778"/>
                  <a:pt x="1709099" y="6549873"/>
                  <a:pt x="1709099" y="6549873"/>
                </a:cubicBezTo>
                <a:lnTo>
                  <a:pt x="1709099" y="6520345"/>
                </a:lnTo>
                <a:cubicBezTo>
                  <a:pt x="1709099" y="6520345"/>
                  <a:pt x="1701479" y="6520345"/>
                  <a:pt x="1692907" y="6520345"/>
                </a:cubicBezTo>
                <a:cubicBezTo>
                  <a:pt x="1687192" y="6520345"/>
                  <a:pt x="1681477" y="6519392"/>
                  <a:pt x="1681477" y="6511772"/>
                </a:cubicBezTo>
                <a:lnTo>
                  <a:pt x="1681477" y="6456526"/>
                </a:lnTo>
                <a:lnTo>
                  <a:pt x="1708147" y="6456526"/>
                </a:lnTo>
                <a:lnTo>
                  <a:pt x="1708147" y="6426998"/>
                </a:lnTo>
                <a:lnTo>
                  <a:pt x="1681477" y="6426998"/>
                </a:lnTo>
                <a:lnTo>
                  <a:pt x="1681477" y="6381278"/>
                </a:lnTo>
                <a:close/>
                <a:moveTo>
                  <a:pt x="1341435" y="6363180"/>
                </a:moveTo>
                <a:cubicBezTo>
                  <a:pt x="1329052" y="6363180"/>
                  <a:pt x="1319527" y="6372705"/>
                  <a:pt x="1319527" y="6385088"/>
                </a:cubicBezTo>
                <a:cubicBezTo>
                  <a:pt x="1319527" y="6397471"/>
                  <a:pt x="1329052" y="6406996"/>
                  <a:pt x="1341435" y="6406996"/>
                </a:cubicBezTo>
                <a:cubicBezTo>
                  <a:pt x="1353817" y="6406996"/>
                  <a:pt x="1363342" y="6396518"/>
                  <a:pt x="1363342" y="6385088"/>
                </a:cubicBezTo>
                <a:cubicBezTo>
                  <a:pt x="1363342" y="6373658"/>
                  <a:pt x="1353817" y="6363180"/>
                  <a:pt x="1341435" y="6363180"/>
                </a:cubicBezTo>
                <a:close/>
                <a:moveTo>
                  <a:pt x="1032826" y="6363180"/>
                </a:moveTo>
                <a:lnTo>
                  <a:pt x="1032826" y="6548920"/>
                </a:lnTo>
                <a:lnTo>
                  <a:pt x="1067116" y="6548920"/>
                </a:lnTo>
                <a:lnTo>
                  <a:pt x="1067116" y="6363180"/>
                </a:lnTo>
                <a:close/>
                <a:moveTo>
                  <a:pt x="922336" y="6359370"/>
                </a:moveTo>
                <a:cubicBezTo>
                  <a:pt x="867091" y="6359370"/>
                  <a:pt x="825181" y="6399376"/>
                  <a:pt x="825181" y="6455574"/>
                </a:cubicBezTo>
                <a:cubicBezTo>
                  <a:pt x="825181" y="6511772"/>
                  <a:pt x="880426" y="6551778"/>
                  <a:pt x="922336" y="6551778"/>
                </a:cubicBezTo>
                <a:cubicBezTo>
                  <a:pt x="964246" y="6551778"/>
                  <a:pt x="1003298" y="6526060"/>
                  <a:pt x="1013776" y="6482244"/>
                </a:cubicBezTo>
                <a:lnTo>
                  <a:pt x="973771" y="6482244"/>
                </a:lnTo>
                <a:cubicBezTo>
                  <a:pt x="967103" y="6504152"/>
                  <a:pt x="948053" y="6517488"/>
                  <a:pt x="923288" y="6517488"/>
                </a:cubicBezTo>
                <a:cubicBezTo>
                  <a:pt x="888046" y="6517488"/>
                  <a:pt x="865186" y="6490817"/>
                  <a:pt x="865186" y="6455574"/>
                </a:cubicBezTo>
                <a:cubicBezTo>
                  <a:pt x="865186" y="6420331"/>
                  <a:pt x="888046" y="6393661"/>
                  <a:pt x="923288" y="6393661"/>
                </a:cubicBezTo>
                <a:cubicBezTo>
                  <a:pt x="947101" y="6393661"/>
                  <a:pt x="966151" y="6406996"/>
                  <a:pt x="972818" y="6428904"/>
                </a:cubicBezTo>
                <a:lnTo>
                  <a:pt x="1013776" y="6428904"/>
                </a:lnTo>
                <a:cubicBezTo>
                  <a:pt x="1002346" y="6385088"/>
                  <a:pt x="977581" y="6359370"/>
                  <a:pt x="922336" y="6359370"/>
                </a:cubicBezTo>
                <a:close/>
                <a:moveTo>
                  <a:pt x="646112" y="6339367"/>
                </a:moveTo>
                <a:cubicBezTo>
                  <a:pt x="634682" y="6354607"/>
                  <a:pt x="626109" y="6370800"/>
                  <a:pt x="619442" y="6387945"/>
                </a:cubicBezTo>
                <a:cubicBezTo>
                  <a:pt x="666114" y="6395565"/>
                  <a:pt x="707072" y="6420331"/>
                  <a:pt x="735647" y="6455574"/>
                </a:cubicBezTo>
                <a:cubicBezTo>
                  <a:pt x="747077" y="6441286"/>
                  <a:pt x="757554" y="6425093"/>
                  <a:pt x="764222" y="6407948"/>
                </a:cubicBezTo>
                <a:cubicBezTo>
                  <a:pt x="732789" y="6375563"/>
                  <a:pt x="691832" y="6350797"/>
                  <a:pt x="646112" y="6339367"/>
                </a:cubicBezTo>
                <a:close/>
                <a:moveTo>
                  <a:pt x="0" y="0"/>
                </a:moveTo>
                <a:lnTo>
                  <a:pt x="7104065" y="0"/>
                </a:lnTo>
                <a:lnTo>
                  <a:pt x="8040688" y="0"/>
                </a:lnTo>
                <a:lnTo>
                  <a:pt x="12192000" y="0"/>
                </a:lnTo>
                <a:lnTo>
                  <a:pt x="12192000" y="6858000"/>
                </a:lnTo>
                <a:lnTo>
                  <a:pt x="8040688" y="6858000"/>
                </a:lnTo>
                <a:lnTo>
                  <a:pt x="7104065" y="6858000"/>
                </a:lnTo>
                <a:lnTo>
                  <a:pt x="0" y="6858000"/>
                </a:lnTo>
                <a:close/>
              </a:path>
            </a:pathLst>
          </a:custGeom>
          <a:solidFill>
            <a:schemeClr val="bg1">
              <a:lumMod val="95000"/>
            </a:schemeClr>
          </a:solidFill>
          <a:ln>
            <a:noFill/>
          </a:ln>
        </p:spPr>
        <p:txBody>
          <a:bodyPr wrap="square" tIns="180000" anchor="t" anchorCtr="0">
            <a:noAutofit/>
          </a:bodyPr>
          <a:lstStyle>
            <a:lvl1pPr marL="0" indent="0" algn="ctr">
              <a:buNone/>
              <a:defRPr sz="1000">
                <a:solidFill>
                  <a:schemeClr val="accent2"/>
                </a:solidFill>
                <a:latin typeface="+mn-lt"/>
              </a:defRPr>
            </a:lvl1pPr>
          </a:lstStyle>
          <a:p>
            <a:pPr lvl="0"/>
            <a:r>
              <a:rPr lang="en-US"/>
              <a:t>Drag picture file here or click </a:t>
            </a:r>
            <a:r>
              <a:rPr lang="en-US" noProof="0"/>
              <a:t>center</a:t>
            </a:r>
            <a:r>
              <a:rPr lang="en-US"/>
              <a:t> icon to insert light image</a:t>
            </a:r>
          </a:p>
        </p:txBody>
      </p:sp>
      <p:sp>
        <p:nvSpPr>
          <p:cNvPr id="10" name="Text Placeholder 9">
            <a:extLst>
              <a:ext uri="{FF2B5EF4-FFF2-40B4-BE49-F238E27FC236}">
                <a16:creationId xmlns:a16="http://schemas.microsoft.com/office/drawing/2014/main" id="{768C0EE5-7595-B97C-61F7-F69AAADB86EA}"/>
              </a:ext>
            </a:extLst>
          </p:cNvPr>
          <p:cNvSpPr>
            <a:spLocks noGrp="1"/>
          </p:cNvSpPr>
          <p:nvPr>
            <p:ph type="body" sz="quarter" idx="26" hasCustomPrompt="1"/>
          </p:nvPr>
        </p:nvSpPr>
        <p:spPr>
          <a:xfrm>
            <a:off x="1487488" y="2979813"/>
            <a:ext cx="8280400" cy="1107996"/>
          </a:xfrm>
          <a:prstGeom prst="rect">
            <a:avLst/>
          </a:prstGeom>
          <a:noFill/>
        </p:spPr>
        <p:txBody>
          <a:bodyPr wrap="square" lIns="0" tIns="0" rIns="0" bIns="0" anchor="b" anchorCtr="0">
            <a:spAutoFit/>
          </a:bodyPr>
          <a:lstStyle>
            <a:lvl1pPr marL="0" indent="0" algn="l">
              <a:buNone/>
              <a:tabLst/>
              <a:defRPr sz="3600">
                <a:solidFill>
                  <a:schemeClr val="tx1"/>
                </a:solidFill>
                <a:latin typeface="+mj-lt"/>
              </a:defRPr>
            </a:lvl1pPr>
          </a:lstStyle>
          <a:p>
            <a:pPr lvl="0"/>
            <a:r>
              <a:rPr lang="en-US"/>
              <a:t>“Quote copy, resize textbox </a:t>
            </a:r>
            <a:r>
              <a:rPr lang="en-US" err="1"/>
              <a:t>recolour</a:t>
            </a:r>
            <a:r>
              <a:rPr lang="en-US"/>
              <a:t> text as required”.</a:t>
            </a:r>
            <a:endParaRPr lang="en-GB"/>
          </a:p>
        </p:txBody>
      </p:sp>
      <p:sp>
        <p:nvSpPr>
          <p:cNvPr id="8" name="Text Placeholder 12">
            <a:extLst>
              <a:ext uri="{FF2B5EF4-FFF2-40B4-BE49-F238E27FC236}">
                <a16:creationId xmlns:a16="http://schemas.microsoft.com/office/drawing/2014/main" id="{8DDC60B7-E753-52DF-078B-3DC551E10500}"/>
              </a:ext>
            </a:extLst>
          </p:cNvPr>
          <p:cNvSpPr>
            <a:spLocks noGrp="1"/>
          </p:cNvSpPr>
          <p:nvPr>
            <p:ph type="body" sz="quarter" idx="28" hasCustomPrompt="1"/>
          </p:nvPr>
        </p:nvSpPr>
        <p:spPr>
          <a:xfrm>
            <a:off x="1487488" y="4286568"/>
            <a:ext cx="3600450" cy="259239"/>
          </a:xfrm>
          <a:noFill/>
        </p:spPr>
        <p:txBody>
          <a:bodyPr/>
          <a:lstStyle>
            <a:lvl1pPr marL="0" indent="0" algn="l">
              <a:buNone/>
              <a:defRPr sz="16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9" name="Text Placeholder 12">
            <a:extLst>
              <a:ext uri="{FF2B5EF4-FFF2-40B4-BE49-F238E27FC236}">
                <a16:creationId xmlns:a16="http://schemas.microsoft.com/office/drawing/2014/main" id="{4BB56A7A-43A7-EBC8-E591-5A304D59169A}"/>
              </a:ext>
            </a:extLst>
          </p:cNvPr>
          <p:cNvSpPr>
            <a:spLocks noGrp="1"/>
          </p:cNvSpPr>
          <p:nvPr>
            <p:ph type="body" sz="quarter" idx="29" hasCustomPrompt="1"/>
          </p:nvPr>
        </p:nvSpPr>
        <p:spPr>
          <a:xfrm>
            <a:off x="1487488" y="4543748"/>
            <a:ext cx="3600450" cy="259239"/>
          </a:xfrm>
          <a:noFill/>
        </p:spPr>
        <p:txBody>
          <a:bodyPr/>
          <a:lstStyle>
            <a:lvl1pPr marL="0" indent="0" algn="l">
              <a:buNone/>
              <a:defRPr sz="1500">
                <a:solidFill>
                  <a:schemeClr val="tx1"/>
                </a:solidFill>
                <a:latin typeface="+mn-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Company name</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spTree>
    <p:extLst>
      <p:ext uri="{BB962C8B-B14F-4D97-AF65-F5344CB8AC3E}">
        <p14:creationId xmlns:p14="http://schemas.microsoft.com/office/powerpoint/2010/main" val="2951784456"/>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3x Image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251885"/>
          </a:xfrm>
        </p:spPr>
        <p:txBody>
          <a:bodyPr/>
          <a:lstStyle>
            <a:lvl1pPr>
              <a:defRPr/>
            </a:lvl1pPr>
          </a:lstStyle>
          <a:p>
            <a:r>
              <a:rPr lang="en-US"/>
              <a:t>Header avenir demi</a:t>
            </a:r>
            <a:endParaRPr lang="en-GB"/>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5" name="Picture Placeholder 15">
            <a:extLst>
              <a:ext uri="{FF2B5EF4-FFF2-40B4-BE49-F238E27FC236}">
                <a16:creationId xmlns:a16="http://schemas.microsoft.com/office/drawing/2014/main" id="{903F0106-157C-427D-4EE3-058FF2156B3C}"/>
              </a:ext>
              <a:ext uri="{C183D7F6-B498-43B3-948B-1728B52AA6E4}">
                <adec:decorative xmlns:adec="http://schemas.microsoft.com/office/drawing/2017/decorative" val="1"/>
              </a:ext>
            </a:extLst>
          </p:cNvPr>
          <p:cNvSpPr>
            <a:spLocks noGrp="1"/>
          </p:cNvSpPr>
          <p:nvPr>
            <p:ph type="pic" sz="quarter" idx="20" hasCustomPrompt="1"/>
          </p:nvPr>
        </p:nvSpPr>
        <p:spPr>
          <a:xfrm>
            <a:off x="551231" y="1815304"/>
            <a:ext cx="3202379" cy="1613696"/>
          </a:xfrm>
          <a:noFill/>
        </p:spPr>
        <p:txBody>
          <a:bodyPr tIns="144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8" name="Picture Placeholder 15">
            <a:extLst>
              <a:ext uri="{FF2B5EF4-FFF2-40B4-BE49-F238E27FC236}">
                <a16:creationId xmlns:a16="http://schemas.microsoft.com/office/drawing/2014/main" id="{EC657CC3-F918-1A6E-4F80-19CFDA23FC11}"/>
              </a:ext>
              <a:ext uri="{C183D7F6-B498-43B3-948B-1728B52AA6E4}">
                <adec:decorative xmlns:adec="http://schemas.microsoft.com/office/drawing/2017/decorative" val="1"/>
              </a:ext>
            </a:extLst>
          </p:cNvPr>
          <p:cNvSpPr>
            <a:spLocks noGrp="1"/>
          </p:cNvSpPr>
          <p:nvPr>
            <p:ph type="pic" sz="quarter" idx="27" hasCustomPrompt="1"/>
          </p:nvPr>
        </p:nvSpPr>
        <p:spPr>
          <a:xfrm>
            <a:off x="4295775" y="1815304"/>
            <a:ext cx="3202379" cy="1613696"/>
          </a:xfrm>
          <a:noFill/>
        </p:spPr>
        <p:txBody>
          <a:bodyPr tIns="144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9" name="Picture Placeholder 15">
            <a:extLst>
              <a:ext uri="{FF2B5EF4-FFF2-40B4-BE49-F238E27FC236}">
                <a16:creationId xmlns:a16="http://schemas.microsoft.com/office/drawing/2014/main" id="{8D0A983E-8A75-5B03-E6D8-3B461E3D79BB}"/>
              </a:ext>
              <a:ext uri="{C183D7F6-B498-43B3-948B-1728B52AA6E4}">
                <adec:decorative xmlns:adec="http://schemas.microsoft.com/office/drawing/2017/decorative" val="1"/>
              </a:ext>
            </a:extLst>
          </p:cNvPr>
          <p:cNvSpPr>
            <a:spLocks noGrp="1"/>
          </p:cNvSpPr>
          <p:nvPr>
            <p:ph type="pic" sz="quarter" idx="29" hasCustomPrompt="1"/>
          </p:nvPr>
        </p:nvSpPr>
        <p:spPr>
          <a:xfrm>
            <a:off x="8040688" y="1815304"/>
            <a:ext cx="3204000" cy="1613696"/>
          </a:xfrm>
          <a:noFill/>
        </p:spPr>
        <p:txBody>
          <a:bodyPr tIns="144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17" name="Text Placeholder 12">
            <a:extLst>
              <a:ext uri="{FF2B5EF4-FFF2-40B4-BE49-F238E27FC236}">
                <a16:creationId xmlns:a16="http://schemas.microsoft.com/office/drawing/2014/main" id="{2DA8D027-1671-C417-E0C3-5993F02B96D9}"/>
              </a:ext>
              <a:ext uri="{C183D7F6-B498-43B3-948B-1728B52AA6E4}">
                <adec:decorative xmlns:adec="http://schemas.microsoft.com/office/drawing/2017/decorative" val="1"/>
              </a:ext>
            </a:extLst>
          </p:cNvPr>
          <p:cNvSpPr>
            <a:spLocks noGrp="1"/>
          </p:cNvSpPr>
          <p:nvPr>
            <p:ph type="body" sz="quarter" idx="39" hasCustomPrompt="1"/>
          </p:nvPr>
        </p:nvSpPr>
        <p:spPr>
          <a:xfrm>
            <a:off x="550863" y="1720850"/>
            <a:ext cx="3202897" cy="94454"/>
          </a:xfrm>
          <a:solidFill>
            <a:schemeClr val="accent2"/>
          </a:solidFill>
        </p:spPr>
        <p:txBody>
          <a:bodyPr/>
          <a:lstStyle>
            <a:lvl1pPr marL="0" indent="0">
              <a:buNone/>
              <a:defRPr sz="200"/>
            </a:lvl1pPr>
            <a:lvl4pPr>
              <a:buClr>
                <a:schemeClr val="accent1"/>
              </a:buClr>
              <a:defRPr/>
            </a:lvl4pPr>
            <a:lvl5pPr>
              <a:buClr>
                <a:schemeClr val="accent1"/>
              </a:buClr>
              <a:defRPr/>
            </a:lvl5pPr>
          </a:lstStyle>
          <a:p>
            <a:pPr lvl="0"/>
            <a:r>
              <a:rPr lang="en-US"/>
              <a:t> </a:t>
            </a:r>
            <a:endParaRPr lang="en-GB"/>
          </a:p>
        </p:txBody>
      </p:sp>
      <p:sp>
        <p:nvSpPr>
          <p:cNvPr id="20" name="Text Placeholder 12">
            <a:extLst>
              <a:ext uri="{FF2B5EF4-FFF2-40B4-BE49-F238E27FC236}">
                <a16:creationId xmlns:a16="http://schemas.microsoft.com/office/drawing/2014/main" id="{CD7185C1-17ED-4DDA-8D74-3D9B371C3A61}"/>
              </a:ext>
              <a:ext uri="{C183D7F6-B498-43B3-948B-1728B52AA6E4}">
                <adec:decorative xmlns:adec="http://schemas.microsoft.com/office/drawing/2017/decorative" val="1"/>
              </a:ext>
            </a:extLst>
          </p:cNvPr>
          <p:cNvSpPr>
            <a:spLocks noGrp="1"/>
          </p:cNvSpPr>
          <p:nvPr>
            <p:ph type="body" sz="quarter" idx="40" hasCustomPrompt="1"/>
          </p:nvPr>
        </p:nvSpPr>
        <p:spPr>
          <a:xfrm>
            <a:off x="4295560" y="1720850"/>
            <a:ext cx="3202898" cy="94454"/>
          </a:xfrm>
          <a:solidFill>
            <a:schemeClr val="accent2"/>
          </a:solidFill>
        </p:spPr>
        <p:txBody>
          <a:bodyPr/>
          <a:lstStyle>
            <a:lvl1pPr marL="0" indent="0">
              <a:buNone/>
              <a:defRPr sz="200"/>
            </a:lvl1pPr>
            <a:lvl4pPr>
              <a:buClr>
                <a:schemeClr val="accent1"/>
              </a:buClr>
              <a:defRPr/>
            </a:lvl4pPr>
            <a:lvl5pPr>
              <a:buClr>
                <a:schemeClr val="accent1"/>
              </a:buClr>
              <a:defRPr/>
            </a:lvl5pPr>
          </a:lstStyle>
          <a:p>
            <a:pPr lvl="0"/>
            <a:r>
              <a:rPr lang="en-US"/>
              <a:t> </a:t>
            </a:r>
            <a:endParaRPr lang="en-GB"/>
          </a:p>
        </p:txBody>
      </p:sp>
      <p:sp>
        <p:nvSpPr>
          <p:cNvPr id="21" name="Text Placeholder 12">
            <a:extLst>
              <a:ext uri="{FF2B5EF4-FFF2-40B4-BE49-F238E27FC236}">
                <a16:creationId xmlns:a16="http://schemas.microsoft.com/office/drawing/2014/main" id="{C20373E0-93FA-5E07-BE29-2A7CDEAB21F9}"/>
              </a:ext>
              <a:ext uri="{C183D7F6-B498-43B3-948B-1728B52AA6E4}">
                <adec:decorative xmlns:adec="http://schemas.microsoft.com/office/drawing/2017/decorative" val="1"/>
              </a:ext>
            </a:extLst>
          </p:cNvPr>
          <p:cNvSpPr>
            <a:spLocks noGrp="1"/>
          </p:cNvSpPr>
          <p:nvPr>
            <p:ph type="body" sz="quarter" idx="41" hasCustomPrompt="1"/>
          </p:nvPr>
        </p:nvSpPr>
        <p:spPr>
          <a:xfrm>
            <a:off x="8040168" y="1720850"/>
            <a:ext cx="3204519" cy="94454"/>
          </a:xfrm>
          <a:solidFill>
            <a:schemeClr val="accent2"/>
          </a:solidFill>
        </p:spPr>
        <p:txBody>
          <a:bodyPr/>
          <a:lstStyle>
            <a:lvl1pPr marL="0" indent="0">
              <a:buNone/>
              <a:defRPr sz="200"/>
            </a:lvl1pPr>
            <a:lvl4pPr>
              <a:buClr>
                <a:schemeClr val="accent1"/>
              </a:buClr>
              <a:defRPr/>
            </a:lvl4pPr>
            <a:lvl5pPr>
              <a:buClr>
                <a:schemeClr val="accent1"/>
              </a:buClr>
              <a:defRPr/>
            </a:lvl5pPr>
          </a:lstStyle>
          <a:p>
            <a:pPr lvl="0"/>
            <a:r>
              <a:rPr lang="en-US"/>
              <a:t> </a:t>
            </a:r>
            <a:endParaRPr lang="en-GB"/>
          </a:p>
        </p:txBody>
      </p:sp>
      <p:sp>
        <p:nvSpPr>
          <p:cNvPr id="23" name="Text Placeholder 12">
            <a:extLst>
              <a:ext uri="{FF2B5EF4-FFF2-40B4-BE49-F238E27FC236}">
                <a16:creationId xmlns:a16="http://schemas.microsoft.com/office/drawing/2014/main" id="{C531B205-D3A4-EA26-3CFE-0FB948EE2890}"/>
              </a:ext>
            </a:extLst>
          </p:cNvPr>
          <p:cNvSpPr>
            <a:spLocks noGrp="1"/>
          </p:cNvSpPr>
          <p:nvPr>
            <p:ph type="body" sz="quarter" idx="43"/>
          </p:nvPr>
        </p:nvSpPr>
        <p:spPr>
          <a:xfrm>
            <a:off x="550863" y="3614886"/>
            <a:ext cx="3202379" cy="1974702"/>
          </a:xfrm>
        </p:spPr>
        <p:txBody>
          <a:bodyPr/>
          <a:lstStyle/>
          <a:p>
            <a:pPr lvl="0"/>
            <a:r>
              <a:rPr lang="en-US"/>
              <a:t>Click to edit Master text styles</a:t>
            </a:r>
          </a:p>
          <a:p>
            <a:pPr lvl="1"/>
            <a:r>
              <a:rPr lang="en-US"/>
              <a:t>Second level</a:t>
            </a:r>
          </a:p>
          <a:p>
            <a:pPr lvl="2"/>
            <a:r>
              <a:rPr lang="en-US"/>
              <a:t>Third level</a:t>
            </a:r>
          </a:p>
        </p:txBody>
      </p:sp>
      <p:sp>
        <p:nvSpPr>
          <p:cNvPr id="24" name="Text Placeholder 12">
            <a:extLst>
              <a:ext uri="{FF2B5EF4-FFF2-40B4-BE49-F238E27FC236}">
                <a16:creationId xmlns:a16="http://schemas.microsoft.com/office/drawing/2014/main" id="{5CD19475-61C5-E508-86C6-A6A43C37FD75}"/>
              </a:ext>
            </a:extLst>
          </p:cNvPr>
          <p:cNvSpPr>
            <a:spLocks noGrp="1"/>
          </p:cNvSpPr>
          <p:nvPr>
            <p:ph type="body" sz="quarter" idx="44"/>
          </p:nvPr>
        </p:nvSpPr>
        <p:spPr>
          <a:xfrm>
            <a:off x="4295529" y="3614886"/>
            <a:ext cx="3202379" cy="1974702"/>
          </a:xfrm>
        </p:spPr>
        <p:txBody>
          <a:bodyPr/>
          <a:lstStyle/>
          <a:p>
            <a:pPr lvl="0"/>
            <a:r>
              <a:rPr lang="en-US"/>
              <a:t>Click to edit Master text styles</a:t>
            </a:r>
          </a:p>
          <a:p>
            <a:pPr lvl="1"/>
            <a:r>
              <a:rPr lang="en-US"/>
              <a:t>Second level</a:t>
            </a:r>
          </a:p>
          <a:p>
            <a:pPr lvl="2"/>
            <a:r>
              <a:rPr lang="en-US"/>
              <a:t>Third level</a:t>
            </a:r>
          </a:p>
        </p:txBody>
      </p:sp>
      <p:sp>
        <p:nvSpPr>
          <p:cNvPr id="25" name="Text Placeholder 12">
            <a:extLst>
              <a:ext uri="{FF2B5EF4-FFF2-40B4-BE49-F238E27FC236}">
                <a16:creationId xmlns:a16="http://schemas.microsoft.com/office/drawing/2014/main" id="{BFA0A616-B625-CB56-07F5-2868451F4AE4}"/>
              </a:ext>
            </a:extLst>
          </p:cNvPr>
          <p:cNvSpPr>
            <a:spLocks noGrp="1"/>
          </p:cNvSpPr>
          <p:nvPr>
            <p:ph type="body" sz="quarter" idx="45"/>
          </p:nvPr>
        </p:nvSpPr>
        <p:spPr>
          <a:xfrm>
            <a:off x="8040688" y="3614886"/>
            <a:ext cx="3204000" cy="1974702"/>
          </a:xfrm>
        </p:spPr>
        <p:txBody>
          <a:body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spTree>
    <p:extLst>
      <p:ext uri="{BB962C8B-B14F-4D97-AF65-F5344CB8AC3E}">
        <p14:creationId xmlns:p14="http://schemas.microsoft.com/office/powerpoint/2010/main" val="179294845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4x Images / Text / Section 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251885"/>
          </a:xfrm>
        </p:spPr>
        <p:txBody>
          <a:bodyPr/>
          <a:lstStyle>
            <a:lvl1pPr>
              <a:defRPr/>
            </a:lvl1pPr>
          </a:lstStyle>
          <a:p>
            <a:r>
              <a:rPr lang="en-US"/>
              <a:t>Header avenir demi</a:t>
            </a:r>
            <a:endParaRPr lang="en-GB"/>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5" name="Picture Placeholder 15">
            <a:extLst>
              <a:ext uri="{FF2B5EF4-FFF2-40B4-BE49-F238E27FC236}">
                <a16:creationId xmlns:a16="http://schemas.microsoft.com/office/drawing/2014/main" id="{903F0106-157C-427D-4EE3-058FF2156B3C}"/>
              </a:ext>
              <a:ext uri="{C183D7F6-B498-43B3-948B-1728B52AA6E4}">
                <adec:decorative xmlns:adec="http://schemas.microsoft.com/office/drawing/2017/decorative" val="1"/>
              </a:ext>
            </a:extLst>
          </p:cNvPr>
          <p:cNvSpPr>
            <a:spLocks noGrp="1"/>
          </p:cNvSpPr>
          <p:nvPr>
            <p:ph type="pic" sz="quarter" idx="20" hasCustomPrompt="1"/>
          </p:nvPr>
        </p:nvSpPr>
        <p:spPr>
          <a:xfrm>
            <a:off x="551231" y="2044850"/>
            <a:ext cx="2267633" cy="1570034"/>
          </a:xfrm>
          <a:noFill/>
        </p:spPr>
        <p:txBody>
          <a:bodyPr lIns="288000" tIns="144000" rIns="288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8" name="Picture Placeholder 15">
            <a:extLst>
              <a:ext uri="{FF2B5EF4-FFF2-40B4-BE49-F238E27FC236}">
                <a16:creationId xmlns:a16="http://schemas.microsoft.com/office/drawing/2014/main" id="{EC657CC3-F918-1A6E-4F80-19CFDA23FC11}"/>
              </a:ext>
              <a:ext uri="{C183D7F6-B498-43B3-948B-1728B52AA6E4}">
                <adec:decorative xmlns:adec="http://schemas.microsoft.com/office/drawing/2017/decorative" val="1"/>
              </a:ext>
            </a:extLst>
          </p:cNvPr>
          <p:cNvSpPr>
            <a:spLocks noGrp="1"/>
          </p:cNvSpPr>
          <p:nvPr>
            <p:ph type="pic" sz="quarter" idx="27" hasCustomPrompt="1"/>
          </p:nvPr>
        </p:nvSpPr>
        <p:spPr>
          <a:xfrm>
            <a:off x="3359518" y="2042858"/>
            <a:ext cx="2267633" cy="1570034"/>
          </a:xfrm>
          <a:noFill/>
        </p:spPr>
        <p:txBody>
          <a:bodyPr lIns="288000" tIns="144000" rIns="288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9" name="Picture Placeholder 15">
            <a:extLst>
              <a:ext uri="{FF2B5EF4-FFF2-40B4-BE49-F238E27FC236}">
                <a16:creationId xmlns:a16="http://schemas.microsoft.com/office/drawing/2014/main" id="{8D0A983E-8A75-5B03-E6D8-3B461E3D79BB}"/>
              </a:ext>
              <a:ext uri="{C183D7F6-B498-43B3-948B-1728B52AA6E4}">
                <adec:decorative xmlns:adec="http://schemas.microsoft.com/office/drawing/2017/decorative" val="1"/>
              </a:ext>
            </a:extLst>
          </p:cNvPr>
          <p:cNvSpPr>
            <a:spLocks noGrp="1"/>
          </p:cNvSpPr>
          <p:nvPr>
            <p:ph type="pic" sz="quarter" idx="29" hasCustomPrompt="1"/>
          </p:nvPr>
        </p:nvSpPr>
        <p:spPr>
          <a:xfrm>
            <a:off x="6167805" y="2042858"/>
            <a:ext cx="2267633" cy="1570034"/>
          </a:xfrm>
          <a:noFill/>
        </p:spPr>
        <p:txBody>
          <a:bodyPr lIns="288000" tIns="144000" rIns="288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12" name="Picture Placeholder 15">
            <a:extLst>
              <a:ext uri="{FF2B5EF4-FFF2-40B4-BE49-F238E27FC236}">
                <a16:creationId xmlns:a16="http://schemas.microsoft.com/office/drawing/2014/main" id="{73CB5704-B72F-A122-22D9-327C2FC30431}"/>
              </a:ext>
              <a:ext uri="{C183D7F6-B498-43B3-948B-1728B52AA6E4}">
                <adec:decorative xmlns:adec="http://schemas.microsoft.com/office/drawing/2017/decorative" val="1"/>
              </a:ext>
            </a:extLst>
          </p:cNvPr>
          <p:cNvSpPr>
            <a:spLocks noGrp="1"/>
          </p:cNvSpPr>
          <p:nvPr>
            <p:ph type="pic" sz="quarter" idx="33" hasCustomPrompt="1"/>
          </p:nvPr>
        </p:nvSpPr>
        <p:spPr>
          <a:xfrm>
            <a:off x="8976091" y="2042858"/>
            <a:ext cx="2267633" cy="1570034"/>
          </a:xfrm>
          <a:noFill/>
        </p:spPr>
        <p:txBody>
          <a:bodyPr lIns="288000" tIns="144000" rIns="288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17" name="Text Placeholder 12">
            <a:extLst>
              <a:ext uri="{FF2B5EF4-FFF2-40B4-BE49-F238E27FC236}">
                <a16:creationId xmlns:a16="http://schemas.microsoft.com/office/drawing/2014/main" id="{2DA8D027-1671-C417-E0C3-5993F02B96D9}"/>
              </a:ext>
              <a:ext uri="{C183D7F6-B498-43B3-948B-1728B52AA6E4}">
                <adec:decorative xmlns:adec="http://schemas.microsoft.com/office/drawing/2017/decorative" val="1"/>
              </a:ext>
            </a:extLst>
          </p:cNvPr>
          <p:cNvSpPr>
            <a:spLocks noGrp="1"/>
          </p:cNvSpPr>
          <p:nvPr>
            <p:ph type="body" sz="quarter" idx="39" hasCustomPrompt="1"/>
          </p:nvPr>
        </p:nvSpPr>
        <p:spPr>
          <a:xfrm>
            <a:off x="550864" y="1720850"/>
            <a:ext cx="2268000" cy="324000"/>
          </a:xfrm>
          <a:solidFill>
            <a:schemeClr val="accent2"/>
          </a:solidFill>
        </p:spPr>
        <p:txBody>
          <a:bodyPr anchor="ctr" anchorCtr="0"/>
          <a:lstStyle>
            <a:lvl1pPr marL="0" indent="0" algn="ctr">
              <a:buNone/>
              <a:defRPr sz="1600">
                <a:solidFill>
                  <a:schemeClr val="bg1"/>
                </a:solidFill>
                <a:latin typeface="+mj-lt"/>
              </a:defRPr>
            </a:lvl1pPr>
            <a:lvl4pPr>
              <a:buClr>
                <a:schemeClr val="accent1"/>
              </a:buClr>
              <a:defRPr/>
            </a:lvl4pPr>
            <a:lvl5pPr>
              <a:buClr>
                <a:schemeClr val="accent1"/>
              </a:buClr>
              <a:defRPr/>
            </a:lvl5pPr>
          </a:lstStyle>
          <a:p>
            <a:pPr lvl="0"/>
            <a:r>
              <a:rPr lang="en-US"/>
              <a:t> Section one</a:t>
            </a:r>
            <a:endParaRPr lang="en-GB"/>
          </a:p>
        </p:txBody>
      </p:sp>
      <p:sp>
        <p:nvSpPr>
          <p:cNvPr id="20" name="Text Placeholder 12">
            <a:extLst>
              <a:ext uri="{FF2B5EF4-FFF2-40B4-BE49-F238E27FC236}">
                <a16:creationId xmlns:a16="http://schemas.microsoft.com/office/drawing/2014/main" id="{CD7185C1-17ED-4DDA-8D74-3D9B371C3A61}"/>
              </a:ext>
              <a:ext uri="{C183D7F6-B498-43B3-948B-1728B52AA6E4}">
                <adec:decorative xmlns:adec="http://schemas.microsoft.com/office/drawing/2017/decorative" val="1"/>
              </a:ext>
            </a:extLst>
          </p:cNvPr>
          <p:cNvSpPr>
            <a:spLocks noGrp="1"/>
          </p:cNvSpPr>
          <p:nvPr>
            <p:ph type="body" sz="quarter" idx="40" hasCustomPrompt="1"/>
          </p:nvPr>
        </p:nvSpPr>
        <p:spPr>
          <a:xfrm>
            <a:off x="3359151" y="1720850"/>
            <a:ext cx="2268000" cy="322008"/>
          </a:xfrm>
          <a:solidFill>
            <a:schemeClr val="accent2"/>
          </a:solidFill>
        </p:spPr>
        <p:txBody>
          <a:bodyPr anchor="ctr" anchorCtr="0"/>
          <a:lstStyle>
            <a:lvl1pPr marL="0" indent="0" algn="ctr">
              <a:buNone/>
              <a:defRPr sz="1600">
                <a:solidFill>
                  <a:schemeClr val="bg1"/>
                </a:solidFill>
                <a:latin typeface="+mj-lt"/>
              </a:defRPr>
            </a:lvl1pPr>
            <a:lvl4pPr>
              <a:buClr>
                <a:schemeClr val="accent1"/>
              </a:buClr>
              <a:defRPr/>
            </a:lvl4pPr>
            <a:lvl5pPr>
              <a:buClr>
                <a:schemeClr val="accent1"/>
              </a:buClr>
              <a:defRPr/>
            </a:lvl5pPr>
          </a:lstStyle>
          <a:p>
            <a:pPr lvl="0"/>
            <a:r>
              <a:rPr lang="en-US"/>
              <a:t> Section two</a:t>
            </a:r>
          </a:p>
        </p:txBody>
      </p:sp>
      <p:sp>
        <p:nvSpPr>
          <p:cNvPr id="21" name="Text Placeholder 12">
            <a:extLst>
              <a:ext uri="{FF2B5EF4-FFF2-40B4-BE49-F238E27FC236}">
                <a16:creationId xmlns:a16="http://schemas.microsoft.com/office/drawing/2014/main" id="{C20373E0-93FA-5E07-BE29-2A7CDEAB21F9}"/>
              </a:ext>
              <a:ext uri="{C183D7F6-B498-43B3-948B-1728B52AA6E4}">
                <adec:decorative xmlns:adec="http://schemas.microsoft.com/office/drawing/2017/decorative" val="1"/>
              </a:ext>
            </a:extLst>
          </p:cNvPr>
          <p:cNvSpPr>
            <a:spLocks noGrp="1"/>
          </p:cNvSpPr>
          <p:nvPr>
            <p:ph type="body" sz="quarter" idx="41" hasCustomPrompt="1"/>
          </p:nvPr>
        </p:nvSpPr>
        <p:spPr>
          <a:xfrm>
            <a:off x="6167438" y="1720850"/>
            <a:ext cx="2268000" cy="322008"/>
          </a:xfrm>
          <a:solidFill>
            <a:schemeClr val="accent2"/>
          </a:solidFill>
        </p:spPr>
        <p:txBody>
          <a:bodyPr anchor="ctr" anchorCtr="0"/>
          <a:lstStyle>
            <a:lvl1pPr marL="0" indent="0" algn="ctr">
              <a:buNone/>
              <a:defRPr sz="1600">
                <a:solidFill>
                  <a:schemeClr val="bg1"/>
                </a:solidFill>
                <a:latin typeface="+mj-lt"/>
              </a:defRPr>
            </a:lvl1pPr>
            <a:lvl4pPr>
              <a:buClr>
                <a:schemeClr val="accent1"/>
              </a:buClr>
              <a:defRPr/>
            </a:lvl4pPr>
            <a:lvl5pPr>
              <a:buClr>
                <a:schemeClr val="accent1"/>
              </a:buClr>
              <a:defRPr/>
            </a:lvl5pPr>
          </a:lstStyle>
          <a:p>
            <a:pPr lvl="0"/>
            <a:r>
              <a:rPr lang="en-US"/>
              <a:t> Section three</a:t>
            </a:r>
            <a:endParaRPr lang="en-GB"/>
          </a:p>
        </p:txBody>
      </p:sp>
      <p:sp>
        <p:nvSpPr>
          <p:cNvPr id="22" name="Text Placeholder 12">
            <a:extLst>
              <a:ext uri="{FF2B5EF4-FFF2-40B4-BE49-F238E27FC236}">
                <a16:creationId xmlns:a16="http://schemas.microsoft.com/office/drawing/2014/main" id="{16AEE30E-3916-27B5-D72D-39A00D8F21C2}"/>
              </a:ext>
              <a:ext uri="{C183D7F6-B498-43B3-948B-1728B52AA6E4}">
                <adec:decorative xmlns:adec="http://schemas.microsoft.com/office/drawing/2017/decorative" val="1"/>
              </a:ext>
            </a:extLst>
          </p:cNvPr>
          <p:cNvSpPr>
            <a:spLocks noGrp="1"/>
          </p:cNvSpPr>
          <p:nvPr>
            <p:ph type="body" sz="quarter" idx="42" hasCustomPrompt="1"/>
          </p:nvPr>
        </p:nvSpPr>
        <p:spPr>
          <a:xfrm>
            <a:off x="8975724" y="1720850"/>
            <a:ext cx="2268000" cy="322008"/>
          </a:xfrm>
          <a:solidFill>
            <a:schemeClr val="accent2"/>
          </a:solidFill>
        </p:spPr>
        <p:txBody>
          <a:bodyPr anchor="ctr" anchorCtr="0"/>
          <a:lstStyle>
            <a:lvl1pPr marL="0" indent="0" algn="ctr">
              <a:buNone/>
              <a:defRPr sz="1600">
                <a:solidFill>
                  <a:schemeClr val="bg1"/>
                </a:solidFill>
                <a:latin typeface="+mj-lt"/>
              </a:defRPr>
            </a:lvl1pPr>
            <a:lvl4pPr>
              <a:buClr>
                <a:schemeClr val="accent1"/>
              </a:buClr>
              <a:defRPr/>
            </a:lvl4pPr>
            <a:lvl5pPr>
              <a:buClr>
                <a:schemeClr val="accent1"/>
              </a:buClr>
              <a:defRPr/>
            </a:lvl5pPr>
          </a:lstStyle>
          <a:p>
            <a:pPr lvl="0"/>
            <a:r>
              <a:rPr lang="en-US"/>
              <a:t> Section four</a:t>
            </a:r>
            <a:endParaRPr lang="en-GB"/>
          </a:p>
        </p:txBody>
      </p:sp>
      <p:sp>
        <p:nvSpPr>
          <p:cNvPr id="23" name="Text Placeholder 12">
            <a:extLst>
              <a:ext uri="{FF2B5EF4-FFF2-40B4-BE49-F238E27FC236}">
                <a16:creationId xmlns:a16="http://schemas.microsoft.com/office/drawing/2014/main" id="{C531B205-D3A4-EA26-3CFE-0FB948EE2890}"/>
              </a:ext>
            </a:extLst>
          </p:cNvPr>
          <p:cNvSpPr>
            <a:spLocks noGrp="1"/>
          </p:cNvSpPr>
          <p:nvPr>
            <p:ph type="body" sz="quarter" idx="43"/>
          </p:nvPr>
        </p:nvSpPr>
        <p:spPr>
          <a:xfrm>
            <a:off x="550863" y="3792000"/>
            <a:ext cx="2267633" cy="1800000"/>
          </a:xfrm>
        </p:spPr>
        <p:txBody>
          <a:bodyPr/>
          <a:lstStyle/>
          <a:p>
            <a:pPr lvl="0"/>
            <a:r>
              <a:rPr lang="en-US"/>
              <a:t>Click to edit Master text styles</a:t>
            </a:r>
          </a:p>
          <a:p>
            <a:pPr lvl="1"/>
            <a:r>
              <a:rPr lang="en-US"/>
              <a:t>Second level</a:t>
            </a:r>
          </a:p>
          <a:p>
            <a:pPr lvl="2"/>
            <a:r>
              <a:rPr lang="en-US"/>
              <a:t>Third level</a:t>
            </a:r>
          </a:p>
        </p:txBody>
      </p:sp>
      <p:sp>
        <p:nvSpPr>
          <p:cNvPr id="24" name="Text Placeholder 12">
            <a:extLst>
              <a:ext uri="{FF2B5EF4-FFF2-40B4-BE49-F238E27FC236}">
                <a16:creationId xmlns:a16="http://schemas.microsoft.com/office/drawing/2014/main" id="{5CD19475-61C5-E508-86C6-A6A43C37FD75}"/>
              </a:ext>
            </a:extLst>
          </p:cNvPr>
          <p:cNvSpPr>
            <a:spLocks noGrp="1"/>
          </p:cNvSpPr>
          <p:nvPr>
            <p:ph type="body" sz="quarter" idx="44"/>
          </p:nvPr>
        </p:nvSpPr>
        <p:spPr>
          <a:xfrm>
            <a:off x="3359272" y="3792000"/>
            <a:ext cx="2267633" cy="1800000"/>
          </a:xfrm>
        </p:spPr>
        <p:txBody>
          <a:bodyPr/>
          <a:lstStyle/>
          <a:p>
            <a:pPr lvl="0"/>
            <a:r>
              <a:rPr lang="en-US"/>
              <a:t>Click to edit Master text styles</a:t>
            </a:r>
          </a:p>
          <a:p>
            <a:pPr lvl="1"/>
            <a:r>
              <a:rPr lang="en-US"/>
              <a:t>Second level</a:t>
            </a:r>
          </a:p>
          <a:p>
            <a:pPr lvl="2"/>
            <a:r>
              <a:rPr lang="en-US"/>
              <a:t>Third level</a:t>
            </a:r>
          </a:p>
        </p:txBody>
      </p:sp>
      <p:sp>
        <p:nvSpPr>
          <p:cNvPr id="25" name="Text Placeholder 12">
            <a:extLst>
              <a:ext uri="{FF2B5EF4-FFF2-40B4-BE49-F238E27FC236}">
                <a16:creationId xmlns:a16="http://schemas.microsoft.com/office/drawing/2014/main" id="{BFA0A616-B625-CB56-07F5-2868451F4AE4}"/>
              </a:ext>
            </a:extLst>
          </p:cNvPr>
          <p:cNvSpPr>
            <a:spLocks noGrp="1"/>
          </p:cNvSpPr>
          <p:nvPr>
            <p:ph type="body" sz="quarter" idx="45"/>
          </p:nvPr>
        </p:nvSpPr>
        <p:spPr>
          <a:xfrm>
            <a:off x="6167681" y="3792000"/>
            <a:ext cx="2267633" cy="1800000"/>
          </a:xfrm>
        </p:spPr>
        <p:txBody>
          <a:bodyPr/>
          <a:lstStyle/>
          <a:p>
            <a:pPr lvl="0"/>
            <a:r>
              <a:rPr lang="en-US"/>
              <a:t>Click to edit Master text styles</a:t>
            </a:r>
          </a:p>
          <a:p>
            <a:pPr lvl="1"/>
            <a:r>
              <a:rPr lang="en-US"/>
              <a:t>Second level</a:t>
            </a:r>
          </a:p>
          <a:p>
            <a:pPr lvl="2"/>
            <a:r>
              <a:rPr lang="en-US"/>
              <a:t>Third level</a:t>
            </a:r>
          </a:p>
        </p:txBody>
      </p:sp>
      <p:sp>
        <p:nvSpPr>
          <p:cNvPr id="26" name="Text Placeholder 12">
            <a:extLst>
              <a:ext uri="{FF2B5EF4-FFF2-40B4-BE49-F238E27FC236}">
                <a16:creationId xmlns:a16="http://schemas.microsoft.com/office/drawing/2014/main" id="{44E764C5-EE0F-D481-485B-3B14A6A1CFCF}"/>
              </a:ext>
            </a:extLst>
          </p:cNvPr>
          <p:cNvSpPr>
            <a:spLocks noGrp="1"/>
          </p:cNvSpPr>
          <p:nvPr>
            <p:ph type="body" sz="quarter" idx="46"/>
          </p:nvPr>
        </p:nvSpPr>
        <p:spPr>
          <a:xfrm>
            <a:off x="8976091" y="3792000"/>
            <a:ext cx="2267633" cy="1800000"/>
          </a:xfrm>
        </p:spPr>
        <p:txBody>
          <a:body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spTree>
    <p:extLst>
      <p:ext uri="{BB962C8B-B14F-4D97-AF65-F5344CB8AC3E}">
        <p14:creationId xmlns:p14="http://schemas.microsoft.com/office/powerpoint/2010/main" val="549588666"/>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4x Image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251885"/>
          </a:xfrm>
        </p:spPr>
        <p:txBody>
          <a:bodyPr/>
          <a:lstStyle>
            <a:lvl1pPr>
              <a:defRPr/>
            </a:lvl1pPr>
          </a:lstStyle>
          <a:p>
            <a:r>
              <a:rPr lang="en-US"/>
              <a:t>Header avenir demi</a:t>
            </a:r>
            <a:endParaRPr lang="en-GB"/>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5" name="Picture Placeholder 15">
            <a:extLst>
              <a:ext uri="{FF2B5EF4-FFF2-40B4-BE49-F238E27FC236}">
                <a16:creationId xmlns:a16="http://schemas.microsoft.com/office/drawing/2014/main" id="{903F0106-157C-427D-4EE3-058FF2156B3C}"/>
              </a:ext>
              <a:ext uri="{C183D7F6-B498-43B3-948B-1728B52AA6E4}">
                <adec:decorative xmlns:adec="http://schemas.microsoft.com/office/drawing/2017/decorative" val="1"/>
              </a:ext>
            </a:extLst>
          </p:cNvPr>
          <p:cNvSpPr>
            <a:spLocks noGrp="1"/>
          </p:cNvSpPr>
          <p:nvPr>
            <p:ph type="pic" sz="quarter" idx="20" hasCustomPrompt="1"/>
          </p:nvPr>
        </p:nvSpPr>
        <p:spPr>
          <a:xfrm>
            <a:off x="551231" y="1815304"/>
            <a:ext cx="2267633" cy="1613696"/>
          </a:xfrm>
          <a:noFill/>
        </p:spPr>
        <p:txBody>
          <a:bodyPr lIns="288000" tIns="144000" rIns="288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8" name="Picture Placeholder 15">
            <a:extLst>
              <a:ext uri="{FF2B5EF4-FFF2-40B4-BE49-F238E27FC236}">
                <a16:creationId xmlns:a16="http://schemas.microsoft.com/office/drawing/2014/main" id="{EC657CC3-F918-1A6E-4F80-19CFDA23FC11}"/>
              </a:ext>
              <a:ext uri="{C183D7F6-B498-43B3-948B-1728B52AA6E4}">
                <adec:decorative xmlns:adec="http://schemas.microsoft.com/office/drawing/2017/decorative" val="1"/>
              </a:ext>
            </a:extLst>
          </p:cNvPr>
          <p:cNvSpPr>
            <a:spLocks noGrp="1"/>
          </p:cNvSpPr>
          <p:nvPr>
            <p:ph type="pic" sz="quarter" idx="27" hasCustomPrompt="1"/>
          </p:nvPr>
        </p:nvSpPr>
        <p:spPr>
          <a:xfrm>
            <a:off x="3359518" y="1815304"/>
            <a:ext cx="2267633" cy="1613696"/>
          </a:xfrm>
          <a:noFill/>
        </p:spPr>
        <p:txBody>
          <a:bodyPr lIns="288000" tIns="144000" rIns="288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9" name="Picture Placeholder 15">
            <a:extLst>
              <a:ext uri="{FF2B5EF4-FFF2-40B4-BE49-F238E27FC236}">
                <a16:creationId xmlns:a16="http://schemas.microsoft.com/office/drawing/2014/main" id="{8D0A983E-8A75-5B03-E6D8-3B461E3D79BB}"/>
              </a:ext>
              <a:ext uri="{C183D7F6-B498-43B3-948B-1728B52AA6E4}">
                <adec:decorative xmlns:adec="http://schemas.microsoft.com/office/drawing/2017/decorative" val="1"/>
              </a:ext>
            </a:extLst>
          </p:cNvPr>
          <p:cNvSpPr>
            <a:spLocks noGrp="1"/>
          </p:cNvSpPr>
          <p:nvPr>
            <p:ph type="pic" sz="quarter" idx="29" hasCustomPrompt="1"/>
          </p:nvPr>
        </p:nvSpPr>
        <p:spPr>
          <a:xfrm>
            <a:off x="6167805" y="1815304"/>
            <a:ext cx="2267633" cy="1613696"/>
          </a:xfrm>
          <a:noFill/>
        </p:spPr>
        <p:txBody>
          <a:bodyPr lIns="288000" tIns="144000" rIns="288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12" name="Picture Placeholder 15">
            <a:extLst>
              <a:ext uri="{FF2B5EF4-FFF2-40B4-BE49-F238E27FC236}">
                <a16:creationId xmlns:a16="http://schemas.microsoft.com/office/drawing/2014/main" id="{73CB5704-B72F-A122-22D9-327C2FC30431}"/>
              </a:ext>
              <a:ext uri="{C183D7F6-B498-43B3-948B-1728B52AA6E4}">
                <adec:decorative xmlns:adec="http://schemas.microsoft.com/office/drawing/2017/decorative" val="1"/>
              </a:ext>
            </a:extLst>
          </p:cNvPr>
          <p:cNvSpPr>
            <a:spLocks noGrp="1"/>
          </p:cNvSpPr>
          <p:nvPr>
            <p:ph type="pic" sz="quarter" idx="33" hasCustomPrompt="1"/>
          </p:nvPr>
        </p:nvSpPr>
        <p:spPr>
          <a:xfrm>
            <a:off x="8976091" y="1815304"/>
            <a:ext cx="2267633" cy="1613696"/>
          </a:xfrm>
          <a:noFill/>
        </p:spPr>
        <p:txBody>
          <a:bodyPr lIns="288000" tIns="144000" rIns="288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17" name="Text Placeholder 12">
            <a:extLst>
              <a:ext uri="{FF2B5EF4-FFF2-40B4-BE49-F238E27FC236}">
                <a16:creationId xmlns:a16="http://schemas.microsoft.com/office/drawing/2014/main" id="{2DA8D027-1671-C417-E0C3-5993F02B96D9}"/>
              </a:ext>
              <a:ext uri="{C183D7F6-B498-43B3-948B-1728B52AA6E4}">
                <adec:decorative xmlns:adec="http://schemas.microsoft.com/office/drawing/2017/decorative" val="1"/>
              </a:ext>
            </a:extLst>
          </p:cNvPr>
          <p:cNvSpPr>
            <a:spLocks noGrp="1"/>
          </p:cNvSpPr>
          <p:nvPr>
            <p:ph type="body" sz="quarter" idx="39" hasCustomPrompt="1"/>
          </p:nvPr>
        </p:nvSpPr>
        <p:spPr>
          <a:xfrm>
            <a:off x="550864" y="1720850"/>
            <a:ext cx="2268000" cy="94454"/>
          </a:xfrm>
          <a:solidFill>
            <a:schemeClr val="accent2"/>
          </a:solidFill>
        </p:spPr>
        <p:txBody>
          <a:bodyPr/>
          <a:lstStyle>
            <a:lvl1pPr marL="0" indent="0">
              <a:buNone/>
              <a:defRPr sz="200"/>
            </a:lvl1pPr>
            <a:lvl4pPr>
              <a:buClr>
                <a:schemeClr val="accent1"/>
              </a:buClr>
              <a:defRPr/>
            </a:lvl4pPr>
            <a:lvl5pPr>
              <a:buClr>
                <a:schemeClr val="accent1"/>
              </a:buClr>
              <a:defRPr/>
            </a:lvl5pPr>
          </a:lstStyle>
          <a:p>
            <a:pPr lvl="0"/>
            <a:r>
              <a:rPr lang="en-US"/>
              <a:t> </a:t>
            </a:r>
            <a:endParaRPr lang="en-GB"/>
          </a:p>
        </p:txBody>
      </p:sp>
      <p:sp>
        <p:nvSpPr>
          <p:cNvPr id="20" name="Text Placeholder 12">
            <a:extLst>
              <a:ext uri="{FF2B5EF4-FFF2-40B4-BE49-F238E27FC236}">
                <a16:creationId xmlns:a16="http://schemas.microsoft.com/office/drawing/2014/main" id="{CD7185C1-17ED-4DDA-8D74-3D9B371C3A61}"/>
              </a:ext>
              <a:ext uri="{C183D7F6-B498-43B3-948B-1728B52AA6E4}">
                <adec:decorative xmlns:adec="http://schemas.microsoft.com/office/drawing/2017/decorative" val="1"/>
              </a:ext>
            </a:extLst>
          </p:cNvPr>
          <p:cNvSpPr>
            <a:spLocks noGrp="1"/>
          </p:cNvSpPr>
          <p:nvPr>
            <p:ph type="body" sz="quarter" idx="40" hasCustomPrompt="1"/>
          </p:nvPr>
        </p:nvSpPr>
        <p:spPr>
          <a:xfrm>
            <a:off x="3359151" y="1720850"/>
            <a:ext cx="2268000" cy="94454"/>
          </a:xfrm>
          <a:solidFill>
            <a:schemeClr val="accent2"/>
          </a:solidFill>
        </p:spPr>
        <p:txBody>
          <a:bodyPr/>
          <a:lstStyle>
            <a:lvl1pPr marL="0" indent="0">
              <a:buNone/>
              <a:defRPr sz="200"/>
            </a:lvl1pPr>
            <a:lvl4pPr>
              <a:buClr>
                <a:schemeClr val="accent1"/>
              </a:buClr>
              <a:defRPr/>
            </a:lvl4pPr>
            <a:lvl5pPr>
              <a:buClr>
                <a:schemeClr val="accent1"/>
              </a:buClr>
              <a:defRPr/>
            </a:lvl5pPr>
          </a:lstStyle>
          <a:p>
            <a:pPr lvl="0"/>
            <a:r>
              <a:rPr lang="en-US"/>
              <a:t> </a:t>
            </a:r>
            <a:endParaRPr lang="en-GB"/>
          </a:p>
        </p:txBody>
      </p:sp>
      <p:sp>
        <p:nvSpPr>
          <p:cNvPr id="21" name="Text Placeholder 12">
            <a:extLst>
              <a:ext uri="{FF2B5EF4-FFF2-40B4-BE49-F238E27FC236}">
                <a16:creationId xmlns:a16="http://schemas.microsoft.com/office/drawing/2014/main" id="{C20373E0-93FA-5E07-BE29-2A7CDEAB21F9}"/>
              </a:ext>
              <a:ext uri="{C183D7F6-B498-43B3-948B-1728B52AA6E4}">
                <adec:decorative xmlns:adec="http://schemas.microsoft.com/office/drawing/2017/decorative" val="1"/>
              </a:ext>
            </a:extLst>
          </p:cNvPr>
          <p:cNvSpPr>
            <a:spLocks noGrp="1"/>
          </p:cNvSpPr>
          <p:nvPr>
            <p:ph type="body" sz="quarter" idx="41" hasCustomPrompt="1"/>
          </p:nvPr>
        </p:nvSpPr>
        <p:spPr>
          <a:xfrm>
            <a:off x="6167438" y="1720850"/>
            <a:ext cx="2268000" cy="94454"/>
          </a:xfrm>
          <a:solidFill>
            <a:schemeClr val="accent2"/>
          </a:solidFill>
        </p:spPr>
        <p:txBody>
          <a:bodyPr/>
          <a:lstStyle>
            <a:lvl1pPr marL="0" indent="0">
              <a:buNone/>
              <a:defRPr sz="200"/>
            </a:lvl1pPr>
            <a:lvl4pPr>
              <a:buClr>
                <a:schemeClr val="accent1"/>
              </a:buClr>
              <a:defRPr/>
            </a:lvl4pPr>
            <a:lvl5pPr>
              <a:buClr>
                <a:schemeClr val="accent1"/>
              </a:buClr>
              <a:defRPr/>
            </a:lvl5pPr>
          </a:lstStyle>
          <a:p>
            <a:pPr lvl="0"/>
            <a:r>
              <a:rPr lang="en-US"/>
              <a:t> </a:t>
            </a:r>
            <a:endParaRPr lang="en-GB"/>
          </a:p>
        </p:txBody>
      </p:sp>
      <p:sp>
        <p:nvSpPr>
          <p:cNvPr id="22" name="Text Placeholder 12">
            <a:extLst>
              <a:ext uri="{FF2B5EF4-FFF2-40B4-BE49-F238E27FC236}">
                <a16:creationId xmlns:a16="http://schemas.microsoft.com/office/drawing/2014/main" id="{16AEE30E-3916-27B5-D72D-39A00D8F21C2}"/>
              </a:ext>
              <a:ext uri="{C183D7F6-B498-43B3-948B-1728B52AA6E4}">
                <adec:decorative xmlns:adec="http://schemas.microsoft.com/office/drawing/2017/decorative" val="1"/>
              </a:ext>
            </a:extLst>
          </p:cNvPr>
          <p:cNvSpPr>
            <a:spLocks noGrp="1"/>
          </p:cNvSpPr>
          <p:nvPr>
            <p:ph type="body" sz="quarter" idx="42" hasCustomPrompt="1"/>
          </p:nvPr>
        </p:nvSpPr>
        <p:spPr>
          <a:xfrm>
            <a:off x="8975724" y="1720850"/>
            <a:ext cx="2268000" cy="94454"/>
          </a:xfrm>
          <a:solidFill>
            <a:schemeClr val="accent2"/>
          </a:solidFill>
        </p:spPr>
        <p:txBody>
          <a:bodyPr/>
          <a:lstStyle>
            <a:lvl1pPr marL="0" indent="0">
              <a:buNone/>
              <a:defRPr sz="200"/>
            </a:lvl1pPr>
            <a:lvl4pPr>
              <a:buClr>
                <a:schemeClr val="accent1"/>
              </a:buClr>
              <a:defRPr/>
            </a:lvl4pPr>
            <a:lvl5pPr>
              <a:buClr>
                <a:schemeClr val="accent1"/>
              </a:buClr>
              <a:defRPr/>
            </a:lvl5pPr>
          </a:lstStyle>
          <a:p>
            <a:pPr lvl="0"/>
            <a:r>
              <a:rPr lang="en-US"/>
              <a:t> </a:t>
            </a:r>
            <a:endParaRPr lang="en-GB"/>
          </a:p>
        </p:txBody>
      </p:sp>
      <p:sp>
        <p:nvSpPr>
          <p:cNvPr id="23" name="Text Placeholder 12">
            <a:extLst>
              <a:ext uri="{FF2B5EF4-FFF2-40B4-BE49-F238E27FC236}">
                <a16:creationId xmlns:a16="http://schemas.microsoft.com/office/drawing/2014/main" id="{C531B205-D3A4-EA26-3CFE-0FB948EE2890}"/>
              </a:ext>
            </a:extLst>
          </p:cNvPr>
          <p:cNvSpPr>
            <a:spLocks noGrp="1"/>
          </p:cNvSpPr>
          <p:nvPr>
            <p:ph type="body" sz="quarter" idx="43"/>
          </p:nvPr>
        </p:nvSpPr>
        <p:spPr>
          <a:xfrm>
            <a:off x="550863" y="3614886"/>
            <a:ext cx="2267633" cy="1974702"/>
          </a:xfrm>
        </p:spPr>
        <p:txBody>
          <a:bodyPr/>
          <a:lstStyle/>
          <a:p>
            <a:pPr lvl="0"/>
            <a:r>
              <a:rPr lang="en-US"/>
              <a:t>Click to edit Master text styles</a:t>
            </a:r>
          </a:p>
          <a:p>
            <a:pPr lvl="1"/>
            <a:r>
              <a:rPr lang="en-US"/>
              <a:t>Second level</a:t>
            </a:r>
          </a:p>
          <a:p>
            <a:pPr lvl="2"/>
            <a:r>
              <a:rPr lang="en-US"/>
              <a:t>Third level</a:t>
            </a:r>
          </a:p>
        </p:txBody>
      </p:sp>
      <p:sp>
        <p:nvSpPr>
          <p:cNvPr id="24" name="Text Placeholder 12">
            <a:extLst>
              <a:ext uri="{FF2B5EF4-FFF2-40B4-BE49-F238E27FC236}">
                <a16:creationId xmlns:a16="http://schemas.microsoft.com/office/drawing/2014/main" id="{5CD19475-61C5-E508-86C6-A6A43C37FD75}"/>
              </a:ext>
            </a:extLst>
          </p:cNvPr>
          <p:cNvSpPr>
            <a:spLocks noGrp="1"/>
          </p:cNvSpPr>
          <p:nvPr>
            <p:ph type="body" sz="quarter" idx="44"/>
          </p:nvPr>
        </p:nvSpPr>
        <p:spPr>
          <a:xfrm>
            <a:off x="3359272" y="3614886"/>
            <a:ext cx="2267633" cy="1974702"/>
          </a:xfrm>
        </p:spPr>
        <p:txBody>
          <a:bodyPr/>
          <a:lstStyle/>
          <a:p>
            <a:pPr lvl="0"/>
            <a:r>
              <a:rPr lang="en-US"/>
              <a:t>Click to edit Master text styles</a:t>
            </a:r>
          </a:p>
          <a:p>
            <a:pPr lvl="1"/>
            <a:r>
              <a:rPr lang="en-US"/>
              <a:t>Second level</a:t>
            </a:r>
          </a:p>
          <a:p>
            <a:pPr lvl="2"/>
            <a:r>
              <a:rPr lang="en-US"/>
              <a:t>Third level</a:t>
            </a:r>
          </a:p>
        </p:txBody>
      </p:sp>
      <p:sp>
        <p:nvSpPr>
          <p:cNvPr id="25" name="Text Placeholder 12">
            <a:extLst>
              <a:ext uri="{FF2B5EF4-FFF2-40B4-BE49-F238E27FC236}">
                <a16:creationId xmlns:a16="http://schemas.microsoft.com/office/drawing/2014/main" id="{BFA0A616-B625-CB56-07F5-2868451F4AE4}"/>
              </a:ext>
            </a:extLst>
          </p:cNvPr>
          <p:cNvSpPr>
            <a:spLocks noGrp="1"/>
          </p:cNvSpPr>
          <p:nvPr>
            <p:ph type="body" sz="quarter" idx="45"/>
          </p:nvPr>
        </p:nvSpPr>
        <p:spPr>
          <a:xfrm>
            <a:off x="6167681" y="3614886"/>
            <a:ext cx="2267633" cy="1974702"/>
          </a:xfrm>
        </p:spPr>
        <p:txBody>
          <a:bodyPr/>
          <a:lstStyle/>
          <a:p>
            <a:pPr lvl="0"/>
            <a:r>
              <a:rPr lang="en-US"/>
              <a:t>Click to edit Master text styles</a:t>
            </a:r>
          </a:p>
          <a:p>
            <a:pPr lvl="1"/>
            <a:r>
              <a:rPr lang="en-US"/>
              <a:t>Second level</a:t>
            </a:r>
          </a:p>
          <a:p>
            <a:pPr lvl="2"/>
            <a:r>
              <a:rPr lang="en-US"/>
              <a:t>Third level</a:t>
            </a:r>
          </a:p>
        </p:txBody>
      </p:sp>
      <p:sp>
        <p:nvSpPr>
          <p:cNvPr id="26" name="Text Placeholder 12">
            <a:extLst>
              <a:ext uri="{FF2B5EF4-FFF2-40B4-BE49-F238E27FC236}">
                <a16:creationId xmlns:a16="http://schemas.microsoft.com/office/drawing/2014/main" id="{44E764C5-EE0F-D481-485B-3B14A6A1CFCF}"/>
              </a:ext>
            </a:extLst>
          </p:cNvPr>
          <p:cNvSpPr>
            <a:spLocks noGrp="1"/>
          </p:cNvSpPr>
          <p:nvPr>
            <p:ph type="body" sz="quarter" idx="46"/>
          </p:nvPr>
        </p:nvSpPr>
        <p:spPr>
          <a:xfrm>
            <a:off x="8976091" y="3614886"/>
            <a:ext cx="2267633" cy="1974702"/>
          </a:xfrm>
        </p:spPr>
        <p:txBody>
          <a:body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spTree>
    <p:extLst>
      <p:ext uri="{BB962C8B-B14F-4D97-AF65-F5344CB8AC3E}">
        <p14:creationId xmlns:p14="http://schemas.microsoft.com/office/powerpoint/2010/main" val="2746857429"/>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C789BA8-204E-7E98-F566-224438743CCB}"/>
              </a:ext>
              <a:ext uri="{C183D7F6-B498-43B3-948B-1728B52AA6E4}">
                <adec:decorative xmlns:adec="http://schemas.microsoft.com/office/drawing/2017/decorative" val="1"/>
              </a:ext>
            </a:extLst>
          </p:cNvPr>
          <p:cNvSpPr/>
          <p:nvPr userDrawn="1"/>
        </p:nvSpPr>
        <p:spPr>
          <a:xfrm>
            <a:off x="0" y="0"/>
            <a:ext cx="4151312" cy="6858000"/>
          </a:xfrm>
          <a:prstGeom prst="rect">
            <a:avLst/>
          </a:prstGeom>
          <a:solidFill>
            <a:srgbClr val="FAF5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venir Next LT Pro"/>
              <a:ea typeface="+mn-ea"/>
              <a:cs typeface="+mn-cs"/>
            </a:endParaRPr>
          </a:p>
        </p:txBody>
      </p:sp>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5" y="368828"/>
            <a:ext cx="2916236" cy="251885"/>
          </a:xfrm>
        </p:spPr>
        <p:txBody>
          <a:bodyPr/>
          <a:lstStyle>
            <a:lvl1pPr>
              <a:defRPr/>
            </a:lvl1pPr>
          </a:lstStyle>
          <a:p>
            <a:r>
              <a:rPr lang="en-US"/>
              <a:t>Header avenir demi</a:t>
            </a:r>
            <a:endParaRPr lang="en-GB"/>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2916237"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6" name="Picture Placeholder 15">
            <a:extLst>
              <a:ext uri="{FF2B5EF4-FFF2-40B4-BE49-F238E27FC236}">
                <a16:creationId xmlns:a16="http://schemas.microsoft.com/office/drawing/2014/main" id="{DA05801B-112D-E8CC-61BD-A4834B349AA6}"/>
              </a:ext>
              <a:ext uri="{C183D7F6-B498-43B3-948B-1728B52AA6E4}">
                <adec:decorative xmlns:adec="http://schemas.microsoft.com/office/drawing/2017/decorative" val="1"/>
              </a:ext>
            </a:extLst>
          </p:cNvPr>
          <p:cNvSpPr>
            <a:spLocks noGrp="1"/>
          </p:cNvSpPr>
          <p:nvPr>
            <p:ph type="pic" sz="quarter" idx="46" hasCustomPrompt="1"/>
          </p:nvPr>
        </p:nvSpPr>
        <p:spPr>
          <a:xfrm>
            <a:off x="551231" y="1639334"/>
            <a:ext cx="1404000" cy="1404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19" name="Text Placeholder 12">
            <a:extLst>
              <a:ext uri="{FF2B5EF4-FFF2-40B4-BE49-F238E27FC236}">
                <a16:creationId xmlns:a16="http://schemas.microsoft.com/office/drawing/2014/main" id="{026CE2A2-F93E-B1AA-3611-400C0319FE19}"/>
              </a:ext>
            </a:extLst>
          </p:cNvPr>
          <p:cNvSpPr>
            <a:spLocks noGrp="1"/>
          </p:cNvSpPr>
          <p:nvPr>
            <p:ph type="body" sz="quarter" idx="48" hasCustomPrompt="1"/>
          </p:nvPr>
        </p:nvSpPr>
        <p:spPr>
          <a:xfrm>
            <a:off x="550861" y="3215665"/>
            <a:ext cx="3204353"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7" name="Text Placeholder 12">
            <a:extLst>
              <a:ext uri="{FF2B5EF4-FFF2-40B4-BE49-F238E27FC236}">
                <a16:creationId xmlns:a16="http://schemas.microsoft.com/office/drawing/2014/main" id="{465DB172-EA52-68C6-51D1-D92A6077E7ED}"/>
              </a:ext>
            </a:extLst>
          </p:cNvPr>
          <p:cNvSpPr>
            <a:spLocks noGrp="1"/>
          </p:cNvSpPr>
          <p:nvPr>
            <p:ph type="body" sz="quarter" idx="61" hasCustomPrompt="1"/>
          </p:nvPr>
        </p:nvSpPr>
        <p:spPr>
          <a:xfrm>
            <a:off x="550861" y="3546636"/>
            <a:ext cx="3204361"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18" name="Text Placeholder 12">
            <a:extLst>
              <a:ext uri="{FF2B5EF4-FFF2-40B4-BE49-F238E27FC236}">
                <a16:creationId xmlns:a16="http://schemas.microsoft.com/office/drawing/2014/main" id="{5D98A119-8A13-B65C-1498-57CF1EC991C8}"/>
              </a:ext>
            </a:extLst>
          </p:cNvPr>
          <p:cNvSpPr>
            <a:spLocks noGrp="1"/>
          </p:cNvSpPr>
          <p:nvPr>
            <p:ph type="body" sz="quarter" idx="47"/>
          </p:nvPr>
        </p:nvSpPr>
        <p:spPr>
          <a:xfrm>
            <a:off x="550862" y="3968750"/>
            <a:ext cx="3204363" cy="1436074"/>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a:p>
            <a:pPr lvl="2"/>
            <a:r>
              <a:rPr lang="en-US"/>
              <a:t>Third level</a:t>
            </a:r>
          </a:p>
        </p:txBody>
      </p:sp>
      <p:sp>
        <p:nvSpPr>
          <p:cNvPr id="20" name="Text Placeholder 12">
            <a:extLst>
              <a:ext uri="{FF2B5EF4-FFF2-40B4-BE49-F238E27FC236}">
                <a16:creationId xmlns:a16="http://schemas.microsoft.com/office/drawing/2014/main" id="{5003C5AF-64CA-1643-631B-7D24C7BF07D9}"/>
              </a:ext>
            </a:extLst>
          </p:cNvPr>
          <p:cNvSpPr>
            <a:spLocks noGrp="1"/>
          </p:cNvSpPr>
          <p:nvPr>
            <p:ph type="body" sz="quarter" idx="62" hasCustomPrompt="1"/>
          </p:nvPr>
        </p:nvSpPr>
        <p:spPr>
          <a:xfrm>
            <a:off x="550861" y="5885634"/>
            <a:ext cx="3600451"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surname@clarivate.com</a:t>
            </a:r>
          </a:p>
        </p:txBody>
      </p:sp>
      <p:sp>
        <p:nvSpPr>
          <p:cNvPr id="17" name="Text Placeholder 12">
            <a:extLst>
              <a:ext uri="{FF2B5EF4-FFF2-40B4-BE49-F238E27FC236}">
                <a16:creationId xmlns:a16="http://schemas.microsoft.com/office/drawing/2014/main" id="{00B51C69-D2CE-7E0C-9B76-FC92D77E47C8}"/>
              </a:ext>
            </a:extLst>
          </p:cNvPr>
          <p:cNvSpPr>
            <a:spLocks noGrp="1"/>
          </p:cNvSpPr>
          <p:nvPr>
            <p:ph type="body" sz="quarter" idx="14"/>
          </p:nvPr>
        </p:nvSpPr>
        <p:spPr>
          <a:xfrm>
            <a:off x="4674763" y="1808163"/>
            <a:ext cx="6966375" cy="4321175"/>
          </a:xfrm>
        </p:spPr>
        <p:txBody>
          <a:body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pic>
        <p:nvPicPr>
          <p:cNvPr id="7" name="Graphic 6">
            <a:extLst>
              <a:ext uri="{FF2B5EF4-FFF2-40B4-BE49-F238E27FC236}">
                <a16:creationId xmlns:a16="http://schemas.microsoft.com/office/drawing/2014/main" id="{A309F755-BDFE-AB87-7D82-E37F1564F407}"/>
              </a:ext>
            </a:extLst>
          </p:cNvPr>
          <p:cNvPicPr>
            <a:picLocks noChangeAspect="1"/>
          </p:cNvPicPr>
          <p:nvPr userDrawn="1"/>
        </p:nvPicPr>
        <p:blipFill>
          <a:blip r:embed="rId2">
            <a:extLst>
              <a:ext uri="{96DAC541-7B7A-43D3-8B79-37D633B846F1}">
                <asvg:svgBlip xmlns:asvg="http://schemas.microsoft.com/office/drawing/2016/SVG/main" r:embed="rId3"/>
              </a:ext>
            </a:extLst>
          </a:blip>
          <a:srcRect l="9263" t="23870" r="9262" b="23680"/>
          <a:stretch/>
        </p:blipFill>
        <p:spPr>
          <a:xfrm>
            <a:off x="550863" y="6329363"/>
            <a:ext cx="1296000" cy="254793"/>
          </a:xfrm>
          <a:prstGeom prst="rect">
            <a:avLst/>
          </a:prstGeom>
        </p:spPr>
      </p:pic>
    </p:spTree>
    <p:extLst>
      <p:ext uri="{BB962C8B-B14F-4D97-AF65-F5344CB8AC3E}">
        <p14:creationId xmlns:p14="http://schemas.microsoft.com/office/powerpoint/2010/main" val="135397294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2+4 Teams Profi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251885"/>
          </a:xfrm>
        </p:spPr>
        <p:txBody>
          <a:bodyPr/>
          <a:lstStyle>
            <a:lvl1pPr>
              <a:defRPr/>
            </a:lvl1pPr>
          </a:lstStyle>
          <a:p>
            <a:r>
              <a:rPr lang="en-US"/>
              <a:t>Header avenir demi</a:t>
            </a:r>
            <a:endParaRPr lang="en-GB"/>
          </a:p>
        </p:txBody>
      </p:sp>
      <p:sp>
        <p:nvSpPr>
          <p:cNvPr id="19" name="Text Placeholder 12">
            <a:extLst>
              <a:ext uri="{FF2B5EF4-FFF2-40B4-BE49-F238E27FC236}">
                <a16:creationId xmlns:a16="http://schemas.microsoft.com/office/drawing/2014/main" id="{026CE2A2-F93E-B1AA-3611-400C0319FE19}"/>
              </a:ext>
            </a:extLst>
          </p:cNvPr>
          <p:cNvSpPr>
            <a:spLocks noGrp="1"/>
          </p:cNvSpPr>
          <p:nvPr>
            <p:ph type="body" sz="quarter" idx="48" hasCustomPrompt="1"/>
          </p:nvPr>
        </p:nvSpPr>
        <p:spPr>
          <a:xfrm>
            <a:off x="550862" y="3215665"/>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37" name="Text Placeholder 12">
            <a:extLst>
              <a:ext uri="{FF2B5EF4-FFF2-40B4-BE49-F238E27FC236}">
                <a16:creationId xmlns:a16="http://schemas.microsoft.com/office/drawing/2014/main" id="{465DB172-EA52-68C6-51D1-D92A6077E7ED}"/>
              </a:ext>
            </a:extLst>
          </p:cNvPr>
          <p:cNvSpPr>
            <a:spLocks noGrp="1"/>
          </p:cNvSpPr>
          <p:nvPr>
            <p:ph type="body" sz="quarter" idx="61" hasCustomPrompt="1"/>
          </p:nvPr>
        </p:nvSpPr>
        <p:spPr>
          <a:xfrm>
            <a:off x="550862" y="3546636"/>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18" name="Text Placeholder 12">
            <a:extLst>
              <a:ext uri="{FF2B5EF4-FFF2-40B4-BE49-F238E27FC236}">
                <a16:creationId xmlns:a16="http://schemas.microsoft.com/office/drawing/2014/main" id="{5D98A119-8A13-B65C-1498-57CF1EC991C8}"/>
              </a:ext>
            </a:extLst>
          </p:cNvPr>
          <p:cNvSpPr>
            <a:spLocks noGrp="1"/>
          </p:cNvSpPr>
          <p:nvPr>
            <p:ph type="body" sz="quarter" idx="47"/>
          </p:nvPr>
        </p:nvSpPr>
        <p:spPr>
          <a:xfrm>
            <a:off x="550863" y="3968750"/>
            <a:ext cx="2268000" cy="1436074"/>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a:p>
            <a:pPr lvl="2"/>
            <a:r>
              <a:rPr lang="en-US"/>
              <a:t>Third level</a:t>
            </a:r>
          </a:p>
        </p:txBody>
      </p:sp>
      <p:sp>
        <p:nvSpPr>
          <p:cNvPr id="28" name="Text Placeholder 12">
            <a:extLst>
              <a:ext uri="{FF2B5EF4-FFF2-40B4-BE49-F238E27FC236}">
                <a16:creationId xmlns:a16="http://schemas.microsoft.com/office/drawing/2014/main" id="{BFE8DAEC-7AD2-5CC1-3FE9-5DCB967ECE53}"/>
              </a:ext>
            </a:extLst>
          </p:cNvPr>
          <p:cNvSpPr>
            <a:spLocks noGrp="1"/>
          </p:cNvSpPr>
          <p:nvPr>
            <p:ph type="body" sz="quarter" idx="50" hasCustomPrompt="1"/>
          </p:nvPr>
        </p:nvSpPr>
        <p:spPr>
          <a:xfrm>
            <a:off x="3359150" y="3215665"/>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8" name="Text Placeholder 12">
            <a:extLst>
              <a:ext uri="{FF2B5EF4-FFF2-40B4-BE49-F238E27FC236}">
                <a16:creationId xmlns:a16="http://schemas.microsoft.com/office/drawing/2014/main" id="{FB360039-77C5-A5D7-4360-BC7847A82BB0}"/>
              </a:ext>
            </a:extLst>
          </p:cNvPr>
          <p:cNvSpPr>
            <a:spLocks noGrp="1"/>
          </p:cNvSpPr>
          <p:nvPr>
            <p:ph type="body" sz="quarter" idx="62" hasCustomPrompt="1"/>
          </p:nvPr>
        </p:nvSpPr>
        <p:spPr>
          <a:xfrm>
            <a:off x="3359150" y="3546636"/>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41" name="Text Placeholder 12">
            <a:extLst>
              <a:ext uri="{FF2B5EF4-FFF2-40B4-BE49-F238E27FC236}">
                <a16:creationId xmlns:a16="http://schemas.microsoft.com/office/drawing/2014/main" id="{70F98EAF-C679-0B0F-8CF9-2B6386737BCC}"/>
              </a:ext>
            </a:extLst>
          </p:cNvPr>
          <p:cNvSpPr>
            <a:spLocks noGrp="1"/>
          </p:cNvSpPr>
          <p:nvPr>
            <p:ph type="body" sz="quarter" idx="65"/>
          </p:nvPr>
        </p:nvSpPr>
        <p:spPr>
          <a:xfrm>
            <a:off x="3359150" y="3968750"/>
            <a:ext cx="2268000" cy="1436074"/>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a:p>
            <a:pPr lvl="2"/>
            <a:r>
              <a:rPr lang="en-US"/>
              <a:t>Third level</a:t>
            </a:r>
          </a:p>
        </p:txBody>
      </p:sp>
      <p:sp>
        <p:nvSpPr>
          <p:cNvPr id="11" name="Text Placeholder 12">
            <a:extLst>
              <a:ext uri="{FF2B5EF4-FFF2-40B4-BE49-F238E27FC236}">
                <a16:creationId xmlns:a16="http://schemas.microsoft.com/office/drawing/2014/main" id="{97DA1409-93A0-C554-7ED9-E4C4F2EDDC29}"/>
              </a:ext>
            </a:extLst>
          </p:cNvPr>
          <p:cNvSpPr>
            <a:spLocks noGrp="1"/>
          </p:cNvSpPr>
          <p:nvPr>
            <p:ph type="body" sz="quarter" idx="41" hasCustomPrompt="1"/>
          </p:nvPr>
        </p:nvSpPr>
        <p:spPr>
          <a:xfrm>
            <a:off x="6167437" y="2311763"/>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5" name="Text Placeholder 12">
            <a:extLst>
              <a:ext uri="{FF2B5EF4-FFF2-40B4-BE49-F238E27FC236}">
                <a16:creationId xmlns:a16="http://schemas.microsoft.com/office/drawing/2014/main" id="{3FF6A6E9-42A0-7692-13DB-315CDEBD3F10}"/>
              </a:ext>
            </a:extLst>
          </p:cNvPr>
          <p:cNvSpPr>
            <a:spLocks noGrp="1"/>
          </p:cNvSpPr>
          <p:nvPr>
            <p:ph type="body" sz="quarter" idx="59" hasCustomPrompt="1"/>
          </p:nvPr>
        </p:nvSpPr>
        <p:spPr>
          <a:xfrm>
            <a:off x="6167437" y="2642734"/>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10" name="Text Placeholder 12">
            <a:extLst>
              <a:ext uri="{FF2B5EF4-FFF2-40B4-BE49-F238E27FC236}">
                <a16:creationId xmlns:a16="http://schemas.microsoft.com/office/drawing/2014/main" id="{C4150847-1F6F-857E-692F-5C4E2A9E42CE}"/>
              </a:ext>
            </a:extLst>
          </p:cNvPr>
          <p:cNvSpPr>
            <a:spLocks noGrp="1"/>
          </p:cNvSpPr>
          <p:nvPr>
            <p:ph type="body" sz="quarter" idx="40"/>
          </p:nvPr>
        </p:nvSpPr>
        <p:spPr>
          <a:xfrm>
            <a:off x="6167437"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31" name="Text Placeholder 12">
            <a:extLst>
              <a:ext uri="{FF2B5EF4-FFF2-40B4-BE49-F238E27FC236}">
                <a16:creationId xmlns:a16="http://schemas.microsoft.com/office/drawing/2014/main" id="{0391096C-37E5-CDDB-7C98-44F987E40A99}"/>
              </a:ext>
            </a:extLst>
          </p:cNvPr>
          <p:cNvSpPr>
            <a:spLocks noGrp="1"/>
          </p:cNvSpPr>
          <p:nvPr>
            <p:ph type="body" sz="quarter" idx="53" hasCustomPrompt="1"/>
          </p:nvPr>
        </p:nvSpPr>
        <p:spPr>
          <a:xfrm>
            <a:off x="6167437" y="4832349"/>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9" name="Text Placeholder 12">
            <a:extLst>
              <a:ext uri="{FF2B5EF4-FFF2-40B4-BE49-F238E27FC236}">
                <a16:creationId xmlns:a16="http://schemas.microsoft.com/office/drawing/2014/main" id="{3D6EC732-A113-2052-5F3D-C31549DD1CE1}"/>
              </a:ext>
            </a:extLst>
          </p:cNvPr>
          <p:cNvSpPr>
            <a:spLocks noGrp="1"/>
          </p:cNvSpPr>
          <p:nvPr>
            <p:ph type="body" sz="quarter" idx="63" hasCustomPrompt="1"/>
          </p:nvPr>
        </p:nvSpPr>
        <p:spPr>
          <a:xfrm>
            <a:off x="6167437" y="5163320"/>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30" name="Text Placeholder 12">
            <a:extLst>
              <a:ext uri="{FF2B5EF4-FFF2-40B4-BE49-F238E27FC236}">
                <a16:creationId xmlns:a16="http://schemas.microsoft.com/office/drawing/2014/main" id="{EC073910-0BCB-B148-CD87-2DBDC042DB9A}"/>
              </a:ext>
            </a:extLst>
          </p:cNvPr>
          <p:cNvSpPr>
            <a:spLocks noGrp="1"/>
          </p:cNvSpPr>
          <p:nvPr>
            <p:ph type="body" sz="quarter" idx="52"/>
          </p:nvPr>
        </p:nvSpPr>
        <p:spPr>
          <a:xfrm>
            <a:off x="6167437"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3EF370F-6715-1A9E-C31B-5779E12E9D9F}"/>
              </a:ext>
            </a:extLst>
          </p:cNvPr>
          <p:cNvSpPr>
            <a:spLocks noGrp="1"/>
          </p:cNvSpPr>
          <p:nvPr>
            <p:ph type="body" sz="quarter" idx="45" hasCustomPrompt="1"/>
          </p:nvPr>
        </p:nvSpPr>
        <p:spPr>
          <a:xfrm>
            <a:off x="8981446" y="2311763"/>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6" name="Text Placeholder 12">
            <a:extLst>
              <a:ext uri="{FF2B5EF4-FFF2-40B4-BE49-F238E27FC236}">
                <a16:creationId xmlns:a16="http://schemas.microsoft.com/office/drawing/2014/main" id="{897F3CE4-6AD8-DC5D-E112-48390B92FD4D}"/>
              </a:ext>
            </a:extLst>
          </p:cNvPr>
          <p:cNvSpPr>
            <a:spLocks noGrp="1"/>
          </p:cNvSpPr>
          <p:nvPr>
            <p:ph type="body" sz="quarter" idx="60" hasCustomPrompt="1"/>
          </p:nvPr>
        </p:nvSpPr>
        <p:spPr>
          <a:xfrm>
            <a:off x="8981446" y="2642734"/>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14" name="Text Placeholder 12">
            <a:extLst>
              <a:ext uri="{FF2B5EF4-FFF2-40B4-BE49-F238E27FC236}">
                <a16:creationId xmlns:a16="http://schemas.microsoft.com/office/drawing/2014/main" id="{96D08A06-8C27-0CD8-A99D-675CBC220935}"/>
              </a:ext>
            </a:extLst>
          </p:cNvPr>
          <p:cNvSpPr>
            <a:spLocks noGrp="1"/>
          </p:cNvSpPr>
          <p:nvPr>
            <p:ph type="body" sz="quarter" idx="44"/>
          </p:nvPr>
        </p:nvSpPr>
        <p:spPr>
          <a:xfrm>
            <a:off x="8981446"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34" name="Text Placeholder 12">
            <a:extLst>
              <a:ext uri="{FF2B5EF4-FFF2-40B4-BE49-F238E27FC236}">
                <a16:creationId xmlns:a16="http://schemas.microsoft.com/office/drawing/2014/main" id="{8FE81E16-B801-AA2F-8DCD-8F5AA1B99902}"/>
              </a:ext>
            </a:extLst>
          </p:cNvPr>
          <p:cNvSpPr>
            <a:spLocks noGrp="1"/>
          </p:cNvSpPr>
          <p:nvPr>
            <p:ph type="body" sz="quarter" idx="56" hasCustomPrompt="1"/>
          </p:nvPr>
        </p:nvSpPr>
        <p:spPr>
          <a:xfrm>
            <a:off x="8981446" y="4832349"/>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40" name="Text Placeholder 12">
            <a:extLst>
              <a:ext uri="{FF2B5EF4-FFF2-40B4-BE49-F238E27FC236}">
                <a16:creationId xmlns:a16="http://schemas.microsoft.com/office/drawing/2014/main" id="{88CC3C61-40E8-CFD0-A1E0-F7B743AC005B}"/>
              </a:ext>
            </a:extLst>
          </p:cNvPr>
          <p:cNvSpPr>
            <a:spLocks noGrp="1"/>
          </p:cNvSpPr>
          <p:nvPr>
            <p:ph type="body" sz="quarter" idx="64" hasCustomPrompt="1"/>
          </p:nvPr>
        </p:nvSpPr>
        <p:spPr>
          <a:xfrm>
            <a:off x="8981446" y="5163320"/>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33" name="Text Placeholder 12">
            <a:extLst>
              <a:ext uri="{FF2B5EF4-FFF2-40B4-BE49-F238E27FC236}">
                <a16:creationId xmlns:a16="http://schemas.microsoft.com/office/drawing/2014/main" id="{85D065AE-0699-C9BB-D780-27C3BE3A2A95}"/>
              </a:ext>
            </a:extLst>
          </p:cNvPr>
          <p:cNvSpPr>
            <a:spLocks noGrp="1"/>
          </p:cNvSpPr>
          <p:nvPr>
            <p:ph type="body" sz="quarter" idx="55"/>
          </p:nvPr>
        </p:nvSpPr>
        <p:spPr>
          <a:xfrm>
            <a:off x="8981446"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7" name="Picture Placeholder 15">
            <a:extLst>
              <a:ext uri="{FF2B5EF4-FFF2-40B4-BE49-F238E27FC236}">
                <a16:creationId xmlns:a16="http://schemas.microsoft.com/office/drawing/2014/main" id="{8575BBD5-17C3-1DCA-C387-5D44672EB054}"/>
              </a:ext>
              <a:ext uri="{C183D7F6-B498-43B3-948B-1728B52AA6E4}">
                <adec:decorative xmlns:adec="http://schemas.microsoft.com/office/drawing/2017/decorative" val="1"/>
              </a:ext>
            </a:extLst>
          </p:cNvPr>
          <p:cNvSpPr>
            <a:spLocks noGrp="1"/>
          </p:cNvSpPr>
          <p:nvPr>
            <p:ph type="pic" sz="quarter" idx="39" hasCustomPrompt="1"/>
          </p:nvPr>
        </p:nvSpPr>
        <p:spPr>
          <a:xfrm>
            <a:off x="6167437" y="1270001"/>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13" name="Picture Placeholder 15">
            <a:extLst>
              <a:ext uri="{FF2B5EF4-FFF2-40B4-BE49-F238E27FC236}">
                <a16:creationId xmlns:a16="http://schemas.microsoft.com/office/drawing/2014/main" id="{7746417C-B9E9-48F3-42E0-5744312D74A8}"/>
              </a:ext>
              <a:ext uri="{C183D7F6-B498-43B3-948B-1728B52AA6E4}">
                <adec:decorative xmlns:adec="http://schemas.microsoft.com/office/drawing/2017/decorative" val="1"/>
              </a:ext>
            </a:extLst>
          </p:cNvPr>
          <p:cNvSpPr>
            <a:spLocks noGrp="1"/>
          </p:cNvSpPr>
          <p:nvPr>
            <p:ph type="pic" sz="quarter" idx="42" hasCustomPrompt="1"/>
          </p:nvPr>
        </p:nvSpPr>
        <p:spPr>
          <a:xfrm>
            <a:off x="8981446" y="1270001"/>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16" name="Picture Placeholder 15">
            <a:extLst>
              <a:ext uri="{FF2B5EF4-FFF2-40B4-BE49-F238E27FC236}">
                <a16:creationId xmlns:a16="http://schemas.microsoft.com/office/drawing/2014/main" id="{DA05801B-112D-E8CC-61BD-A4834B349AA6}"/>
              </a:ext>
              <a:ext uri="{C183D7F6-B498-43B3-948B-1728B52AA6E4}">
                <adec:decorative xmlns:adec="http://schemas.microsoft.com/office/drawing/2017/decorative" val="1"/>
              </a:ext>
            </a:extLst>
          </p:cNvPr>
          <p:cNvSpPr>
            <a:spLocks noGrp="1"/>
          </p:cNvSpPr>
          <p:nvPr>
            <p:ph type="pic" sz="quarter" idx="46" hasCustomPrompt="1"/>
          </p:nvPr>
        </p:nvSpPr>
        <p:spPr>
          <a:xfrm>
            <a:off x="551231" y="1639334"/>
            <a:ext cx="1404000" cy="1404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27" name="Picture Placeholder 15">
            <a:extLst>
              <a:ext uri="{FF2B5EF4-FFF2-40B4-BE49-F238E27FC236}">
                <a16:creationId xmlns:a16="http://schemas.microsoft.com/office/drawing/2014/main" id="{C124DB5D-11D5-E18C-B3C8-AF86AD1E4C51}"/>
              </a:ext>
              <a:ext uri="{C183D7F6-B498-43B3-948B-1728B52AA6E4}">
                <adec:decorative xmlns:adec="http://schemas.microsoft.com/office/drawing/2017/decorative" val="1"/>
              </a:ext>
            </a:extLst>
          </p:cNvPr>
          <p:cNvSpPr>
            <a:spLocks noGrp="1"/>
          </p:cNvSpPr>
          <p:nvPr>
            <p:ph type="pic" sz="quarter" idx="49" hasCustomPrompt="1"/>
          </p:nvPr>
        </p:nvSpPr>
        <p:spPr>
          <a:xfrm>
            <a:off x="3359519" y="1639334"/>
            <a:ext cx="1404000" cy="1404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29" name="Picture Placeholder 15">
            <a:extLst>
              <a:ext uri="{FF2B5EF4-FFF2-40B4-BE49-F238E27FC236}">
                <a16:creationId xmlns:a16="http://schemas.microsoft.com/office/drawing/2014/main" id="{71F103AF-A0DA-F7D1-DABC-38F8B9946D24}"/>
              </a:ext>
              <a:ext uri="{C183D7F6-B498-43B3-948B-1728B52AA6E4}">
                <adec:decorative xmlns:adec="http://schemas.microsoft.com/office/drawing/2017/decorative" val="1"/>
              </a:ext>
            </a:extLst>
          </p:cNvPr>
          <p:cNvSpPr>
            <a:spLocks noGrp="1"/>
          </p:cNvSpPr>
          <p:nvPr>
            <p:ph type="pic" sz="quarter" idx="51" hasCustomPrompt="1"/>
          </p:nvPr>
        </p:nvSpPr>
        <p:spPr>
          <a:xfrm>
            <a:off x="6167437" y="3790587"/>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32" name="Picture Placeholder 15">
            <a:extLst>
              <a:ext uri="{FF2B5EF4-FFF2-40B4-BE49-F238E27FC236}">
                <a16:creationId xmlns:a16="http://schemas.microsoft.com/office/drawing/2014/main" id="{50DC4E27-BAC2-8A31-B3AA-FF1575614782}"/>
              </a:ext>
              <a:ext uri="{C183D7F6-B498-43B3-948B-1728B52AA6E4}">
                <adec:decorative xmlns:adec="http://schemas.microsoft.com/office/drawing/2017/decorative" val="1"/>
              </a:ext>
            </a:extLst>
          </p:cNvPr>
          <p:cNvSpPr>
            <a:spLocks noGrp="1"/>
          </p:cNvSpPr>
          <p:nvPr>
            <p:ph type="pic" sz="quarter" idx="54" hasCustomPrompt="1"/>
          </p:nvPr>
        </p:nvSpPr>
        <p:spPr>
          <a:xfrm>
            <a:off x="8981446" y="3790587"/>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spTree>
    <p:extLst>
      <p:ext uri="{BB962C8B-B14F-4D97-AF65-F5344CB8AC3E}">
        <p14:creationId xmlns:p14="http://schemas.microsoft.com/office/powerpoint/2010/main" val="4195279725"/>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4x Profi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251885"/>
          </a:xfrm>
        </p:spPr>
        <p:txBody>
          <a:bodyPr/>
          <a:lstStyle>
            <a:lvl1pPr>
              <a:defRPr/>
            </a:lvl1pPr>
          </a:lstStyle>
          <a:p>
            <a:r>
              <a:rPr lang="en-US"/>
              <a:t>Header avenir demi</a:t>
            </a:r>
            <a:endParaRPr lang="en-GB"/>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1" name="Text Placeholder 12">
            <a:extLst>
              <a:ext uri="{FF2B5EF4-FFF2-40B4-BE49-F238E27FC236}">
                <a16:creationId xmlns:a16="http://schemas.microsoft.com/office/drawing/2014/main" id="{97DA1409-93A0-C554-7ED9-E4C4F2EDDC29}"/>
              </a:ext>
            </a:extLst>
          </p:cNvPr>
          <p:cNvSpPr>
            <a:spLocks noGrp="1"/>
          </p:cNvSpPr>
          <p:nvPr>
            <p:ph type="body" sz="quarter" idx="41" hasCustomPrompt="1"/>
          </p:nvPr>
        </p:nvSpPr>
        <p:spPr>
          <a:xfrm>
            <a:off x="550864" y="2311763"/>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5" name="Text Placeholder 12">
            <a:extLst>
              <a:ext uri="{FF2B5EF4-FFF2-40B4-BE49-F238E27FC236}">
                <a16:creationId xmlns:a16="http://schemas.microsoft.com/office/drawing/2014/main" id="{3FF6A6E9-42A0-7692-13DB-315CDEBD3F10}"/>
              </a:ext>
            </a:extLst>
          </p:cNvPr>
          <p:cNvSpPr>
            <a:spLocks noGrp="1"/>
          </p:cNvSpPr>
          <p:nvPr>
            <p:ph type="body" sz="quarter" idx="59" hasCustomPrompt="1"/>
          </p:nvPr>
        </p:nvSpPr>
        <p:spPr>
          <a:xfrm>
            <a:off x="550864" y="2642734"/>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10" name="Text Placeholder 12">
            <a:extLst>
              <a:ext uri="{FF2B5EF4-FFF2-40B4-BE49-F238E27FC236}">
                <a16:creationId xmlns:a16="http://schemas.microsoft.com/office/drawing/2014/main" id="{C4150847-1F6F-857E-692F-5C4E2A9E42CE}"/>
              </a:ext>
            </a:extLst>
          </p:cNvPr>
          <p:cNvSpPr>
            <a:spLocks noGrp="1"/>
          </p:cNvSpPr>
          <p:nvPr>
            <p:ph type="body" sz="quarter" idx="40"/>
          </p:nvPr>
        </p:nvSpPr>
        <p:spPr>
          <a:xfrm>
            <a:off x="550864"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3EF370F-6715-1A9E-C31B-5779E12E9D9F}"/>
              </a:ext>
            </a:extLst>
          </p:cNvPr>
          <p:cNvSpPr>
            <a:spLocks noGrp="1"/>
          </p:cNvSpPr>
          <p:nvPr>
            <p:ph type="body" sz="quarter" idx="45" hasCustomPrompt="1"/>
          </p:nvPr>
        </p:nvSpPr>
        <p:spPr>
          <a:xfrm>
            <a:off x="3364873" y="2311763"/>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6" name="Text Placeholder 12">
            <a:extLst>
              <a:ext uri="{FF2B5EF4-FFF2-40B4-BE49-F238E27FC236}">
                <a16:creationId xmlns:a16="http://schemas.microsoft.com/office/drawing/2014/main" id="{897F3CE4-6AD8-DC5D-E112-48390B92FD4D}"/>
              </a:ext>
            </a:extLst>
          </p:cNvPr>
          <p:cNvSpPr>
            <a:spLocks noGrp="1"/>
          </p:cNvSpPr>
          <p:nvPr>
            <p:ph type="body" sz="quarter" idx="60" hasCustomPrompt="1"/>
          </p:nvPr>
        </p:nvSpPr>
        <p:spPr>
          <a:xfrm>
            <a:off x="3364873" y="2642734"/>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14" name="Text Placeholder 12">
            <a:extLst>
              <a:ext uri="{FF2B5EF4-FFF2-40B4-BE49-F238E27FC236}">
                <a16:creationId xmlns:a16="http://schemas.microsoft.com/office/drawing/2014/main" id="{96D08A06-8C27-0CD8-A99D-675CBC220935}"/>
              </a:ext>
            </a:extLst>
          </p:cNvPr>
          <p:cNvSpPr>
            <a:spLocks noGrp="1"/>
          </p:cNvSpPr>
          <p:nvPr>
            <p:ph type="body" sz="quarter" idx="44"/>
          </p:nvPr>
        </p:nvSpPr>
        <p:spPr>
          <a:xfrm>
            <a:off x="3364873"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9" name="Text Placeholder 12">
            <a:extLst>
              <a:ext uri="{FF2B5EF4-FFF2-40B4-BE49-F238E27FC236}">
                <a16:creationId xmlns:a16="http://schemas.microsoft.com/office/drawing/2014/main" id="{EEB2D7DD-C214-FC47-587A-A689E46CA317}"/>
              </a:ext>
            </a:extLst>
          </p:cNvPr>
          <p:cNvSpPr>
            <a:spLocks noGrp="1"/>
          </p:cNvSpPr>
          <p:nvPr>
            <p:ph type="body" sz="quarter" idx="67" hasCustomPrompt="1"/>
          </p:nvPr>
        </p:nvSpPr>
        <p:spPr>
          <a:xfrm>
            <a:off x="6167438" y="2311763"/>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42" name="Text Placeholder 12">
            <a:extLst>
              <a:ext uri="{FF2B5EF4-FFF2-40B4-BE49-F238E27FC236}">
                <a16:creationId xmlns:a16="http://schemas.microsoft.com/office/drawing/2014/main" id="{B770DFBB-C159-C249-725B-DC15A247A240}"/>
              </a:ext>
            </a:extLst>
          </p:cNvPr>
          <p:cNvSpPr>
            <a:spLocks noGrp="1"/>
          </p:cNvSpPr>
          <p:nvPr>
            <p:ph type="body" sz="quarter" idx="77" hasCustomPrompt="1"/>
          </p:nvPr>
        </p:nvSpPr>
        <p:spPr>
          <a:xfrm>
            <a:off x="6167438" y="2642734"/>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8" name="Text Placeholder 12">
            <a:extLst>
              <a:ext uri="{FF2B5EF4-FFF2-40B4-BE49-F238E27FC236}">
                <a16:creationId xmlns:a16="http://schemas.microsoft.com/office/drawing/2014/main" id="{EDFB7F73-2CDA-0D25-68DB-68D4065E2EFB}"/>
              </a:ext>
            </a:extLst>
          </p:cNvPr>
          <p:cNvSpPr>
            <a:spLocks noGrp="1"/>
          </p:cNvSpPr>
          <p:nvPr>
            <p:ph type="body" sz="quarter" idx="66"/>
          </p:nvPr>
        </p:nvSpPr>
        <p:spPr>
          <a:xfrm>
            <a:off x="6167438"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626B44F3-03D8-5E28-57CB-031C8BA36E3E}"/>
              </a:ext>
            </a:extLst>
          </p:cNvPr>
          <p:cNvSpPr>
            <a:spLocks noGrp="1"/>
          </p:cNvSpPr>
          <p:nvPr>
            <p:ph type="body" sz="quarter" idx="70" hasCustomPrompt="1"/>
          </p:nvPr>
        </p:nvSpPr>
        <p:spPr>
          <a:xfrm>
            <a:off x="8982703" y="2311763"/>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43" name="Text Placeholder 12">
            <a:extLst>
              <a:ext uri="{FF2B5EF4-FFF2-40B4-BE49-F238E27FC236}">
                <a16:creationId xmlns:a16="http://schemas.microsoft.com/office/drawing/2014/main" id="{10A5C412-5937-A2B1-0F24-356981AA64A4}"/>
              </a:ext>
            </a:extLst>
          </p:cNvPr>
          <p:cNvSpPr>
            <a:spLocks noGrp="1"/>
          </p:cNvSpPr>
          <p:nvPr>
            <p:ph type="body" sz="quarter" idx="78" hasCustomPrompt="1"/>
          </p:nvPr>
        </p:nvSpPr>
        <p:spPr>
          <a:xfrm>
            <a:off x="8982703" y="2642734"/>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17" name="Text Placeholder 12">
            <a:extLst>
              <a:ext uri="{FF2B5EF4-FFF2-40B4-BE49-F238E27FC236}">
                <a16:creationId xmlns:a16="http://schemas.microsoft.com/office/drawing/2014/main" id="{61B398F2-4320-2608-763F-19F2EAD3DF7D}"/>
              </a:ext>
            </a:extLst>
          </p:cNvPr>
          <p:cNvSpPr>
            <a:spLocks noGrp="1"/>
          </p:cNvSpPr>
          <p:nvPr>
            <p:ph type="body" sz="quarter" idx="69"/>
          </p:nvPr>
        </p:nvSpPr>
        <p:spPr>
          <a:xfrm>
            <a:off x="8982703"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31" name="Text Placeholder 12">
            <a:extLst>
              <a:ext uri="{FF2B5EF4-FFF2-40B4-BE49-F238E27FC236}">
                <a16:creationId xmlns:a16="http://schemas.microsoft.com/office/drawing/2014/main" id="{0391096C-37E5-CDDB-7C98-44F987E40A99}"/>
              </a:ext>
            </a:extLst>
          </p:cNvPr>
          <p:cNvSpPr>
            <a:spLocks noGrp="1"/>
          </p:cNvSpPr>
          <p:nvPr>
            <p:ph type="body" sz="quarter" idx="53" hasCustomPrompt="1"/>
          </p:nvPr>
        </p:nvSpPr>
        <p:spPr>
          <a:xfrm>
            <a:off x="550864" y="4832349"/>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9" name="Text Placeholder 12">
            <a:extLst>
              <a:ext uri="{FF2B5EF4-FFF2-40B4-BE49-F238E27FC236}">
                <a16:creationId xmlns:a16="http://schemas.microsoft.com/office/drawing/2014/main" id="{3D6EC732-A113-2052-5F3D-C31549DD1CE1}"/>
              </a:ext>
            </a:extLst>
          </p:cNvPr>
          <p:cNvSpPr>
            <a:spLocks noGrp="1"/>
          </p:cNvSpPr>
          <p:nvPr>
            <p:ph type="body" sz="quarter" idx="63" hasCustomPrompt="1"/>
          </p:nvPr>
        </p:nvSpPr>
        <p:spPr>
          <a:xfrm>
            <a:off x="550864" y="5163320"/>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30" name="Text Placeholder 12">
            <a:extLst>
              <a:ext uri="{FF2B5EF4-FFF2-40B4-BE49-F238E27FC236}">
                <a16:creationId xmlns:a16="http://schemas.microsoft.com/office/drawing/2014/main" id="{EC073910-0BCB-B148-CD87-2DBDC042DB9A}"/>
              </a:ext>
            </a:extLst>
          </p:cNvPr>
          <p:cNvSpPr>
            <a:spLocks noGrp="1"/>
          </p:cNvSpPr>
          <p:nvPr>
            <p:ph type="body" sz="quarter" idx="52"/>
          </p:nvPr>
        </p:nvSpPr>
        <p:spPr>
          <a:xfrm>
            <a:off x="550864"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34" name="Text Placeholder 12">
            <a:extLst>
              <a:ext uri="{FF2B5EF4-FFF2-40B4-BE49-F238E27FC236}">
                <a16:creationId xmlns:a16="http://schemas.microsoft.com/office/drawing/2014/main" id="{8FE81E16-B801-AA2F-8DCD-8F5AA1B99902}"/>
              </a:ext>
            </a:extLst>
          </p:cNvPr>
          <p:cNvSpPr>
            <a:spLocks noGrp="1"/>
          </p:cNvSpPr>
          <p:nvPr>
            <p:ph type="body" sz="quarter" idx="56" hasCustomPrompt="1"/>
          </p:nvPr>
        </p:nvSpPr>
        <p:spPr>
          <a:xfrm>
            <a:off x="3364873" y="4832349"/>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40" name="Text Placeholder 12">
            <a:extLst>
              <a:ext uri="{FF2B5EF4-FFF2-40B4-BE49-F238E27FC236}">
                <a16:creationId xmlns:a16="http://schemas.microsoft.com/office/drawing/2014/main" id="{88CC3C61-40E8-CFD0-A1E0-F7B743AC005B}"/>
              </a:ext>
            </a:extLst>
          </p:cNvPr>
          <p:cNvSpPr>
            <a:spLocks noGrp="1"/>
          </p:cNvSpPr>
          <p:nvPr>
            <p:ph type="body" sz="quarter" idx="64" hasCustomPrompt="1"/>
          </p:nvPr>
        </p:nvSpPr>
        <p:spPr>
          <a:xfrm>
            <a:off x="3364873" y="5163320"/>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33" name="Text Placeholder 12">
            <a:extLst>
              <a:ext uri="{FF2B5EF4-FFF2-40B4-BE49-F238E27FC236}">
                <a16:creationId xmlns:a16="http://schemas.microsoft.com/office/drawing/2014/main" id="{85D065AE-0699-C9BB-D780-27C3BE3A2A95}"/>
              </a:ext>
            </a:extLst>
          </p:cNvPr>
          <p:cNvSpPr>
            <a:spLocks noGrp="1"/>
          </p:cNvSpPr>
          <p:nvPr>
            <p:ph type="body" sz="quarter" idx="55"/>
          </p:nvPr>
        </p:nvSpPr>
        <p:spPr>
          <a:xfrm>
            <a:off x="3364873"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23" name="Text Placeholder 12">
            <a:extLst>
              <a:ext uri="{FF2B5EF4-FFF2-40B4-BE49-F238E27FC236}">
                <a16:creationId xmlns:a16="http://schemas.microsoft.com/office/drawing/2014/main" id="{9AB4C234-EBBC-75A7-2F01-97E082284DFF}"/>
              </a:ext>
            </a:extLst>
          </p:cNvPr>
          <p:cNvSpPr>
            <a:spLocks noGrp="1"/>
          </p:cNvSpPr>
          <p:nvPr>
            <p:ph type="body" sz="quarter" idx="73" hasCustomPrompt="1"/>
          </p:nvPr>
        </p:nvSpPr>
        <p:spPr>
          <a:xfrm>
            <a:off x="6167438" y="4832349"/>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44" name="Text Placeholder 12">
            <a:extLst>
              <a:ext uri="{FF2B5EF4-FFF2-40B4-BE49-F238E27FC236}">
                <a16:creationId xmlns:a16="http://schemas.microsoft.com/office/drawing/2014/main" id="{B47DFAEF-1925-0117-D75F-D223750DD5F5}"/>
              </a:ext>
            </a:extLst>
          </p:cNvPr>
          <p:cNvSpPr>
            <a:spLocks noGrp="1"/>
          </p:cNvSpPr>
          <p:nvPr>
            <p:ph type="body" sz="quarter" idx="79" hasCustomPrompt="1"/>
          </p:nvPr>
        </p:nvSpPr>
        <p:spPr>
          <a:xfrm>
            <a:off x="6167438" y="5163320"/>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22" name="Text Placeholder 12">
            <a:extLst>
              <a:ext uri="{FF2B5EF4-FFF2-40B4-BE49-F238E27FC236}">
                <a16:creationId xmlns:a16="http://schemas.microsoft.com/office/drawing/2014/main" id="{E80292A4-F3B1-05FF-D679-13BCF59C7C94}"/>
              </a:ext>
            </a:extLst>
          </p:cNvPr>
          <p:cNvSpPr>
            <a:spLocks noGrp="1"/>
          </p:cNvSpPr>
          <p:nvPr>
            <p:ph type="body" sz="quarter" idx="72"/>
          </p:nvPr>
        </p:nvSpPr>
        <p:spPr>
          <a:xfrm>
            <a:off x="6167438"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26" name="Text Placeholder 12">
            <a:extLst>
              <a:ext uri="{FF2B5EF4-FFF2-40B4-BE49-F238E27FC236}">
                <a16:creationId xmlns:a16="http://schemas.microsoft.com/office/drawing/2014/main" id="{A7460C6C-C808-196C-F5E0-454921820765}"/>
              </a:ext>
            </a:extLst>
          </p:cNvPr>
          <p:cNvSpPr>
            <a:spLocks noGrp="1"/>
          </p:cNvSpPr>
          <p:nvPr>
            <p:ph type="body" sz="quarter" idx="76" hasCustomPrompt="1"/>
          </p:nvPr>
        </p:nvSpPr>
        <p:spPr>
          <a:xfrm>
            <a:off x="8982703" y="4832349"/>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45" name="Text Placeholder 12">
            <a:extLst>
              <a:ext uri="{FF2B5EF4-FFF2-40B4-BE49-F238E27FC236}">
                <a16:creationId xmlns:a16="http://schemas.microsoft.com/office/drawing/2014/main" id="{89BF951E-99C3-2209-D30F-3BEFE1C9319C}"/>
              </a:ext>
            </a:extLst>
          </p:cNvPr>
          <p:cNvSpPr>
            <a:spLocks noGrp="1"/>
          </p:cNvSpPr>
          <p:nvPr>
            <p:ph type="body" sz="quarter" idx="80" hasCustomPrompt="1"/>
          </p:nvPr>
        </p:nvSpPr>
        <p:spPr>
          <a:xfrm>
            <a:off x="8982703" y="5163320"/>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25" name="Text Placeholder 12">
            <a:extLst>
              <a:ext uri="{FF2B5EF4-FFF2-40B4-BE49-F238E27FC236}">
                <a16:creationId xmlns:a16="http://schemas.microsoft.com/office/drawing/2014/main" id="{28E7888C-B313-A876-D19E-25E7127C1E4E}"/>
              </a:ext>
            </a:extLst>
          </p:cNvPr>
          <p:cNvSpPr>
            <a:spLocks noGrp="1"/>
          </p:cNvSpPr>
          <p:nvPr>
            <p:ph type="body" sz="quarter" idx="75"/>
          </p:nvPr>
        </p:nvSpPr>
        <p:spPr>
          <a:xfrm>
            <a:off x="8982703"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7" name="Picture Placeholder 15">
            <a:extLst>
              <a:ext uri="{FF2B5EF4-FFF2-40B4-BE49-F238E27FC236}">
                <a16:creationId xmlns:a16="http://schemas.microsoft.com/office/drawing/2014/main" id="{8575BBD5-17C3-1DCA-C387-5D44672EB054}"/>
              </a:ext>
              <a:ext uri="{C183D7F6-B498-43B3-948B-1728B52AA6E4}">
                <adec:decorative xmlns:adec="http://schemas.microsoft.com/office/drawing/2017/decorative" val="1"/>
              </a:ext>
            </a:extLst>
          </p:cNvPr>
          <p:cNvSpPr>
            <a:spLocks noGrp="1"/>
          </p:cNvSpPr>
          <p:nvPr>
            <p:ph type="pic" sz="quarter" idx="39" hasCustomPrompt="1"/>
          </p:nvPr>
        </p:nvSpPr>
        <p:spPr>
          <a:xfrm>
            <a:off x="550864" y="1270001"/>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13" name="Picture Placeholder 15">
            <a:extLst>
              <a:ext uri="{FF2B5EF4-FFF2-40B4-BE49-F238E27FC236}">
                <a16:creationId xmlns:a16="http://schemas.microsoft.com/office/drawing/2014/main" id="{7746417C-B9E9-48F3-42E0-5744312D74A8}"/>
              </a:ext>
              <a:ext uri="{C183D7F6-B498-43B3-948B-1728B52AA6E4}">
                <adec:decorative xmlns:adec="http://schemas.microsoft.com/office/drawing/2017/decorative" val="1"/>
              </a:ext>
            </a:extLst>
          </p:cNvPr>
          <p:cNvSpPr>
            <a:spLocks noGrp="1"/>
          </p:cNvSpPr>
          <p:nvPr>
            <p:ph type="pic" sz="quarter" idx="42" hasCustomPrompt="1"/>
          </p:nvPr>
        </p:nvSpPr>
        <p:spPr>
          <a:xfrm>
            <a:off x="3364873" y="1270001"/>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29" name="Picture Placeholder 15">
            <a:extLst>
              <a:ext uri="{FF2B5EF4-FFF2-40B4-BE49-F238E27FC236}">
                <a16:creationId xmlns:a16="http://schemas.microsoft.com/office/drawing/2014/main" id="{71F103AF-A0DA-F7D1-DABC-38F8B9946D24}"/>
              </a:ext>
              <a:ext uri="{C183D7F6-B498-43B3-948B-1728B52AA6E4}">
                <adec:decorative xmlns:adec="http://schemas.microsoft.com/office/drawing/2017/decorative" val="1"/>
              </a:ext>
            </a:extLst>
          </p:cNvPr>
          <p:cNvSpPr>
            <a:spLocks noGrp="1"/>
          </p:cNvSpPr>
          <p:nvPr>
            <p:ph type="pic" sz="quarter" idx="51" hasCustomPrompt="1"/>
          </p:nvPr>
        </p:nvSpPr>
        <p:spPr>
          <a:xfrm>
            <a:off x="550864" y="3790587"/>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32" name="Picture Placeholder 15">
            <a:extLst>
              <a:ext uri="{FF2B5EF4-FFF2-40B4-BE49-F238E27FC236}">
                <a16:creationId xmlns:a16="http://schemas.microsoft.com/office/drawing/2014/main" id="{50DC4E27-BAC2-8A31-B3AA-FF1575614782}"/>
              </a:ext>
              <a:ext uri="{C183D7F6-B498-43B3-948B-1728B52AA6E4}">
                <adec:decorative xmlns:adec="http://schemas.microsoft.com/office/drawing/2017/decorative" val="1"/>
              </a:ext>
            </a:extLst>
          </p:cNvPr>
          <p:cNvSpPr>
            <a:spLocks noGrp="1"/>
          </p:cNvSpPr>
          <p:nvPr>
            <p:ph type="pic" sz="quarter" idx="54" hasCustomPrompt="1"/>
          </p:nvPr>
        </p:nvSpPr>
        <p:spPr>
          <a:xfrm>
            <a:off x="3364873" y="3790587"/>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5" name="Picture Placeholder 15">
            <a:extLst>
              <a:ext uri="{FF2B5EF4-FFF2-40B4-BE49-F238E27FC236}">
                <a16:creationId xmlns:a16="http://schemas.microsoft.com/office/drawing/2014/main" id="{579F519F-FF28-E95A-90FD-8ED476302122}"/>
              </a:ext>
              <a:ext uri="{C183D7F6-B498-43B3-948B-1728B52AA6E4}">
                <adec:decorative xmlns:adec="http://schemas.microsoft.com/office/drawing/2017/decorative" val="1"/>
              </a:ext>
            </a:extLst>
          </p:cNvPr>
          <p:cNvSpPr>
            <a:spLocks noGrp="1"/>
          </p:cNvSpPr>
          <p:nvPr>
            <p:ph type="pic" sz="quarter" idx="65" hasCustomPrompt="1"/>
          </p:nvPr>
        </p:nvSpPr>
        <p:spPr>
          <a:xfrm>
            <a:off x="6167438" y="1270001"/>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12" name="Picture Placeholder 15">
            <a:extLst>
              <a:ext uri="{FF2B5EF4-FFF2-40B4-BE49-F238E27FC236}">
                <a16:creationId xmlns:a16="http://schemas.microsoft.com/office/drawing/2014/main" id="{A16AFFED-3679-EC6F-38E4-BB141B3DC4A0}"/>
              </a:ext>
              <a:ext uri="{C183D7F6-B498-43B3-948B-1728B52AA6E4}">
                <adec:decorative xmlns:adec="http://schemas.microsoft.com/office/drawing/2017/decorative" val="1"/>
              </a:ext>
            </a:extLst>
          </p:cNvPr>
          <p:cNvSpPr>
            <a:spLocks noGrp="1"/>
          </p:cNvSpPr>
          <p:nvPr>
            <p:ph type="pic" sz="quarter" idx="68" hasCustomPrompt="1"/>
          </p:nvPr>
        </p:nvSpPr>
        <p:spPr>
          <a:xfrm>
            <a:off x="8982703" y="1270001"/>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21" name="Picture Placeholder 15">
            <a:extLst>
              <a:ext uri="{FF2B5EF4-FFF2-40B4-BE49-F238E27FC236}">
                <a16:creationId xmlns:a16="http://schemas.microsoft.com/office/drawing/2014/main" id="{40DA321B-E9DB-5413-41F7-007CC6996CC5}"/>
              </a:ext>
              <a:ext uri="{C183D7F6-B498-43B3-948B-1728B52AA6E4}">
                <adec:decorative xmlns:adec="http://schemas.microsoft.com/office/drawing/2017/decorative" val="1"/>
              </a:ext>
            </a:extLst>
          </p:cNvPr>
          <p:cNvSpPr>
            <a:spLocks noGrp="1"/>
          </p:cNvSpPr>
          <p:nvPr>
            <p:ph type="pic" sz="quarter" idx="71" hasCustomPrompt="1"/>
          </p:nvPr>
        </p:nvSpPr>
        <p:spPr>
          <a:xfrm>
            <a:off x="6167438" y="3790587"/>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24" name="Picture Placeholder 15">
            <a:extLst>
              <a:ext uri="{FF2B5EF4-FFF2-40B4-BE49-F238E27FC236}">
                <a16:creationId xmlns:a16="http://schemas.microsoft.com/office/drawing/2014/main" id="{D7DCA51C-09C7-C83C-64D8-CE36012B9682}"/>
              </a:ext>
              <a:ext uri="{C183D7F6-B498-43B3-948B-1728B52AA6E4}">
                <adec:decorative xmlns:adec="http://schemas.microsoft.com/office/drawing/2017/decorative" val="1"/>
              </a:ext>
            </a:extLst>
          </p:cNvPr>
          <p:cNvSpPr>
            <a:spLocks noGrp="1"/>
          </p:cNvSpPr>
          <p:nvPr>
            <p:ph type="pic" sz="quarter" idx="74" hasCustomPrompt="1"/>
          </p:nvPr>
        </p:nvSpPr>
        <p:spPr>
          <a:xfrm>
            <a:off x="8982703" y="3790587"/>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spTree>
    <p:extLst>
      <p:ext uri="{BB962C8B-B14F-4D97-AF65-F5344CB8AC3E}">
        <p14:creationId xmlns:p14="http://schemas.microsoft.com/office/powerpoint/2010/main" val="505002081"/>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lide 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251885"/>
          </a:xfrm>
        </p:spPr>
        <p:txBody>
          <a:bodyPr/>
          <a:lstStyle>
            <a:lvl1pPr>
              <a:defRPr/>
            </a:lvl1pPr>
          </a:lstStyle>
          <a:p>
            <a:r>
              <a:rPr lang="en-US"/>
              <a:t>Header avenir demi</a:t>
            </a:r>
            <a:endParaRPr lang="en-GB"/>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7" name="Text Placeholder 12">
            <a:extLst>
              <a:ext uri="{FF2B5EF4-FFF2-40B4-BE49-F238E27FC236}">
                <a16:creationId xmlns:a16="http://schemas.microsoft.com/office/drawing/2014/main" id="{2DA8D027-1671-C417-E0C3-5993F02B96D9}"/>
              </a:ext>
              <a:ext uri="{C183D7F6-B498-43B3-948B-1728B52AA6E4}">
                <adec:decorative xmlns:adec="http://schemas.microsoft.com/office/drawing/2017/decorative" val="0"/>
              </a:ext>
            </a:extLst>
          </p:cNvPr>
          <p:cNvSpPr>
            <a:spLocks noGrp="1"/>
          </p:cNvSpPr>
          <p:nvPr>
            <p:ph type="body" sz="quarter" idx="39" hasCustomPrompt="1"/>
          </p:nvPr>
        </p:nvSpPr>
        <p:spPr>
          <a:xfrm>
            <a:off x="550863" y="1720850"/>
            <a:ext cx="3202897" cy="324000"/>
          </a:xfrm>
          <a:solidFill>
            <a:schemeClr val="accent2"/>
          </a:solidFill>
        </p:spPr>
        <p:txBody>
          <a:bodyPr anchor="ctr" anchorCtr="0"/>
          <a:lstStyle>
            <a:lvl1pPr marL="0" indent="0" algn="ctr">
              <a:buNone/>
              <a:defRPr sz="1600" b="0" baseline="0">
                <a:solidFill>
                  <a:schemeClr val="bg1"/>
                </a:solidFill>
                <a:latin typeface="+mj-lt"/>
              </a:defRPr>
            </a:lvl1pPr>
            <a:lvl4pPr>
              <a:buClr>
                <a:schemeClr val="accent1"/>
              </a:buClr>
              <a:defRPr/>
            </a:lvl4pPr>
            <a:lvl5pPr>
              <a:buClr>
                <a:schemeClr val="accent1"/>
              </a:buClr>
              <a:defRPr/>
            </a:lvl5pPr>
          </a:lstStyle>
          <a:p>
            <a:pPr lvl="0"/>
            <a:r>
              <a:rPr lang="en-US"/>
              <a:t>Section one</a:t>
            </a:r>
            <a:endParaRPr lang="en-GB"/>
          </a:p>
        </p:txBody>
      </p:sp>
      <p:sp>
        <p:nvSpPr>
          <p:cNvPr id="5" name="Picture Placeholder 15">
            <a:extLst>
              <a:ext uri="{FF2B5EF4-FFF2-40B4-BE49-F238E27FC236}">
                <a16:creationId xmlns:a16="http://schemas.microsoft.com/office/drawing/2014/main" id="{903F0106-157C-427D-4EE3-058FF2156B3C}"/>
              </a:ext>
              <a:ext uri="{C183D7F6-B498-43B3-948B-1728B52AA6E4}">
                <adec:decorative xmlns:adec="http://schemas.microsoft.com/office/drawing/2017/decorative" val="1"/>
              </a:ext>
            </a:extLst>
          </p:cNvPr>
          <p:cNvSpPr>
            <a:spLocks noGrp="1"/>
          </p:cNvSpPr>
          <p:nvPr>
            <p:ph type="pic" sz="quarter" idx="20" hasCustomPrompt="1"/>
          </p:nvPr>
        </p:nvSpPr>
        <p:spPr>
          <a:xfrm>
            <a:off x="551231" y="2044850"/>
            <a:ext cx="3202379" cy="1570035"/>
          </a:xfrm>
          <a:noFill/>
        </p:spPr>
        <p:txBody>
          <a:bodyPr tIns="144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23" name="Text Placeholder 12">
            <a:extLst>
              <a:ext uri="{FF2B5EF4-FFF2-40B4-BE49-F238E27FC236}">
                <a16:creationId xmlns:a16="http://schemas.microsoft.com/office/drawing/2014/main" id="{C531B205-D3A4-EA26-3CFE-0FB948EE2890}"/>
              </a:ext>
            </a:extLst>
          </p:cNvPr>
          <p:cNvSpPr>
            <a:spLocks noGrp="1"/>
          </p:cNvSpPr>
          <p:nvPr>
            <p:ph type="body" sz="quarter" idx="43"/>
          </p:nvPr>
        </p:nvSpPr>
        <p:spPr>
          <a:xfrm>
            <a:off x="550863" y="3792000"/>
            <a:ext cx="3202379" cy="1800000"/>
          </a:xfrm>
          <a:noFill/>
        </p:spPr>
        <p:txBody>
          <a:bodyPr/>
          <a:lstStyle/>
          <a:p>
            <a:pPr lvl="0"/>
            <a:r>
              <a:rPr lang="en-US"/>
              <a:t>Click to edit Master text styles</a:t>
            </a:r>
          </a:p>
          <a:p>
            <a:pPr lvl="1"/>
            <a:r>
              <a:rPr lang="en-US"/>
              <a:t>Second level</a:t>
            </a:r>
          </a:p>
          <a:p>
            <a:pPr lvl="2"/>
            <a:r>
              <a:rPr lang="en-US"/>
              <a:t>Third level</a:t>
            </a:r>
          </a:p>
        </p:txBody>
      </p:sp>
      <p:sp>
        <p:nvSpPr>
          <p:cNvPr id="20" name="Text Placeholder 12">
            <a:extLst>
              <a:ext uri="{FF2B5EF4-FFF2-40B4-BE49-F238E27FC236}">
                <a16:creationId xmlns:a16="http://schemas.microsoft.com/office/drawing/2014/main" id="{CD7185C1-17ED-4DDA-8D74-3D9B371C3A61}"/>
              </a:ext>
              <a:ext uri="{C183D7F6-B498-43B3-948B-1728B52AA6E4}">
                <adec:decorative xmlns:adec="http://schemas.microsoft.com/office/drawing/2017/decorative" val="0"/>
              </a:ext>
            </a:extLst>
          </p:cNvPr>
          <p:cNvSpPr>
            <a:spLocks noGrp="1"/>
          </p:cNvSpPr>
          <p:nvPr>
            <p:ph type="body" sz="quarter" idx="40" hasCustomPrompt="1"/>
          </p:nvPr>
        </p:nvSpPr>
        <p:spPr>
          <a:xfrm>
            <a:off x="4295560" y="1720850"/>
            <a:ext cx="3202898" cy="323997"/>
          </a:xfrm>
          <a:solidFill>
            <a:schemeClr val="accent2"/>
          </a:solidFill>
        </p:spPr>
        <p:txBody>
          <a:bodyPr anchor="ctr" anchorCtr="0"/>
          <a:lstStyle>
            <a:lvl1pPr marL="0" indent="0" algn="ctr">
              <a:buNone/>
              <a:defRPr sz="1600" b="0" baseline="0">
                <a:solidFill>
                  <a:schemeClr val="bg1"/>
                </a:solidFill>
                <a:latin typeface="+mj-lt"/>
              </a:defRPr>
            </a:lvl1pPr>
            <a:lvl4pPr>
              <a:buClr>
                <a:schemeClr val="accent1"/>
              </a:buClr>
              <a:defRPr/>
            </a:lvl4pPr>
            <a:lvl5pPr>
              <a:buClr>
                <a:schemeClr val="accent1"/>
              </a:buClr>
              <a:defRPr/>
            </a:lvl5pPr>
          </a:lstStyle>
          <a:p>
            <a:pPr lvl="0"/>
            <a:r>
              <a:rPr lang="en-US"/>
              <a:t> Section two</a:t>
            </a:r>
            <a:endParaRPr lang="en-GB"/>
          </a:p>
        </p:txBody>
      </p:sp>
      <p:sp>
        <p:nvSpPr>
          <p:cNvPr id="8" name="Picture Placeholder 15">
            <a:extLst>
              <a:ext uri="{FF2B5EF4-FFF2-40B4-BE49-F238E27FC236}">
                <a16:creationId xmlns:a16="http://schemas.microsoft.com/office/drawing/2014/main" id="{EC657CC3-F918-1A6E-4F80-19CFDA23FC11}"/>
              </a:ext>
              <a:ext uri="{C183D7F6-B498-43B3-948B-1728B52AA6E4}">
                <adec:decorative xmlns:adec="http://schemas.microsoft.com/office/drawing/2017/decorative" val="1"/>
              </a:ext>
            </a:extLst>
          </p:cNvPr>
          <p:cNvSpPr>
            <a:spLocks noGrp="1"/>
          </p:cNvSpPr>
          <p:nvPr>
            <p:ph type="pic" sz="quarter" idx="27" hasCustomPrompt="1"/>
          </p:nvPr>
        </p:nvSpPr>
        <p:spPr>
          <a:xfrm>
            <a:off x="4295775" y="2044848"/>
            <a:ext cx="3202379" cy="1570037"/>
          </a:xfrm>
          <a:noFill/>
        </p:spPr>
        <p:txBody>
          <a:bodyPr tIns="144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24" name="Text Placeholder 12">
            <a:extLst>
              <a:ext uri="{FF2B5EF4-FFF2-40B4-BE49-F238E27FC236}">
                <a16:creationId xmlns:a16="http://schemas.microsoft.com/office/drawing/2014/main" id="{5CD19475-61C5-E508-86C6-A6A43C37FD75}"/>
              </a:ext>
            </a:extLst>
          </p:cNvPr>
          <p:cNvSpPr>
            <a:spLocks noGrp="1"/>
          </p:cNvSpPr>
          <p:nvPr>
            <p:ph type="body" sz="quarter" idx="44"/>
          </p:nvPr>
        </p:nvSpPr>
        <p:spPr>
          <a:xfrm>
            <a:off x="4295529" y="3792000"/>
            <a:ext cx="3202379" cy="1800000"/>
          </a:xfrm>
          <a:noFill/>
        </p:spPr>
        <p:txBody>
          <a:bodyPr/>
          <a:lstStyle/>
          <a:p>
            <a:pPr lvl="0"/>
            <a:r>
              <a:rPr lang="en-US"/>
              <a:t>Click to edit Master text styles</a:t>
            </a:r>
          </a:p>
          <a:p>
            <a:pPr lvl="1"/>
            <a:r>
              <a:rPr lang="en-US"/>
              <a:t>Second level</a:t>
            </a:r>
          </a:p>
          <a:p>
            <a:pPr lvl="2"/>
            <a:r>
              <a:rPr lang="en-US"/>
              <a:t>Third level</a:t>
            </a:r>
          </a:p>
        </p:txBody>
      </p:sp>
      <p:sp>
        <p:nvSpPr>
          <p:cNvPr id="21" name="Text Placeholder 12">
            <a:extLst>
              <a:ext uri="{FF2B5EF4-FFF2-40B4-BE49-F238E27FC236}">
                <a16:creationId xmlns:a16="http://schemas.microsoft.com/office/drawing/2014/main" id="{C20373E0-93FA-5E07-BE29-2A7CDEAB21F9}"/>
              </a:ext>
              <a:ext uri="{C183D7F6-B498-43B3-948B-1728B52AA6E4}">
                <adec:decorative xmlns:adec="http://schemas.microsoft.com/office/drawing/2017/decorative" val="0"/>
              </a:ext>
            </a:extLst>
          </p:cNvPr>
          <p:cNvSpPr>
            <a:spLocks noGrp="1"/>
          </p:cNvSpPr>
          <p:nvPr>
            <p:ph type="body" sz="quarter" idx="41" hasCustomPrompt="1"/>
          </p:nvPr>
        </p:nvSpPr>
        <p:spPr>
          <a:xfrm>
            <a:off x="8040168" y="1720850"/>
            <a:ext cx="3204519" cy="323996"/>
          </a:xfrm>
          <a:solidFill>
            <a:schemeClr val="accent2"/>
          </a:solidFill>
        </p:spPr>
        <p:txBody>
          <a:bodyPr anchor="ctr" anchorCtr="0"/>
          <a:lstStyle>
            <a:lvl1pPr marL="0" indent="0" algn="ctr">
              <a:buNone/>
              <a:defRPr sz="1600" b="0" baseline="0">
                <a:solidFill>
                  <a:schemeClr val="bg1"/>
                </a:solidFill>
                <a:latin typeface="+mj-lt"/>
              </a:defRPr>
            </a:lvl1pPr>
            <a:lvl4pPr>
              <a:buClr>
                <a:schemeClr val="accent1"/>
              </a:buClr>
              <a:defRPr/>
            </a:lvl4pPr>
            <a:lvl5pPr>
              <a:buClr>
                <a:schemeClr val="accent1"/>
              </a:buClr>
              <a:defRPr/>
            </a:lvl5pPr>
          </a:lstStyle>
          <a:p>
            <a:pPr lvl="0"/>
            <a:r>
              <a:rPr lang="en-US"/>
              <a:t>Section three </a:t>
            </a:r>
            <a:endParaRPr lang="en-GB"/>
          </a:p>
        </p:txBody>
      </p:sp>
      <p:sp>
        <p:nvSpPr>
          <p:cNvPr id="9" name="Picture Placeholder 15">
            <a:extLst>
              <a:ext uri="{FF2B5EF4-FFF2-40B4-BE49-F238E27FC236}">
                <a16:creationId xmlns:a16="http://schemas.microsoft.com/office/drawing/2014/main" id="{8D0A983E-8A75-5B03-E6D8-3B461E3D79BB}"/>
              </a:ext>
              <a:ext uri="{C183D7F6-B498-43B3-948B-1728B52AA6E4}">
                <adec:decorative xmlns:adec="http://schemas.microsoft.com/office/drawing/2017/decorative" val="1"/>
              </a:ext>
            </a:extLst>
          </p:cNvPr>
          <p:cNvSpPr>
            <a:spLocks noGrp="1"/>
          </p:cNvSpPr>
          <p:nvPr>
            <p:ph type="pic" sz="quarter" idx="29" hasCustomPrompt="1"/>
          </p:nvPr>
        </p:nvSpPr>
        <p:spPr>
          <a:xfrm>
            <a:off x="8040688" y="2044848"/>
            <a:ext cx="3204000" cy="1570038"/>
          </a:xfrm>
          <a:noFill/>
        </p:spPr>
        <p:txBody>
          <a:bodyPr tIns="144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25" name="Text Placeholder 12">
            <a:extLst>
              <a:ext uri="{FF2B5EF4-FFF2-40B4-BE49-F238E27FC236}">
                <a16:creationId xmlns:a16="http://schemas.microsoft.com/office/drawing/2014/main" id="{BFA0A616-B625-CB56-07F5-2868451F4AE4}"/>
              </a:ext>
            </a:extLst>
          </p:cNvPr>
          <p:cNvSpPr>
            <a:spLocks noGrp="1"/>
          </p:cNvSpPr>
          <p:nvPr>
            <p:ph type="body" sz="quarter" idx="45"/>
          </p:nvPr>
        </p:nvSpPr>
        <p:spPr>
          <a:xfrm>
            <a:off x="8040688" y="3792000"/>
            <a:ext cx="3204000" cy="1800000"/>
          </a:xfrm>
          <a:noFill/>
        </p:spPr>
        <p:txBody>
          <a:bodyPr/>
          <a:lstStyle/>
          <a:p>
            <a:pPr lvl="0"/>
            <a:r>
              <a:rPr lang="en-US"/>
              <a:t>Click to edit Master text styles</a:t>
            </a:r>
          </a:p>
          <a:p>
            <a:pPr lvl="1"/>
            <a:r>
              <a:rPr lang="en-US"/>
              <a:t>Second level</a:t>
            </a:r>
          </a:p>
          <a:p>
            <a:pPr lvl="2"/>
            <a:r>
              <a:rPr lang="en-US"/>
              <a:t>Third level</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US"/>
              <a:t>© 2025 Clarivate. All rights reserved.</a:t>
            </a:r>
          </a:p>
        </p:txBody>
      </p:sp>
      <p:sp>
        <p:nvSpPr>
          <p:cNvPr id="7" name="Text Placeholder 50">
            <a:extLst>
              <a:ext uri="{FF2B5EF4-FFF2-40B4-BE49-F238E27FC236}">
                <a16:creationId xmlns:a16="http://schemas.microsoft.com/office/drawing/2014/main" id="{1469EF62-8266-4101-8454-C7A968E7EC07}"/>
              </a:ext>
              <a:ext uri="{C183D7F6-B498-43B3-948B-1728B52AA6E4}">
                <adec:decorative xmlns:adec="http://schemas.microsoft.com/office/drawing/2017/decorative" val="1"/>
              </a:ext>
            </a:extLst>
          </p:cNvPr>
          <p:cNvSpPr>
            <a:spLocks noGrp="1"/>
          </p:cNvSpPr>
          <p:nvPr>
            <p:ph type="body" sz="quarter" idx="12" hasCustomPrompt="1"/>
          </p:nvPr>
        </p:nvSpPr>
        <p:spPr>
          <a:xfrm>
            <a:off x="1" y="-680886"/>
            <a:ext cx="4716000" cy="607071"/>
          </a:xfrm>
          <a:solidFill>
            <a:schemeClr val="accent3"/>
          </a:solidFill>
        </p:spPr>
        <p:txBody>
          <a:bodyPr wrap="square" lIns="72000" tIns="72000" rIns="72000" bIns="72000">
            <a:spAutoFit/>
          </a:bodyPr>
          <a:lstStyle>
            <a:lvl1pPr marL="0" indent="0">
              <a:buNone/>
              <a:defRPr/>
            </a:lvl1pPr>
            <a:lvl2pPr marL="180000" indent="0">
              <a:buNone/>
              <a:defRPr/>
            </a:lvl2pPr>
            <a:lvl3pPr marL="360000" indent="0">
              <a:buNone/>
              <a:defRPr/>
            </a:lvl3pPr>
            <a:lvl4pPr marL="540000" indent="0">
              <a:buNone/>
              <a:defRPr/>
            </a:lvl4pPr>
            <a:lvl5pPr marL="720000" indent="0">
              <a:buNone/>
              <a:defRPr/>
            </a:lvl5pPr>
          </a:lstStyle>
          <a:p>
            <a:pPr lvl="0"/>
            <a:r>
              <a:rPr lang="en-GB"/>
              <a:t>Lorem ipsum dolor sit amet, consectetuer adipiscing elit. Maecenas porttitor </a:t>
            </a:r>
            <a:r>
              <a:rPr lang="en-GB" err="1"/>
              <a:t>congue</a:t>
            </a:r>
            <a:r>
              <a:rPr lang="en-GB"/>
              <a:t> </a:t>
            </a:r>
            <a:r>
              <a:rPr lang="en-GB" err="1"/>
              <a:t>massa</a:t>
            </a:r>
            <a:r>
              <a:rPr lang="en-GB"/>
              <a:t> </a:t>
            </a:r>
            <a:r>
              <a:rPr lang="en-GB" err="1"/>
              <a:t>posuere</a:t>
            </a:r>
            <a:r>
              <a:rPr lang="en-GB"/>
              <a:t>.</a:t>
            </a:r>
          </a:p>
        </p:txBody>
      </p:sp>
    </p:spTree>
    <p:extLst>
      <p:ext uri="{BB962C8B-B14F-4D97-AF65-F5344CB8AC3E}">
        <p14:creationId xmlns:p14="http://schemas.microsoft.com/office/powerpoint/2010/main" val="41028927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0:50 Split -  Blue / Purple Quot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01870E7-67C3-31B4-3763-30D7343FC40E}"/>
              </a:ext>
            </a:extLst>
          </p:cNvPr>
          <p:cNvSpPr/>
          <p:nvPr userDrawn="1"/>
        </p:nvSpPr>
        <p:spPr>
          <a:xfrm rot="10800000">
            <a:off x="6095999" y="0"/>
            <a:ext cx="6096000" cy="6858000"/>
          </a:xfrm>
          <a:prstGeom prst="rect">
            <a:avLst/>
          </a:pr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5" y="368828"/>
            <a:ext cx="5075998"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5" y="753852"/>
            <a:ext cx="5075998"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2" y="1808163"/>
            <a:ext cx="5076000" cy="4321175"/>
          </a:xfrm>
        </p:spPr>
        <p:txBody>
          <a:bodyPr/>
          <a:lstStyle/>
          <a:p>
            <a:pPr lvl="0"/>
            <a:r>
              <a:rPr lang="en-US"/>
              <a:t>Click to edit Master text styles</a:t>
            </a:r>
          </a:p>
          <a:p>
            <a:pPr lvl="1"/>
            <a:r>
              <a:rPr lang="en-US"/>
              <a:t>Second level</a:t>
            </a:r>
          </a:p>
          <a:p>
            <a:pPr lvl="2"/>
            <a:r>
              <a:rPr lang="en-US"/>
              <a:t>Third level</a:t>
            </a:r>
          </a:p>
        </p:txBody>
      </p:sp>
      <p:sp>
        <p:nvSpPr>
          <p:cNvPr id="5" name="Text Placeholder 9">
            <a:extLst>
              <a:ext uri="{FF2B5EF4-FFF2-40B4-BE49-F238E27FC236}">
                <a16:creationId xmlns:a16="http://schemas.microsoft.com/office/drawing/2014/main" id="{EA5CF333-E5B7-1960-5F54-967F39A4A11B}"/>
              </a:ext>
            </a:extLst>
          </p:cNvPr>
          <p:cNvSpPr>
            <a:spLocks noGrp="1"/>
          </p:cNvSpPr>
          <p:nvPr>
            <p:ph type="body" sz="quarter" idx="15" hasCustomPrompt="1"/>
          </p:nvPr>
        </p:nvSpPr>
        <p:spPr>
          <a:xfrm>
            <a:off x="7102800" y="2766536"/>
            <a:ext cx="3601713" cy="738664"/>
          </a:xfrm>
          <a:prstGeom prst="rect">
            <a:avLst/>
          </a:prstGeom>
        </p:spPr>
        <p:txBody>
          <a:bodyPr wrap="square" lIns="0" tIns="0" rIns="0" bIns="0" anchor="b" anchorCtr="0">
            <a:spAutoFit/>
          </a:bodyPr>
          <a:lstStyle>
            <a:lvl1pPr marL="0" indent="0" algn="l">
              <a:buNone/>
              <a:tabLst/>
              <a:defRPr sz="2400">
                <a:solidFill>
                  <a:schemeClr val="bg1"/>
                </a:solidFill>
                <a:latin typeface="+mj-lt"/>
              </a:defRPr>
            </a:lvl1pPr>
          </a:lstStyle>
          <a:p>
            <a:pPr lvl="0"/>
            <a:r>
              <a:rPr lang="en-US"/>
              <a:t>“Quote Copy Avenir Demi 24pt”.</a:t>
            </a:r>
            <a:endParaRPr lang="en-GB"/>
          </a:p>
        </p:txBody>
      </p:sp>
      <p:sp>
        <p:nvSpPr>
          <p:cNvPr id="6" name="Text Placeholder 12">
            <a:extLst>
              <a:ext uri="{FF2B5EF4-FFF2-40B4-BE49-F238E27FC236}">
                <a16:creationId xmlns:a16="http://schemas.microsoft.com/office/drawing/2014/main" id="{CF395936-4441-9E95-2851-1ED7A64D3777}"/>
              </a:ext>
            </a:extLst>
          </p:cNvPr>
          <p:cNvSpPr>
            <a:spLocks noGrp="1"/>
          </p:cNvSpPr>
          <p:nvPr>
            <p:ph type="body" sz="quarter" idx="16" hasCustomPrompt="1"/>
          </p:nvPr>
        </p:nvSpPr>
        <p:spPr>
          <a:xfrm>
            <a:off x="7102800" y="3634999"/>
            <a:ext cx="2808287" cy="252000"/>
          </a:xfrm>
        </p:spPr>
        <p:txBody>
          <a:bodyPr/>
          <a:lstStyle>
            <a:lvl1pPr marL="0" indent="0" algn="l">
              <a:buNone/>
              <a:defRPr sz="1600">
                <a:solidFill>
                  <a:schemeClr val="bg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7" name="Text Placeholder 12">
            <a:extLst>
              <a:ext uri="{FF2B5EF4-FFF2-40B4-BE49-F238E27FC236}">
                <a16:creationId xmlns:a16="http://schemas.microsoft.com/office/drawing/2014/main" id="{51759836-E0B1-5577-37C5-D2B5A794D942}"/>
              </a:ext>
            </a:extLst>
          </p:cNvPr>
          <p:cNvSpPr>
            <a:spLocks noGrp="1"/>
          </p:cNvSpPr>
          <p:nvPr>
            <p:ph type="body" sz="quarter" idx="27" hasCustomPrompt="1"/>
          </p:nvPr>
        </p:nvSpPr>
        <p:spPr>
          <a:xfrm>
            <a:off x="7102800" y="3892179"/>
            <a:ext cx="2808287" cy="252000"/>
          </a:xfrm>
        </p:spPr>
        <p:txBody>
          <a:bodyPr/>
          <a:lstStyle>
            <a:lvl1pPr marL="0" indent="0" algn="l">
              <a:buNone/>
              <a:defRPr sz="1500">
                <a:solidFill>
                  <a:schemeClr val="bg1"/>
                </a:solidFill>
                <a:latin typeface="+mn-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Company name</a:t>
            </a:r>
          </a:p>
        </p:txBody>
      </p:sp>
    </p:spTree>
    <p:extLst>
      <p:ext uri="{BB962C8B-B14F-4D97-AF65-F5344CB8AC3E}">
        <p14:creationId xmlns:p14="http://schemas.microsoft.com/office/powerpoint/2010/main" val="152124181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lide B">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AB8773E-2F29-ECD1-16FF-8BC5E75E1E40}"/>
              </a:ext>
              <a:ext uri="{C183D7F6-B498-43B3-948B-1728B52AA6E4}">
                <adec:decorative xmlns:adec="http://schemas.microsoft.com/office/drawing/2017/decorative" val="1"/>
              </a:ext>
            </a:extLst>
          </p:cNvPr>
          <p:cNvSpPr/>
          <p:nvPr userDrawn="1"/>
        </p:nvSpPr>
        <p:spPr>
          <a:xfrm rot="10800000">
            <a:off x="6095999" y="0"/>
            <a:ext cx="6096000" cy="6858000"/>
          </a:xfrm>
          <a:prstGeom prst="rect">
            <a:avLst/>
          </a:prstGeom>
          <a:gradFill>
            <a:gsLst>
              <a:gs pos="85000">
                <a:srgbClr val="3595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itle 1">
            <a:extLst>
              <a:ext uri="{FF2B5EF4-FFF2-40B4-BE49-F238E27FC236}">
                <a16:creationId xmlns:a16="http://schemas.microsoft.com/office/drawing/2014/main" id="{7DE71408-1F6A-1900-3166-8B0F27B91CF7}"/>
              </a:ext>
            </a:extLst>
          </p:cNvPr>
          <p:cNvSpPr>
            <a:spLocks noGrp="1"/>
          </p:cNvSpPr>
          <p:nvPr>
            <p:ph type="title" hasCustomPrompt="1"/>
          </p:nvPr>
        </p:nvSpPr>
        <p:spPr>
          <a:xfrm>
            <a:off x="550865" y="368828"/>
            <a:ext cx="5075998" cy="251885"/>
          </a:xfrm>
        </p:spPr>
        <p:txBody>
          <a:bodyPr/>
          <a:lstStyle>
            <a:lvl1pPr>
              <a:defRPr/>
            </a:lvl1pPr>
          </a:lstStyle>
          <a:p>
            <a:r>
              <a:rPr lang="en-US"/>
              <a:t>Header avenir demi 24pt</a:t>
            </a:r>
            <a:endParaRPr lang="en-GB"/>
          </a:p>
        </p:txBody>
      </p:sp>
      <p:sp>
        <p:nvSpPr>
          <p:cNvPr id="10" name="Text Placeholder 9">
            <a:extLst>
              <a:ext uri="{FF2B5EF4-FFF2-40B4-BE49-F238E27FC236}">
                <a16:creationId xmlns:a16="http://schemas.microsoft.com/office/drawing/2014/main" id="{E040A9B4-F93C-AB35-66CE-1690CFBC2581}"/>
              </a:ext>
            </a:extLst>
          </p:cNvPr>
          <p:cNvSpPr>
            <a:spLocks noGrp="1"/>
          </p:cNvSpPr>
          <p:nvPr>
            <p:ph type="body" sz="quarter" idx="13" hasCustomPrompt="1"/>
          </p:nvPr>
        </p:nvSpPr>
        <p:spPr>
          <a:xfrm>
            <a:off x="550865" y="753852"/>
            <a:ext cx="5075998"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03BC752C-CC9E-C49E-83BC-B6B704830335}"/>
              </a:ext>
            </a:extLst>
          </p:cNvPr>
          <p:cNvSpPr>
            <a:spLocks noGrp="1"/>
          </p:cNvSpPr>
          <p:nvPr>
            <p:ph type="body" sz="quarter" idx="14"/>
          </p:nvPr>
        </p:nvSpPr>
        <p:spPr>
          <a:xfrm>
            <a:off x="1956624" y="1808164"/>
            <a:ext cx="3670238" cy="900112"/>
          </a:xfrm>
        </p:spPr>
        <p:txBody>
          <a:bodyPr/>
          <a:lstStyle/>
          <a:p>
            <a:pPr lvl="0"/>
            <a:r>
              <a:rPr lang="en-US"/>
              <a:t>Click to edit Master text styles</a:t>
            </a:r>
          </a:p>
          <a:p>
            <a:pPr lvl="1"/>
            <a:r>
              <a:rPr lang="en-US"/>
              <a:t>Second level</a:t>
            </a:r>
          </a:p>
          <a:p>
            <a:pPr lvl="2"/>
            <a:r>
              <a:rPr lang="en-US"/>
              <a:t>Third level</a:t>
            </a:r>
          </a:p>
        </p:txBody>
      </p:sp>
      <p:sp>
        <p:nvSpPr>
          <p:cNvPr id="5" name="Picture Placeholder 15">
            <a:extLst>
              <a:ext uri="{FF2B5EF4-FFF2-40B4-BE49-F238E27FC236}">
                <a16:creationId xmlns:a16="http://schemas.microsoft.com/office/drawing/2014/main" id="{424352B5-9531-7227-7258-4FBE39AA6692}"/>
              </a:ext>
            </a:extLst>
          </p:cNvPr>
          <p:cNvSpPr>
            <a:spLocks noGrp="1"/>
          </p:cNvSpPr>
          <p:nvPr>
            <p:ph type="pic" sz="quarter" idx="20" hasCustomPrompt="1"/>
          </p:nvPr>
        </p:nvSpPr>
        <p:spPr>
          <a:xfrm>
            <a:off x="551231" y="1815304"/>
            <a:ext cx="936257" cy="892971"/>
          </a:xfrm>
          <a:noFill/>
        </p:spPr>
        <p:txBody>
          <a:bodyPr anchor="ctr" anchorCtr="0"/>
          <a:lstStyle>
            <a:lvl1pPr marL="0" indent="0" algn="ctr">
              <a:spcBef>
                <a:spcPts val="0"/>
              </a:spcBef>
              <a:buNone/>
              <a:defRPr sz="1000">
                <a:solidFill>
                  <a:schemeClr val="accent2"/>
                </a:solidFill>
                <a:latin typeface="+mn-lt"/>
              </a:defRPr>
            </a:lvl1pPr>
          </a:lstStyle>
          <a:p>
            <a:pPr lvl="0"/>
            <a:r>
              <a:rPr lang="en-GB"/>
              <a:t>click or drag </a:t>
            </a:r>
            <a:br>
              <a:rPr lang="en-GB"/>
            </a:br>
            <a:r>
              <a:rPr lang="en-GB"/>
              <a:t>to insert  pictogram</a:t>
            </a:r>
          </a:p>
        </p:txBody>
      </p:sp>
      <p:sp>
        <p:nvSpPr>
          <p:cNvPr id="6" name="Text Placeholder 12">
            <a:extLst>
              <a:ext uri="{FF2B5EF4-FFF2-40B4-BE49-F238E27FC236}">
                <a16:creationId xmlns:a16="http://schemas.microsoft.com/office/drawing/2014/main" id="{7C6399F0-91C7-1DA8-0F53-2C77DF6472C4}"/>
              </a:ext>
            </a:extLst>
          </p:cNvPr>
          <p:cNvSpPr>
            <a:spLocks noGrp="1"/>
          </p:cNvSpPr>
          <p:nvPr>
            <p:ph type="body" sz="quarter" idx="22"/>
          </p:nvPr>
        </p:nvSpPr>
        <p:spPr>
          <a:xfrm>
            <a:off x="1956624" y="2948518"/>
            <a:ext cx="3670238" cy="900112"/>
          </a:xfrm>
        </p:spPr>
        <p:txBody>
          <a:bodyPr/>
          <a:lstStyle/>
          <a:p>
            <a:pPr lvl="0"/>
            <a:r>
              <a:rPr lang="en-US"/>
              <a:t>Click to edit Master text styles</a:t>
            </a:r>
          </a:p>
          <a:p>
            <a:pPr lvl="1"/>
            <a:r>
              <a:rPr lang="en-US"/>
              <a:t>Second level</a:t>
            </a:r>
          </a:p>
          <a:p>
            <a:pPr lvl="2"/>
            <a:r>
              <a:rPr lang="en-US"/>
              <a:t>Third level</a:t>
            </a:r>
          </a:p>
        </p:txBody>
      </p:sp>
      <p:sp>
        <p:nvSpPr>
          <p:cNvPr id="11" name="Picture Placeholder 15">
            <a:extLst>
              <a:ext uri="{FF2B5EF4-FFF2-40B4-BE49-F238E27FC236}">
                <a16:creationId xmlns:a16="http://schemas.microsoft.com/office/drawing/2014/main" id="{3234BFD3-E1B2-D40A-A80A-F111064283A3}"/>
              </a:ext>
            </a:extLst>
          </p:cNvPr>
          <p:cNvSpPr>
            <a:spLocks noGrp="1"/>
          </p:cNvSpPr>
          <p:nvPr>
            <p:ph type="pic" sz="quarter" idx="23" hasCustomPrompt="1"/>
          </p:nvPr>
        </p:nvSpPr>
        <p:spPr>
          <a:xfrm>
            <a:off x="551231" y="2955658"/>
            <a:ext cx="936257" cy="892971"/>
          </a:xfrm>
          <a:noFill/>
        </p:spPr>
        <p:txBody>
          <a:bodyPr anchor="ctr" anchorCtr="0"/>
          <a:lstStyle>
            <a:lvl1pPr marL="0" indent="0" algn="ctr">
              <a:spcBef>
                <a:spcPts val="0"/>
              </a:spcBef>
              <a:buNone/>
              <a:defRPr sz="1000">
                <a:solidFill>
                  <a:schemeClr val="accent2"/>
                </a:solidFill>
                <a:latin typeface="+mn-lt"/>
              </a:defRPr>
            </a:lvl1pPr>
          </a:lstStyle>
          <a:p>
            <a:pPr lvl="0"/>
            <a:r>
              <a:rPr lang="en-GB"/>
              <a:t>click or drag </a:t>
            </a:r>
            <a:br>
              <a:rPr lang="en-GB"/>
            </a:br>
            <a:r>
              <a:rPr lang="en-GB"/>
              <a:t>to insert  pictogram</a:t>
            </a:r>
          </a:p>
        </p:txBody>
      </p:sp>
      <p:sp>
        <p:nvSpPr>
          <p:cNvPr id="12" name="Text Placeholder 12">
            <a:extLst>
              <a:ext uri="{FF2B5EF4-FFF2-40B4-BE49-F238E27FC236}">
                <a16:creationId xmlns:a16="http://schemas.microsoft.com/office/drawing/2014/main" id="{C3F003AE-DA6B-6A9F-EAAA-2E7B1562F831}"/>
              </a:ext>
            </a:extLst>
          </p:cNvPr>
          <p:cNvSpPr>
            <a:spLocks noGrp="1"/>
          </p:cNvSpPr>
          <p:nvPr>
            <p:ph type="body" sz="quarter" idx="24"/>
          </p:nvPr>
        </p:nvSpPr>
        <p:spPr>
          <a:xfrm>
            <a:off x="1956624" y="4088872"/>
            <a:ext cx="3670238" cy="900112"/>
          </a:xfrm>
        </p:spPr>
        <p:txBody>
          <a:bodyPr/>
          <a:lstStyle/>
          <a:p>
            <a:pPr lvl="0"/>
            <a:r>
              <a:rPr lang="en-US"/>
              <a:t>Click to edit Master text styles</a:t>
            </a:r>
          </a:p>
          <a:p>
            <a:pPr lvl="1"/>
            <a:r>
              <a:rPr lang="en-US"/>
              <a:t>Second level</a:t>
            </a:r>
          </a:p>
          <a:p>
            <a:pPr lvl="2"/>
            <a:r>
              <a:rPr lang="en-US"/>
              <a:t>Third level</a:t>
            </a:r>
          </a:p>
        </p:txBody>
      </p:sp>
      <p:sp>
        <p:nvSpPr>
          <p:cNvPr id="14" name="Picture Placeholder 15">
            <a:extLst>
              <a:ext uri="{FF2B5EF4-FFF2-40B4-BE49-F238E27FC236}">
                <a16:creationId xmlns:a16="http://schemas.microsoft.com/office/drawing/2014/main" id="{8E2ADA55-A25D-66AF-B55F-C60297B1080A}"/>
              </a:ext>
            </a:extLst>
          </p:cNvPr>
          <p:cNvSpPr>
            <a:spLocks noGrp="1"/>
          </p:cNvSpPr>
          <p:nvPr>
            <p:ph type="pic" sz="quarter" idx="25" hasCustomPrompt="1"/>
          </p:nvPr>
        </p:nvSpPr>
        <p:spPr>
          <a:xfrm>
            <a:off x="551231" y="4096012"/>
            <a:ext cx="936257" cy="892971"/>
          </a:xfrm>
          <a:noFill/>
        </p:spPr>
        <p:txBody>
          <a:bodyPr anchor="ctr" anchorCtr="0"/>
          <a:lstStyle>
            <a:lvl1pPr marL="0" indent="0" algn="ctr">
              <a:spcBef>
                <a:spcPts val="0"/>
              </a:spcBef>
              <a:buNone/>
              <a:defRPr sz="1000">
                <a:solidFill>
                  <a:schemeClr val="accent2"/>
                </a:solidFill>
                <a:latin typeface="+mn-lt"/>
              </a:defRPr>
            </a:lvl1pPr>
          </a:lstStyle>
          <a:p>
            <a:pPr lvl="0"/>
            <a:r>
              <a:rPr lang="en-GB"/>
              <a:t>click or drag </a:t>
            </a:r>
            <a:br>
              <a:rPr lang="en-GB"/>
            </a:br>
            <a:r>
              <a:rPr lang="en-GB"/>
              <a:t>to insert  pictogram</a:t>
            </a:r>
          </a:p>
        </p:txBody>
      </p:sp>
      <p:sp>
        <p:nvSpPr>
          <p:cNvPr id="15" name="Text Placeholder 12">
            <a:extLst>
              <a:ext uri="{FF2B5EF4-FFF2-40B4-BE49-F238E27FC236}">
                <a16:creationId xmlns:a16="http://schemas.microsoft.com/office/drawing/2014/main" id="{C5A01F48-7607-98AA-8DCD-AD30C977669E}"/>
              </a:ext>
            </a:extLst>
          </p:cNvPr>
          <p:cNvSpPr>
            <a:spLocks noGrp="1"/>
          </p:cNvSpPr>
          <p:nvPr>
            <p:ph type="body" sz="quarter" idx="26"/>
          </p:nvPr>
        </p:nvSpPr>
        <p:spPr>
          <a:xfrm>
            <a:off x="1956624" y="5229225"/>
            <a:ext cx="3670238" cy="900112"/>
          </a:xfrm>
        </p:spPr>
        <p:txBody>
          <a:bodyPr/>
          <a:lstStyle/>
          <a:p>
            <a:pPr lvl="0"/>
            <a:r>
              <a:rPr lang="en-US"/>
              <a:t>Click to edit Master text styles</a:t>
            </a:r>
          </a:p>
          <a:p>
            <a:pPr lvl="1"/>
            <a:r>
              <a:rPr lang="en-US"/>
              <a:t>Second level</a:t>
            </a:r>
          </a:p>
          <a:p>
            <a:pPr lvl="2"/>
            <a:r>
              <a:rPr lang="en-US"/>
              <a:t>Third level</a:t>
            </a:r>
          </a:p>
        </p:txBody>
      </p:sp>
      <p:sp>
        <p:nvSpPr>
          <p:cNvPr id="16" name="Picture Placeholder 15">
            <a:extLst>
              <a:ext uri="{FF2B5EF4-FFF2-40B4-BE49-F238E27FC236}">
                <a16:creationId xmlns:a16="http://schemas.microsoft.com/office/drawing/2014/main" id="{290C083D-C4ED-259B-48AB-A352EEBF7FD2}"/>
              </a:ext>
            </a:extLst>
          </p:cNvPr>
          <p:cNvSpPr>
            <a:spLocks noGrp="1"/>
          </p:cNvSpPr>
          <p:nvPr>
            <p:ph type="pic" sz="quarter" idx="27" hasCustomPrompt="1"/>
          </p:nvPr>
        </p:nvSpPr>
        <p:spPr>
          <a:xfrm>
            <a:off x="551231" y="5236365"/>
            <a:ext cx="936257" cy="892971"/>
          </a:xfrm>
          <a:noFill/>
        </p:spPr>
        <p:txBody>
          <a:bodyPr anchor="ctr" anchorCtr="0"/>
          <a:lstStyle>
            <a:lvl1pPr marL="0" indent="0" algn="ctr">
              <a:spcBef>
                <a:spcPts val="0"/>
              </a:spcBef>
              <a:buNone/>
              <a:defRPr sz="1000">
                <a:solidFill>
                  <a:schemeClr val="accent2"/>
                </a:solidFill>
                <a:latin typeface="+mn-lt"/>
              </a:defRPr>
            </a:lvl1pPr>
          </a:lstStyle>
          <a:p>
            <a:pPr lvl="0"/>
            <a:r>
              <a:rPr lang="en-GB"/>
              <a:t>click or drag </a:t>
            </a:r>
            <a:br>
              <a:rPr lang="en-GB"/>
            </a:br>
            <a:r>
              <a:rPr lang="en-GB"/>
              <a:t>to insert  pictogram</a:t>
            </a:r>
          </a:p>
        </p:txBody>
      </p:sp>
      <p:sp>
        <p:nvSpPr>
          <p:cNvPr id="19" name="Text Placeholder 12">
            <a:extLst>
              <a:ext uri="{FF2B5EF4-FFF2-40B4-BE49-F238E27FC236}">
                <a16:creationId xmlns:a16="http://schemas.microsoft.com/office/drawing/2014/main" id="{6B88FD4C-301B-A8C2-5ACF-167833A3A773}"/>
              </a:ext>
            </a:extLst>
          </p:cNvPr>
          <p:cNvSpPr>
            <a:spLocks noGrp="1"/>
          </p:cNvSpPr>
          <p:nvPr>
            <p:ph type="body" sz="quarter" idx="18"/>
          </p:nvPr>
        </p:nvSpPr>
        <p:spPr>
          <a:xfrm>
            <a:off x="6529387" y="1812926"/>
            <a:ext cx="5111749" cy="4321175"/>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US"/>
              <a:t>© 2025 Clarivate. All rights reserved.</a:t>
            </a:r>
          </a:p>
        </p:txBody>
      </p:sp>
      <p:sp>
        <p:nvSpPr>
          <p:cNvPr id="9" name="Text Placeholder 50">
            <a:extLst>
              <a:ext uri="{FF2B5EF4-FFF2-40B4-BE49-F238E27FC236}">
                <a16:creationId xmlns:a16="http://schemas.microsoft.com/office/drawing/2014/main" id="{71298670-8A67-0F0F-FD7E-ACB9ADC48867}"/>
              </a:ext>
              <a:ext uri="{C183D7F6-B498-43B3-948B-1728B52AA6E4}">
                <adec:decorative xmlns:adec="http://schemas.microsoft.com/office/drawing/2017/decorative" val="1"/>
              </a:ext>
            </a:extLst>
          </p:cNvPr>
          <p:cNvSpPr>
            <a:spLocks noGrp="1"/>
          </p:cNvSpPr>
          <p:nvPr>
            <p:ph type="body" sz="quarter" idx="12" hasCustomPrompt="1"/>
          </p:nvPr>
        </p:nvSpPr>
        <p:spPr>
          <a:xfrm>
            <a:off x="1" y="-680886"/>
            <a:ext cx="4716000" cy="607071"/>
          </a:xfrm>
          <a:solidFill>
            <a:schemeClr val="accent3"/>
          </a:solidFill>
        </p:spPr>
        <p:txBody>
          <a:bodyPr wrap="square" lIns="72000" tIns="72000" rIns="72000" bIns="72000">
            <a:spAutoFit/>
          </a:bodyPr>
          <a:lstStyle>
            <a:lvl1pPr marL="0" indent="0">
              <a:buNone/>
              <a:defRPr/>
            </a:lvl1pPr>
            <a:lvl2pPr marL="180000" indent="0">
              <a:buNone/>
              <a:defRPr/>
            </a:lvl2pPr>
            <a:lvl3pPr marL="360000" indent="0">
              <a:buNone/>
              <a:defRPr/>
            </a:lvl3pPr>
            <a:lvl4pPr marL="540000" indent="0">
              <a:buNone/>
              <a:defRPr/>
            </a:lvl4pPr>
            <a:lvl5pPr marL="720000" indent="0">
              <a:buNone/>
              <a:defRPr/>
            </a:lvl5pPr>
          </a:lstStyle>
          <a:p>
            <a:pPr lvl="0"/>
            <a:r>
              <a:rPr lang="en-GB"/>
              <a:t>Lorem ipsum dolor sit amet, consectetuer adipiscing elit. Maecenas porttitor </a:t>
            </a:r>
            <a:r>
              <a:rPr lang="en-GB" err="1"/>
              <a:t>congue</a:t>
            </a:r>
            <a:r>
              <a:rPr lang="en-GB"/>
              <a:t> </a:t>
            </a:r>
            <a:r>
              <a:rPr lang="en-GB" err="1"/>
              <a:t>massa</a:t>
            </a:r>
            <a:r>
              <a:rPr lang="en-GB"/>
              <a:t> </a:t>
            </a:r>
            <a:r>
              <a:rPr lang="en-GB" err="1"/>
              <a:t>posuere</a:t>
            </a:r>
            <a:r>
              <a:rPr lang="en-GB"/>
              <a:t>.</a:t>
            </a:r>
          </a:p>
        </p:txBody>
      </p:sp>
    </p:spTree>
    <p:extLst>
      <p:ext uri="{BB962C8B-B14F-4D97-AF65-F5344CB8AC3E}">
        <p14:creationId xmlns:p14="http://schemas.microsoft.com/office/powerpoint/2010/main" val="183208485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Slide 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5" y="368828"/>
            <a:ext cx="10693822" cy="251885"/>
          </a:xfrm>
        </p:spPr>
        <p:txBody>
          <a:bodyPr/>
          <a:lstStyle>
            <a:lvl1pPr>
              <a:defRPr/>
            </a:lvl1pPr>
          </a:lstStyle>
          <a:p>
            <a:r>
              <a:rPr lang="en-US"/>
              <a:t>Header avenir demi 24pt</a:t>
            </a:r>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5" y="752052"/>
            <a:ext cx="10693822"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25" name="Text Placeholder 12">
            <a:extLst>
              <a:ext uri="{FF2B5EF4-FFF2-40B4-BE49-F238E27FC236}">
                <a16:creationId xmlns:a16="http://schemas.microsoft.com/office/drawing/2014/main" id="{AA2E112F-5FFF-32E4-5472-80BAA1776C58}"/>
              </a:ext>
            </a:extLst>
          </p:cNvPr>
          <p:cNvSpPr>
            <a:spLocks noGrp="1"/>
          </p:cNvSpPr>
          <p:nvPr>
            <p:ph type="body" sz="quarter" idx="71"/>
          </p:nvPr>
        </p:nvSpPr>
        <p:spPr>
          <a:xfrm>
            <a:off x="550864" y="1808163"/>
            <a:ext cx="2268963"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16" name="Picture Placeholder 15">
            <a:extLst>
              <a:ext uri="{FF2B5EF4-FFF2-40B4-BE49-F238E27FC236}">
                <a16:creationId xmlns:a16="http://schemas.microsoft.com/office/drawing/2014/main" id="{5EA0C833-46C2-988C-0074-D6A83249C216}"/>
              </a:ext>
              <a:ext uri="{C183D7F6-B498-43B3-948B-1728B52AA6E4}">
                <adec:decorative xmlns:adec="http://schemas.microsoft.com/office/drawing/2017/decorative" val="1"/>
              </a:ext>
            </a:extLst>
          </p:cNvPr>
          <p:cNvSpPr>
            <a:spLocks noGrp="1"/>
          </p:cNvSpPr>
          <p:nvPr>
            <p:ph type="pic" sz="quarter" idx="20" hasCustomPrompt="1"/>
          </p:nvPr>
        </p:nvSpPr>
        <p:spPr>
          <a:xfrm>
            <a:off x="3364614" y="1815305"/>
            <a:ext cx="360362" cy="360362"/>
          </a:xfrm>
          <a:noFill/>
        </p:spPr>
        <p:txBody>
          <a:bodyPr anchor="ctr" anchorCtr="0"/>
          <a:lstStyle>
            <a:lvl1pPr marL="0" indent="0" algn="ctr">
              <a:buNone/>
              <a:defRPr sz="1000">
                <a:solidFill>
                  <a:schemeClr val="accent2"/>
                </a:solidFill>
                <a:latin typeface="+mn-lt"/>
              </a:defRPr>
            </a:lvl1pPr>
          </a:lstStyle>
          <a:p>
            <a:pPr lvl="0"/>
            <a:r>
              <a:rPr lang="en-GB"/>
              <a:t>icon</a:t>
            </a:r>
          </a:p>
        </p:txBody>
      </p:sp>
      <p:sp>
        <p:nvSpPr>
          <p:cNvPr id="5" name="Text Placeholder 12">
            <a:extLst>
              <a:ext uri="{FF2B5EF4-FFF2-40B4-BE49-F238E27FC236}">
                <a16:creationId xmlns:a16="http://schemas.microsoft.com/office/drawing/2014/main" id="{9A6FB466-17DF-825B-8CFE-D36B7DFFAAC9}"/>
              </a:ext>
            </a:extLst>
          </p:cNvPr>
          <p:cNvSpPr>
            <a:spLocks noGrp="1"/>
          </p:cNvSpPr>
          <p:nvPr>
            <p:ph type="body" sz="quarter" idx="41" hasCustomPrompt="1"/>
          </p:nvPr>
        </p:nvSpPr>
        <p:spPr>
          <a:xfrm>
            <a:off x="3364615" y="2354265"/>
            <a:ext cx="2268963"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One</a:t>
            </a:r>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3364614" y="2716212"/>
            <a:ext cx="2268963" cy="1079500"/>
          </a:xfrm>
        </p:spPr>
        <p:txBody>
          <a:bodyPr/>
          <a:lstStyle/>
          <a:p>
            <a:pPr lvl="0"/>
            <a:r>
              <a:rPr lang="en-US"/>
              <a:t>Click to edit Master text styles</a:t>
            </a:r>
          </a:p>
          <a:p>
            <a:pPr lvl="1"/>
            <a:r>
              <a:rPr lang="en-US"/>
              <a:t>Second level</a:t>
            </a:r>
          </a:p>
          <a:p>
            <a:pPr lvl="2"/>
            <a:r>
              <a:rPr lang="en-US"/>
              <a:t>Third level</a:t>
            </a:r>
          </a:p>
        </p:txBody>
      </p:sp>
      <p:sp>
        <p:nvSpPr>
          <p:cNvPr id="17" name="Picture Placeholder 15">
            <a:extLst>
              <a:ext uri="{FF2B5EF4-FFF2-40B4-BE49-F238E27FC236}">
                <a16:creationId xmlns:a16="http://schemas.microsoft.com/office/drawing/2014/main" id="{CD8935F0-FF95-E453-E9F6-68893F7A504D}"/>
              </a:ext>
              <a:ext uri="{C183D7F6-B498-43B3-948B-1728B52AA6E4}">
                <adec:decorative xmlns:adec="http://schemas.microsoft.com/office/drawing/2017/decorative" val="1"/>
              </a:ext>
            </a:extLst>
          </p:cNvPr>
          <p:cNvSpPr>
            <a:spLocks noGrp="1"/>
          </p:cNvSpPr>
          <p:nvPr>
            <p:ph type="pic" sz="quarter" idx="21" hasCustomPrompt="1"/>
          </p:nvPr>
        </p:nvSpPr>
        <p:spPr>
          <a:xfrm>
            <a:off x="6161974" y="1815305"/>
            <a:ext cx="360362" cy="360362"/>
          </a:xfrm>
          <a:noFill/>
        </p:spPr>
        <p:txBody>
          <a:bodyPr anchor="ctr" anchorCtr="0"/>
          <a:lstStyle>
            <a:lvl1pPr marL="0" indent="0" algn="ctr">
              <a:buNone/>
              <a:defRPr sz="1000">
                <a:solidFill>
                  <a:schemeClr val="accent2"/>
                </a:solidFill>
                <a:latin typeface="+mn-lt"/>
              </a:defRPr>
            </a:lvl1pPr>
          </a:lstStyle>
          <a:p>
            <a:pPr lvl="0"/>
            <a:r>
              <a:rPr lang="en-GB"/>
              <a:t>icon</a:t>
            </a:r>
          </a:p>
        </p:txBody>
      </p:sp>
      <p:sp>
        <p:nvSpPr>
          <p:cNvPr id="9" name="Text Placeholder 12">
            <a:extLst>
              <a:ext uri="{FF2B5EF4-FFF2-40B4-BE49-F238E27FC236}">
                <a16:creationId xmlns:a16="http://schemas.microsoft.com/office/drawing/2014/main" id="{EBA31540-DD60-C1FE-84D9-AB3B913DE24E}"/>
              </a:ext>
            </a:extLst>
          </p:cNvPr>
          <p:cNvSpPr>
            <a:spLocks noGrp="1"/>
          </p:cNvSpPr>
          <p:nvPr>
            <p:ph type="body" sz="quarter" idx="45" hasCustomPrompt="1"/>
          </p:nvPr>
        </p:nvSpPr>
        <p:spPr>
          <a:xfrm>
            <a:off x="6167438" y="2354265"/>
            <a:ext cx="2268963"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wo</a:t>
            </a:r>
          </a:p>
        </p:txBody>
      </p:sp>
      <p:sp>
        <p:nvSpPr>
          <p:cNvPr id="6" name="Text Placeholder 12">
            <a:extLst>
              <a:ext uri="{FF2B5EF4-FFF2-40B4-BE49-F238E27FC236}">
                <a16:creationId xmlns:a16="http://schemas.microsoft.com/office/drawing/2014/main" id="{41114B1E-A563-1101-CB97-0755E7E651D0}"/>
              </a:ext>
            </a:extLst>
          </p:cNvPr>
          <p:cNvSpPr>
            <a:spLocks noGrp="1"/>
          </p:cNvSpPr>
          <p:nvPr>
            <p:ph type="body" sz="quarter" idx="15"/>
          </p:nvPr>
        </p:nvSpPr>
        <p:spPr>
          <a:xfrm>
            <a:off x="6161974" y="2716213"/>
            <a:ext cx="2268963" cy="1079500"/>
          </a:xfrm>
        </p:spPr>
        <p:txBody>
          <a:bodyPr/>
          <a:lstStyle/>
          <a:p>
            <a:pPr lvl="0"/>
            <a:r>
              <a:rPr lang="en-US"/>
              <a:t>Click to edit Master text styles</a:t>
            </a:r>
          </a:p>
          <a:p>
            <a:pPr lvl="1"/>
            <a:r>
              <a:rPr lang="en-US"/>
              <a:t>Second level</a:t>
            </a:r>
          </a:p>
          <a:p>
            <a:pPr lvl="2"/>
            <a:r>
              <a:rPr lang="en-US"/>
              <a:t>Third level</a:t>
            </a:r>
            <a:endParaRPr lang="en-GB"/>
          </a:p>
        </p:txBody>
      </p:sp>
      <p:sp>
        <p:nvSpPr>
          <p:cNvPr id="18" name="Picture Placeholder 15">
            <a:extLst>
              <a:ext uri="{FF2B5EF4-FFF2-40B4-BE49-F238E27FC236}">
                <a16:creationId xmlns:a16="http://schemas.microsoft.com/office/drawing/2014/main" id="{222353BC-D3DC-BA3E-0558-E3C87FF2BDCC}"/>
              </a:ext>
              <a:ext uri="{C183D7F6-B498-43B3-948B-1728B52AA6E4}">
                <adec:decorative xmlns:adec="http://schemas.microsoft.com/office/drawing/2017/decorative" val="1"/>
              </a:ext>
            </a:extLst>
          </p:cNvPr>
          <p:cNvSpPr>
            <a:spLocks noGrp="1"/>
          </p:cNvSpPr>
          <p:nvPr>
            <p:ph type="pic" sz="quarter" idx="22" hasCustomPrompt="1"/>
          </p:nvPr>
        </p:nvSpPr>
        <p:spPr>
          <a:xfrm>
            <a:off x="8975724" y="1815305"/>
            <a:ext cx="360362" cy="360362"/>
          </a:xfrm>
          <a:noFill/>
        </p:spPr>
        <p:txBody>
          <a:bodyPr anchor="ctr" anchorCtr="0"/>
          <a:lstStyle>
            <a:lvl1pPr marL="0" indent="0" algn="ctr">
              <a:buNone/>
              <a:defRPr sz="1000">
                <a:solidFill>
                  <a:schemeClr val="accent2"/>
                </a:solidFill>
                <a:latin typeface="+mn-lt"/>
              </a:defRPr>
            </a:lvl1pPr>
          </a:lstStyle>
          <a:p>
            <a:pPr lvl="0"/>
            <a:r>
              <a:rPr lang="en-GB"/>
              <a:t>icon</a:t>
            </a:r>
          </a:p>
        </p:txBody>
      </p:sp>
      <p:sp>
        <p:nvSpPr>
          <p:cNvPr id="15" name="Text Placeholder 12">
            <a:extLst>
              <a:ext uri="{FF2B5EF4-FFF2-40B4-BE49-F238E27FC236}">
                <a16:creationId xmlns:a16="http://schemas.microsoft.com/office/drawing/2014/main" id="{47A08AD4-EF40-3EEE-D086-FAFE12BF8572}"/>
              </a:ext>
            </a:extLst>
          </p:cNvPr>
          <p:cNvSpPr>
            <a:spLocks noGrp="1"/>
          </p:cNvSpPr>
          <p:nvPr>
            <p:ph type="body" sz="quarter" idx="67" hasCustomPrompt="1"/>
          </p:nvPr>
        </p:nvSpPr>
        <p:spPr>
          <a:xfrm>
            <a:off x="8974136" y="2354265"/>
            <a:ext cx="2268963"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hree</a:t>
            </a:r>
          </a:p>
        </p:txBody>
      </p:sp>
      <p:sp>
        <p:nvSpPr>
          <p:cNvPr id="7" name="Text Placeholder 12">
            <a:extLst>
              <a:ext uri="{FF2B5EF4-FFF2-40B4-BE49-F238E27FC236}">
                <a16:creationId xmlns:a16="http://schemas.microsoft.com/office/drawing/2014/main" id="{399FA75D-803B-3E4B-7183-E3994966E24B}"/>
              </a:ext>
            </a:extLst>
          </p:cNvPr>
          <p:cNvSpPr>
            <a:spLocks noGrp="1"/>
          </p:cNvSpPr>
          <p:nvPr>
            <p:ph type="body" sz="quarter" idx="16"/>
          </p:nvPr>
        </p:nvSpPr>
        <p:spPr>
          <a:xfrm>
            <a:off x="8975724" y="2716213"/>
            <a:ext cx="2268963" cy="1079500"/>
          </a:xfrm>
        </p:spPr>
        <p:txBody>
          <a:bodyPr/>
          <a:lstStyle/>
          <a:p>
            <a:pPr lvl="0"/>
            <a:r>
              <a:rPr lang="en-US"/>
              <a:t>Click to edit Master text styles</a:t>
            </a:r>
          </a:p>
          <a:p>
            <a:pPr lvl="1"/>
            <a:r>
              <a:rPr lang="en-US"/>
              <a:t>Second level</a:t>
            </a:r>
          </a:p>
          <a:p>
            <a:pPr lvl="2"/>
            <a:r>
              <a:rPr lang="en-US"/>
              <a:t>Third level</a:t>
            </a:r>
            <a:endParaRPr lang="en-GB"/>
          </a:p>
        </p:txBody>
      </p:sp>
      <p:sp>
        <p:nvSpPr>
          <p:cNvPr id="19" name="Picture Placeholder 15">
            <a:extLst>
              <a:ext uri="{FF2B5EF4-FFF2-40B4-BE49-F238E27FC236}">
                <a16:creationId xmlns:a16="http://schemas.microsoft.com/office/drawing/2014/main" id="{470F1949-6467-FE3B-E626-1F303399B974}"/>
              </a:ext>
              <a:ext uri="{C183D7F6-B498-43B3-948B-1728B52AA6E4}">
                <adec:decorative xmlns:adec="http://schemas.microsoft.com/office/drawing/2017/decorative" val="1"/>
              </a:ext>
            </a:extLst>
          </p:cNvPr>
          <p:cNvSpPr>
            <a:spLocks noGrp="1"/>
          </p:cNvSpPr>
          <p:nvPr>
            <p:ph type="pic" sz="quarter" idx="23" hasCustomPrompt="1"/>
          </p:nvPr>
        </p:nvSpPr>
        <p:spPr>
          <a:xfrm>
            <a:off x="3364614" y="3975101"/>
            <a:ext cx="360362" cy="360362"/>
          </a:xfrm>
          <a:noFill/>
        </p:spPr>
        <p:txBody>
          <a:bodyPr anchor="ctr" anchorCtr="0"/>
          <a:lstStyle>
            <a:lvl1pPr marL="0" indent="0" algn="ctr">
              <a:buNone/>
              <a:defRPr sz="1000">
                <a:solidFill>
                  <a:schemeClr val="accent2"/>
                </a:solidFill>
                <a:latin typeface="+mn-lt"/>
              </a:defRPr>
            </a:lvl1pPr>
          </a:lstStyle>
          <a:p>
            <a:pPr lvl="0"/>
            <a:r>
              <a:rPr lang="en-GB"/>
              <a:t>icon</a:t>
            </a:r>
          </a:p>
        </p:txBody>
      </p:sp>
      <p:sp>
        <p:nvSpPr>
          <p:cNvPr id="22" name="Text Placeholder 12">
            <a:extLst>
              <a:ext uri="{FF2B5EF4-FFF2-40B4-BE49-F238E27FC236}">
                <a16:creationId xmlns:a16="http://schemas.microsoft.com/office/drawing/2014/main" id="{488A00D0-DFE0-4018-7DEA-DB963BB63359}"/>
              </a:ext>
            </a:extLst>
          </p:cNvPr>
          <p:cNvSpPr>
            <a:spLocks noGrp="1"/>
          </p:cNvSpPr>
          <p:nvPr>
            <p:ph type="body" sz="quarter" idx="68" hasCustomPrompt="1"/>
          </p:nvPr>
        </p:nvSpPr>
        <p:spPr>
          <a:xfrm>
            <a:off x="3364615" y="4514851"/>
            <a:ext cx="2268963"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Four</a:t>
            </a:r>
          </a:p>
        </p:txBody>
      </p:sp>
      <p:sp>
        <p:nvSpPr>
          <p:cNvPr id="11" name="Text Placeholder 12">
            <a:extLst>
              <a:ext uri="{FF2B5EF4-FFF2-40B4-BE49-F238E27FC236}">
                <a16:creationId xmlns:a16="http://schemas.microsoft.com/office/drawing/2014/main" id="{956E8744-4447-9B41-C4EF-92000E2207C8}"/>
              </a:ext>
            </a:extLst>
          </p:cNvPr>
          <p:cNvSpPr>
            <a:spLocks noGrp="1"/>
          </p:cNvSpPr>
          <p:nvPr>
            <p:ph type="body" sz="quarter" idx="17"/>
          </p:nvPr>
        </p:nvSpPr>
        <p:spPr>
          <a:xfrm>
            <a:off x="3364614" y="4883149"/>
            <a:ext cx="2268963" cy="1079500"/>
          </a:xfrm>
        </p:spPr>
        <p:txBody>
          <a:bodyPr/>
          <a:lstStyle/>
          <a:p>
            <a:pPr lvl="0"/>
            <a:r>
              <a:rPr lang="en-US"/>
              <a:t>Click to edit Master text styles</a:t>
            </a:r>
          </a:p>
          <a:p>
            <a:pPr lvl="1"/>
            <a:r>
              <a:rPr lang="en-US"/>
              <a:t>Second level</a:t>
            </a:r>
          </a:p>
          <a:p>
            <a:pPr lvl="2"/>
            <a:r>
              <a:rPr lang="en-US"/>
              <a:t>Third level</a:t>
            </a:r>
          </a:p>
        </p:txBody>
      </p:sp>
      <p:sp>
        <p:nvSpPr>
          <p:cNvPr id="20" name="Picture Placeholder 15">
            <a:extLst>
              <a:ext uri="{FF2B5EF4-FFF2-40B4-BE49-F238E27FC236}">
                <a16:creationId xmlns:a16="http://schemas.microsoft.com/office/drawing/2014/main" id="{ED0BCDCE-72FA-F3E6-C968-84566E1BEF5B}"/>
              </a:ext>
              <a:ext uri="{C183D7F6-B498-43B3-948B-1728B52AA6E4}">
                <adec:decorative xmlns:adec="http://schemas.microsoft.com/office/drawing/2017/decorative" val="1"/>
              </a:ext>
            </a:extLst>
          </p:cNvPr>
          <p:cNvSpPr>
            <a:spLocks noGrp="1"/>
          </p:cNvSpPr>
          <p:nvPr>
            <p:ph type="pic" sz="quarter" idx="24" hasCustomPrompt="1"/>
          </p:nvPr>
        </p:nvSpPr>
        <p:spPr>
          <a:xfrm>
            <a:off x="6161974" y="3975101"/>
            <a:ext cx="360362" cy="360362"/>
          </a:xfrm>
          <a:noFill/>
        </p:spPr>
        <p:txBody>
          <a:bodyPr anchor="ctr" anchorCtr="0"/>
          <a:lstStyle>
            <a:lvl1pPr marL="0" indent="0" algn="ctr">
              <a:buNone/>
              <a:defRPr sz="1000">
                <a:solidFill>
                  <a:schemeClr val="accent2"/>
                </a:solidFill>
                <a:latin typeface="+mn-lt"/>
              </a:defRPr>
            </a:lvl1pPr>
          </a:lstStyle>
          <a:p>
            <a:pPr lvl="0"/>
            <a:r>
              <a:rPr lang="en-GB"/>
              <a:t>icon</a:t>
            </a:r>
          </a:p>
        </p:txBody>
      </p:sp>
      <p:sp>
        <p:nvSpPr>
          <p:cNvPr id="23" name="Text Placeholder 12">
            <a:extLst>
              <a:ext uri="{FF2B5EF4-FFF2-40B4-BE49-F238E27FC236}">
                <a16:creationId xmlns:a16="http://schemas.microsoft.com/office/drawing/2014/main" id="{35021A18-46DC-3008-76D5-10DA7AF4F84A}"/>
              </a:ext>
            </a:extLst>
          </p:cNvPr>
          <p:cNvSpPr>
            <a:spLocks noGrp="1"/>
          </p:cNvSpPr>
          <p:nvPr>
            <p:ph type="body" sz="quarter" idx="69" hasCustomPrompt="1"/>
          </p:nvPr>
        </p:nvSpPr>
        <p:spPr>
          <a:xfrm>
            <a:off x="6167438" y="4514851"/>
            <a:ext cx="2268963"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Five</a:t>
            </a:r>
          </a:p>
        </p:txBody>
      </p:sp>
      <p:sp>
        <p:nvSpPr>
          <p:cNvPr id="12" name="Text Placeholder 12">
            <a:extLst>
              <a:ext uri="{FF2B5EF4-FFF2-40B4-BE49-F238E27FC236}">
                <a16:creationId xmlns:a16="http://schemas.microsoft.com/office/drawing/2014/main" id="{92D22F55-B345-13EA-70B9-B62C67DD2FB7}"/>
              </a:ext>
            </a:extLst>
          </p:cNvPr>
          <p:cNvSpPr>
            <a:spLocks noGrp="1"/>
          </p:cNvSpPr>
          <p:nvPr>
            <p:ph type="body" sz="quarter" idx="18"/>
          </p:nvPr>
        </p:nvSpPr>
        <p:spPr>
          <a:xfrm>
            <a:off x="6161974" y="4883150"/>
            <a:ext cx="2268963" cy="1079500"/>
          </a:xfrm>
        </p:spPr>
        <p:txBody>
          <a:bodyPr/>
          <a:lstStyle/>
          <a:p>
            <a:pPr lvl="0"/>
            <a:r>
              <a:rPr lang="en-US"/>
              <a:t>Click to edit Master text styles</a:t>
            </a:r>
          </a:p>
          <a:p>
            <a:pPr lvl="1"/>
            <a:r>
              <a:rPr lang="en-US"/>
              <a:t>Second level</a:t>
            </a:r>
          </a:p>
          <a:p>
            <a:pPr lvl="2"/>
            <a:r>
              <a:rPr lang="en-US"/>
              <a:t>Third level</a:t>
            </a:r>
            <a:endParaRPr lang="en-GB"/>
          </a:p>
        </p:txBody>
      </p:sp>
      <p:sp>
        <p:nvSpPr>
          <p:cNvPr id="21" name="Picture Placeholder 15">
            <a:extLst>
              <a:ext uri="{FF2B5EF4-FFF2-40B4-BE49-F238E27FC236}">
                <a16:creationId xmlns:a16="http://schemas.microsoft.com/office/drawing/2014/main" id="{95AC45EB-6812-379E-D631-F1DE40638311}"/>
              </a:ext>
              <a:ext uri="{C183D7F6-B498-43B3-948B-1728B52AA6E4}">
                <adec:decorative xmlns:adec="http://schemas.microsoft.com/office/drawing/2017/decorative" val="1"/>
              </a:ext>
            </a:extLst>
          </p:cNvPr>
          <p:cNvSpPr>
            <a:spLocks noGrp="1"/>
          </p:cNvSpPr>
          <p:nvPr>
            <p:ph type="pic" sz="quarter" idx="25" hasCustomPrompt="1"/>
          </p:nvPr>
        </p:nvSpPr>
        <p:spPr>
          <a:xfrm>
            <a:off x="8975724" y="3975101"/>
            <a:ext cx="360362" cy="360362"/>
          </a:xfrm>
          <a:noFill/>
        </p:spPr>
        <p:txBody>
          <a:bodyPr anchor="ctr" anchorCtr="0"/>
          <a:lstStyle>
            <a:lvl1pPr marL="0" indent="0" algn="ctr">
              <a:buNone/>
              <a:defRPr sz="1000">
                <a:solidFill>
                  <a:schemeClr val="accent2"/>
                </a:solidFill>
                <a:latin typeface="+mn-lt"/>
              </a:defRPr>
            </a:lvl1pPr>
          </a:lstStyle>
          <a:p>
            <a:pPr lvl="0"/>
            <a:r>
              <a:rPr lang="en-GB"/>
              <a:t>icon</a:t>
            </a:r>
          </a:p>
        </p:txBody>
      </p:sp>
      <p:sp>
        <p:nvSpPr>
          <p:cNvPr id="24" name="Text Placeholder 12">
            <a:extLst>
              <a:ext uri="{FF2B5EF4-FFF2-40B4-BE49-F238E27FC236}">
                <a16:creationId xmlns:a16="http://schemas.microsoft.com/office/drawing/2014/main" id="{69000ADE-09E6-91EC-6A61-155867714C5E}"/>
              </a:ext>
            </a:extLst>
          </p:cNvPr>
          <p:cNvSpPr>
            <a:spLocks noGrp="1"/>
          </p:cNvSpPr>
          <p:nvPr>
            <p:ph type="body" sz="quarter" idx="70" hasCustomPrompt="1"/>
          </p:nvPr>
        </p:nvSpPr>
        <p:spPr>
          <a:xfrm>
            <a:off x="8974136" y="4514851"/>
            <a:ext cx="2268963"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Six</a:t>
            </a:r>
          </a:p>
        </p:txBody>
      </p:sp>
      <p:sp>
        <p:nvSpPr>
          <p:cNvPr id="14" name="Text Placeholder 12">
            <a:extLst>
              <a:ext uri="{FF2B5EF4-FFF2-40B4-BE49-F238E27FC236}">
                <a16:creationId xmlns:a16="http://schemas.microsoft.com/office/drawing/2014/main" id="{0876B04D-418A-408D-4B86-1F152EA3B9AC}"/>
              </a:ext>
            </a:extLst>
          </p:cNvPr>
          <p:cNvSpPr>
            <a:spLocks noGrp="1"/>
          </p:cNvSpPr>
          <p:nvPr>
            <p:ph type="body" sz="quarter" idx="19"/>
          </p:nvPr>
        </p:nvSpPr>
        <p:spPr>
          <a:xfrm>
            <a:off x="8975724" y="4883150"/>
            <a:ext cx="2268963" cy="1079500"/>
          </a:xfrm>
        </p:spPr>
        <p:txBody>
          <a:bodyPr/>
          <a:lstStyle/>
          <a:p>
            <a:pPr lvl="0"/>
            <a:r>
              <a:rPr lang="en-US"/>
              <a:t>Click to edit Master text styles</a:t>
            </a:r>
          </a:p>
          <a:p>
            <a:pPr lvl="1"/>
            <a:r>
              <a:rPr lang="en-US"/>
              <a:t>Second level</a:t>
            </a:r>
          </a:p>
          <a:p>
            <a:pPr lvl="2"/>
            <a:r>
              <a:rPr lang="en-US"/>
              <a:t>Third level</a:t>
            </a:r>
            <a:endParaRPr lang="en-GB"/>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5 Clarivate. All rights reserved.</a:t>
            </a:r>
          </a:p>
        </p:txBody>
      </p:sp>
      <p:sp>
        <p:nvSpPr>
          <p:cNvPr id="26" name="Text Placeholder 50">
            <a:extLst>
              <a:ext uri="{FF2B5EF4-FFF2-40B4-BE49-F238E27FC236}">
                <a16:creationId xmlns:a16="http://schemas.microsoft.com/office/drawing/2014/main" id="{1CD60F5F-1A30-45AD-3B55-764EF64C6E0B}"/>
              </a:ext>
              <a:ext uri="{C183D7F6-B498-43B3-948B-1728B52AA6E4}">
                <adec:decorative xmlns:adec="http://schemas.microsoft.com/office/drawing/2017/decorative" val="1"/>
              </a:ext>
            </a:extLst>
          </p:cNvPr>
          <p:cNvSpPr>
            <a:spLocks noGrp="1"/>
          </p:cNvSpPr>
          <p:nvPr>
            <p:ph type="body" sz="quarter" idx="12" hasCustomPrompt="1"/>
          </p:nvPr>
        </p:nvSpPr>
        <p:spPr>
          <a:xfrm>
            <a:off x="1" y="-680886"/>
            <a:ext cx="4716000" cy="607071"/>
          </a:xfrm>
          <a:solidFill>
            <a:schemeClr val="accent3"/>
          </a:solidFill>
        </p:spPr>
        <p:txBody>
          <a:bodyPr wrap="square" lIns="72000" tIns="72000" rIns="72000" bIns="72000">
            <a:spAutoFit/>
          </a:bodyPr>
          <a:lstStyle>
            <a:lvl1pPr marL="0" indent="0">
              <a:buNone/>
              <a:defRPr/>
            </a:lvl1pPr>
            <a:lvl2pPr marL="180000" indent="0">
              <a:buNone/>
              <a:defRPr/>
            </a:lvl2pPr>
            <a:lvl3pPr marL="360000" indent="0">
              <a:buNone/>
              <a:defRPr/>
            </a:lvl3pPr>
            <a:lvl4pPr marL="540000" indent="0">
              <a:buNone/>
              <a:defRPr/>
            </a:lvl4pPr>
            <a:lvl5pPr marL="720000" indent="0">
              <a:buNone/>
              <a:defRPr/>
            </a:lvl5pPr>
          </a:lstStyle>
          <a:p>
            <a:pPr lvl="0"/>
            <a:r>
              <a:rPr lang="en-GB"/>
              <a:t>Lorem ipsum dolor sit amet, consectetuer adipiscing elit. Maecenas porttitor </a:t>
            </a:r>
            <a:r>
              <a:rPr lang="en-GB" err="1"/>
              <a:t>congue</a:t>
            </a:r>
            <a:r>
              <a:rPr lang="en-GB"/>
              <a:t> </a:t>
            </a:r>
            <a:r>
              <a:rPr lang="en-GB" err="1"/>
              <a:t>massa</a:t>
            </a:r>
            <a:r>
              <a:rPr lang="en-GB"/>
              <a:t> </a:t>
            </a:r>
            <a:r>
              <a:rPr lang="en-GB" err="1"/>
              <a:t>posuere</a:t>
            </a:r>
            <a:r>
              <a:rPr lang="en-GB"/>
              <a:t>.</a:t>
            </a:r>
          </a:p>
        </p:txBody>
      </p:sp>
    </p:spTree>
    <p:extLst>
      <p:ext uri="{BB962C8B-B14F-4D97-AF65-F5344CB8AC3E}">
        <p14:creationId xmlns:p14="http://schemas.microsoft.com/office/powerpoint/2010/main" val="80385349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0:50 Text -  Blue / Purple Big Sta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AB8773E-2F29-ECD1-16FF-8BC5E75E1E40}"/>
              </a:ext>
            </a:extLst>
          </p:cNvPr>
          <p:cNvSpPr/>
          <p:nvPr userDrawn="1"/>
        </p:nvSpPr>
        <p:spPr>
          <a:xfrm rot="10800000">
            <a:off x="6095999" y="0"/>
            <a:ext cx="6096000" cy="6858000"/>
          </a:xfrm>
          <a:prstGeom prst="rect">
            <a:avLst/>
          </a:pr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6959600" y="2168525"/>
            <a:ext cx="4679821" cy="1620837"/>
          </a:xfrm>
        </p:spPr>
        <p:txBody>
          <a:bodyPr anchor="b" anchorCtr="0"/>
          <a:lstStyle>
            <a:lvl1pPr marL="0" indent="0" algn="ctr">
              <a:buNone/>
              <a:defRPr sz="12000" spc="-300" baseline="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6959600" y="3608388"/>
            <a:ext cx="4679821"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7" name="Title 1">
            <a:extLst>
              <a:ext uri="{FF2B5EF4-FFF2-40B4-BE49-F238E27FC236}">
                <a16:creationId xmlns:a16="http://schemas.microsoft.com/office/drawing/2014/main" id="{7DE71408-1F6A-1900-3166-8B0F27B91CF7}"/>
              </a:ext>
            </a:extLst>
          </p:cNvPr>
          <p:cNvSpPr>
            <a:spLocks noGrp="1"/>
          </p:cNvSpPr>
          <p:nvPr>
            <p:ph type="title" hasCustomPrompt="1"/>
          </p:nvPr>
        </p:nvSpPr>
        <p:spPr>
          <a:xfrm>
            <a:off x="550865" y="368828"/>
            <a:ext cx="5075998" cy="251885"/>
          </a:xfrm>
        </p:spPr>
        <p:txBody>
          <a:bodyPr/>
          <a:lstStyle>
            <a:lvl1pPr>
              <a:defRPr/>
            </a:lvl1pPr>
          </a:lstStyle>
          <a:p>
            <a:r>
              <a:rPr lang="en-US"/>
              <a:t>Header avenir demi 24pt</a:t>
            </a:r>
            <a:endParaRPr lang="en-GB"/>
          </a:p>
        </p:txBody>
      </p:sp>
      <p:sp>
        <p:nvSpPr>
          <p:cNvPr id="10" name="Text Placeholder 9">
            <a:extLst>
              <a:ext uri="{FF2B5EF4-FFF2-40B4-BE49-F238E27FC236}">
                <a16:creationId xmlns:a16="http://schemas.microsoft.com/office/drawing/2014/main" id="{E040A9B4-F93C-AB35-66CE-1690CFBC2581}"/>
              </a:ext>
            </a:extLst>
          </p:cNvPr>
          <p:cNvSpPr>
            <a:spLocks noGrp="1"/>
          </p:cNvSpPr>
          <p:nvPr>
            <p:ph type="body" sz="quarter" idx="13" hasCustomPrompt="1"/>
          </p:nvPr>
        </p:nvSpPr>
        <p:spPr>
          <a:xfrm>
            <a:off x="550865" y="753852"/>
            <a:ext cx="5075998"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03BC752C-CC9E-C49E-83BC-B6B704830335}"/>
              </a:ext>
            </a:extLst>
          </p:cNvPr>
          <p:cNvSpPr>
            <a:spLocks noGrp="1"/>
          </p:cNvSpPr>
          <p:nvPr>
            <p:ph type="body" sz="quarter" idx="14"/>
          </p:nvPr>
        </p:nvSpPr>
        <p:spPr>
          <a:xfrm>
            <a:off x="550862" y="1808163"/>
            <a:ext cx="5076000" cy="4321175"/>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0490638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 Blue / Purple Big Sta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28D564B-EB64-218D-674E-69E2C567CF28}"/>
              </a:ext>
            </a:extLst>
          </p:cNvPr>
          <p:cNvSpPr/>
          <p:nvPr userDrawn="1"/>
        </p:nvSpPr>
        <p:spPr>
          <a:xfrm rot="10800000">
            <a:off x="8040684" y="0"/>
            <a:ext cx="4151311" cy="6858000"/>
          </a:xfrm>
          <a:prstGeom prst="rect">
            <a:avLst/>
          </a:pr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2168525"/>
            <a:ext cx="3024000" cy="1620837"/>
          </a:xfrm>
        </p:spPr>
        <p:txBody>
          <a:bodyPr anchor="b" anchorCtr="0"/>
          <a:lstStyle>
            <a:lvl1pPr marL="0" indent="0" algn="ctr">
              <a:buNone/>
              <a:defRPr sz="12000" spc="-300" baseline="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3608388"/>
            <a:ext cx="3024000"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11" name="Title 1">
            <a:extLst>
              <a:ext uri="{FF2B5EF4-FFF2-40B4-BE49-F238E27FC236}">
                <a16:creationId xmlns:a16="http://schemas.microsoft.com/office/drawing/2014/main" id="{5F4A0393-5E31-B1D7-44B4-0AE64D41191E}"/>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12" name="Text Placeholder 9">
            <a:extLst>
              <a:ext uri="{FF2B5EF4-FFF2-40B4-BE49-F238E27FC236}">
                <a16:creationId xmlns:a16="http://schemas.microsoft.com/office/drawing/2014/main" id="{3EF12EEA-B717-A2D4-DD8A-8AD5480E07F4}"/>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2" name="Text Placeholder 12">
            <a:extLst>
              <a:ext uri="{FF2B5EF4-FFF2-40B4-BE49-F238E27FC236}">
                <a16:creationId xmlns:a16="http://schemas.microsoft.com/office/drawing/2014/main" id="{2C9B01AB-F676-3FF4-AEAE-E94065157406}"/>
              </a:ext>
            </a:extLst>
          </p:cNvPr>
          <p:cNvSpPr>
            <a:spLocks noGrp="1"/>
          </p:cNvSpPr>
          <p:nvPr>
            <p:ph type="body" sz="quarter" idx="14"/>
          </p:nvPr>
        </p:nvSpPr>
        <p:spPr>
          <a:xfrm>
            <a:off x="550861" y="1808163"/>
            <a:ext cx="6966375" cy="4321175"/>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217403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rgbClr val="5E33BE"/>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sz="1800" b="1" i="0">
                <a:solidFill>
                  <a:schemeClr val="tx1"/>
                </a:solidFill>
                <a:latin typeface="Calibri"/>
                <a:cs typeface="Calibri"/>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18/2025</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x Columns -  Blue / Purple Big Sta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E5CACE1-373F-1887-B5D9-B73EA9691DEA}"/>
              </a:ext>
            </a:extLst>
          </p:cNvPr>
          <p:cNvSpPr/>
          <p:nvPr userDrawn="1"/>
        </p:nvSpPr>
        <p:spPr>
          <a:xfrm rot="10800000">
            <a:off x="8040684" y="0"/>
            <a:ext cx="4151311" cy="6858000"/>
          </a:xfrm>
          <a:prstGeom prst="rect">
            <a:avLst/>
          </a:pr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2168525"/>
            <a:ext cx="3024000" cy="1620837"/>
          </a:xfrm>
        </p:spPr>
        <p:txBody>
          <a:bodyPr anchor="b" anchorCtr="0"/>
          <a:lstStyle>
            <a:lvl1pPr marL="0" indent="0" algn="ctr">
              <a:buNone/>
              <a:defRPr sz="12000" spc="-300" baseline="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3608388"/>
            <a:ext cx="3024000"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11" name="Title 1">
            <a:extLst>
              <a:ext uri="{FF2B5EF4-FFF2-40B4-BE49-F238E27FC236}">
                <a16:creationId xmlns:a16="http://schemas.microsoft.com/office/drawing/2014/main" id="{5F4A0393-5E31-B1D7-44B4-0AE64D41191E}"/>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12" name="Text Placeholder 9">
            <a:extLst>
              <a:ext uri="{FF2B5EF4-FFF2-40B4-BE49-F238E27FC236}">
                <a16:creationId xmlns:a16="http://schemas.microsoft.com/office/drawing/2014/main" id="{3EF12EEA-B717-A2D4-DD8A-8AD5480E07F4}"/>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E85E9EA0-2A22-199D-48CF-03EB94ECF487}"/>
              </a:ext>
            </a:extLst>
          </p:cNvPr>
          <p:cNvSpPr>
            <a:spLocks noGrp="1"/>
          </p:cNvSpPr>
          <p:nvPr>
            <p:ph type="body" sz="quarter" idx="14"/>
          </p:nvPr>
        </p:nvSpPr>
        <p:spPr>
          <a:xfrm>
            <a:off x="550864" y="1808163"/>
            <a:ext cx="3204000" cy="4321175"/>
          </a:xfrm>
        </p:spPr>
        <p:txBody>
          <a:bodyPr/>
          <a:lstStyle/>
          <a:p>
            <a:pPr lvl="0"/>
            <a:r>
              <a:rPr lang="en-US"/>
              <a:t>Click to 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269DCDE0-20E2-91A9-6591-26711B40C6C3}"/>
              </a:ext>
            </a:extLst>
          </p:cNvPr>
          <p:cNvSpPr>
            <a:spLocks noGrp="1"/>
          </p:cNvSpPr>
          <p:nvPr>
            <p:ph type="body" sz="quarter" idx="15"/>
          </p:nvPr>
        </p:nvSpPr>
        <p:spPr>
          <a:xfrm>
            <a:off x="4295774" y="1808163"/>
            <a:ext cx="3204000" cy="4321175"/>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7994417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1 Light Image - Blue / Purple Big Sta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73EBDDE-664E-22FA-02F4-D12882D309AB}"/>
              </a:ext>
            </a:extLst>
          </p:cNvPr>
          <p:cNvSpPr/>
          <p:nvPr userDrawn="1"/>
        </p:nvSpPr>
        <p:spPr>
          <a:xfrm rot="10800000">
            <a:off x="8040687" y="0"/>
            <a:ext cx="4151311" cy="6858000"/>
          </a:xfrm>
          <a:prstGeom prst="rect">
            <a:avLst/>
          </a:pr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ectangle 1">
            <a:extLst>
              <a:ext uri="{FF2B5EF4-FFF2-40B4-BE49-F238E27FC236}">
                <a16:creationId xmlns:a16="http://schemas.microsoft.com/office/drawing/2014/main" id="{31AA0871-DF4F-3D16-30B1-C25E0C64F490}"/>
              </a:ext>
            </a:extLst>
          </p:cNvPr>
          <p:cNvSpPr/>
          <p:nvPr userDrawn="1"/>
        </p:nvSpPr>
        <p:spPr>
          <a:xfrm>
            <a:off x="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3" name="Picture Placeholder 42">
            <a:extLst>
              <a:ext uri="{FF2B5EF4-FFF2-40B4-BE49-F238E27FC236}">
                <a16:creationId xmlns:a16="http://schemas.microsoft.com/office/drawing/2014/main" id="{C6FE3766-7949-D482-997B-F037BAB90A2C}"/>
              </a:ext>
            </a:extLst>
          </p:cNvPr>
          <p:cNvSpPr>
            <a:spLocks noGrp="1"/>
          </p:cNvSpPr>
          <p:nvPr>
            <p:ph type="pic" sz="quarter" idx="20" hasCustomPrompt="1"/>
          </p:nvPr>
        </p:nvSpPr>
        <p:spPr>
          <a:xfrm>
            <a:off x="0" y="0"/>
            <a:ext cx="8040688" cy="6858000"/>
          </a:xfrm>
          <a:custGeom>
            <a:avLst/>
            <a:gdLst>
              <a:gd name="connsiteX0" fmla="*/ 1592699 w 8040688"/>
              <a:gd name="connsiteY0" fmla="*/ 6492423 h 6858000"/>
              <a:gd name="connsiteX1" fmla="*/ 1592699 w 8040688"/>
              <a:gd name="connsiteY1" fmla="*/ 6501164 h 6858000"/>
              <a:gd name="connsiteX2" fmla="*/ 1592546 w 8040688"/>
              <a:gd name="connsiteY2" fmla="*/ 6504388 h 6858000"/>
              <a:gd name="connsiteX3" fmla="*/ 1568857 w 8040688"/>
              <a:gd name="connsiteY3" fmla="*/ 6522619 h 6858000"/>
              <a:gd name="connsiteX4" fmla="*/ 1551438 w 8040688"/>
              <a:gd name="connsiteY4" fmla="*/ 6508315 h 6858000"/>
              <a:gd name="connsiteX5" fmla="*/ 1568857 w 8040688"/>
              <a:gd name="connsiteY5" fmla="*/ 6495071 h 6858000"/>
              <a:gd name="connsiteX6" fmla="*/ 1581983 w 8040688"/>
              <a:gd name="connsiteY6" fmla="*/ 6495071 h 6858000"/>
              <a:gd name="connsiteX7" fmla="*/ 1592699 w 8040688"/>
              <a:gd name="connsiteY7" fmla="*/ 6492423 h 6858000"/>
              <a:gd name="connsiteX8" fmla="*/ 1172060 w 8040688"/>
              <a:gd name="connsiteY8" fmla="*/ 6492423 h 6858000"/>
              <a:gd name="connsiteX9" fmla="*/ 1172060 w 8040688"/>
              <a:gd name="connsiteY9" fmla="*/ 6501164 h 6858000"/>
              <a:gd name="connsiteX10" fmla="*/ 1171906 w 8040688"/>
              <a:gd name="connsiteY10" fmla="*/ 6504389 h 6858000"/>
              <a:gd name="connsiteX11" fmla="*/ 1148216 w 8040688"/>
              <a:gd name="connsiteY11" fmla="*/ 6522619 h 6858000"/>
              <a:gd name="connsiteX12" fmla="*/ 1130802 w 8040688"/>
              <a:gd name="connsiteY12" fmla="*/ 6508315 h 6858000"/>
              <a:gd name="connsiteX13" fmla="*/ 1148216 w 8040688"/>
              <a:gd name="connsiteY13" fmla="*/ 6495071 h 6858000"/>
              <a:gd name="connsiteX14" fmla="*/ 1161343 w 8040688"/>
              <a:gd name="connsiteY14" fmla="*/ 6495071 h 6858000"/>
              <a:gd name="connsiteX15" fmla="*/ 1172060 w 8040688"/>
              <a:gd name="connsiteY15" fmla="*/ 6492423 h 6858000"/>
              <a:gd name="connsiteX16" fmla="*/ 1796056 w 8040688"/>
              <a:gd name="connsiteY16" fmla="*/ 6448718 h 6858000"/>
              <a:gd name="connsiteX17" fmla="*/ 1823115 w 8040688"/>
              <a:gd name="connsiteY17" fmla="*/ 6470969 h 6858000"/>
              <a:gd name="connsiteX18" fmla="*/ 1768190 w 8040688"/>
              <a:gd name="connsiteY18" fmla="*/ 6470969 h 6858000"/>
              <a:gd name="connsiteX19" fmla="*/ 1796056 w 8040688"/>
              <a:gd name="connsiteY19" fmla="*/ 6448718 h 6858000"/>
              <a:gd name="connsiteX20" fmla="*/ 1385331 w 8040688"/>
              <a:gd name="connsiteY20" fmla="*/ 6423290 h 6858000"/>
              <a:gd name="connsiteX21" fmla="*/ 1427128 w 8040688"/>
              <a:gd name="connsiteY21" fmla="*/ 6544605 h 6858000"/>
              <a:gd name="connsiteX22" fmla="*/ 1470261 w 8040688"/>
              <a:gd name="connsiteY22" fmla="*/ 6544605 h 6858000"/>
              <a:gd name="connsiteX23" fmla="*/ 1513932 w 8040688"/>
              <a:gd name="connsiteY23" fmla="*/ 6423290 h 6858000"/>
              <a:gd name="connsiteX24" fmla="*/ 1477223 w 8040688"/>
              <a:gd name="connsiteY24" fmla="*/ 6423290 h 6858000"/>
              <a:gd name="connsiteX25" fmla="*/ 1449367 w 8040688"/>
              <a:gd name="connsiteY25" fmla="*/ 6507521 h 6858000"/>
              <a:gd name="connsiteX26" fmla="*/ 1423104 w 8040688"/>
              <a:gd name="connsiteY26" fmla="*/ 6423290 h 6858000"/>
              <a:gd name="connsiteX27" fmla="*/ 1319153 w 8040688"/>
              <a:gd name="connsiteY27" fmla="*/ 6423290 h 6858000"/>
              <a:gd name="connsiteX28" fmla="*/ 1319153 w 8040688"/>
              <a:gd name="connsiteY28" fmla="*/ 6452426 h 6858000"/>
              <a:gd name="connsiteX29" fmla="*/ 1336299 w 8040688"/>
              <a:gd name="connsiteY29" fmla="*/ 6452426 h 6858000"/>
              <a:gd name="connsiteX30" fmla="*/ 1336299 w 8040688"/>
              <a:gd name="connsiteY30" fmla="*/ 6544604 h 6858000"/>
              <a:gd name="connsiteX31" fmla="*/ 1371127 w 8040688"/>
              <a:gd name="connsiteY31" fmla="*/ 6544604 h 6858000"/>
              <a:gd name="connsiteX32" fmla="*/ 1371127 w 8040688"/>
              <a:gd name="connsiteY32" fmla="*/ 6423290 h 6858000"/>
              <a:gd name="connsiteX33" fmla="*/ 1293161 w 8040688"/>
              <a:gd name="connsiteY33" fmla="*/ 6421700 h 6858000"/>
              <a:gd name="connsiteX34" fmla="*/ 1261280 w 8040688"/>
              <a:gd name="connsiteY34" fmla="*/ 6442626 h 6858000"/>
              <a:gd name="connsiteX35" fmla="*/ 1261280 w 8040688"/>
              <a:gd name="connsiteY35" fmla="*/ 6423290 h 6858000"/>
              <a:gd name="connsiteX36" fmla="*/ 1227522 w 8040688"/>
              <a:gd name="connsiteY36" fmla="*/ 6423290 h 6858000"/>
              <a:gd name="connsiteX37" fmla="*/ 1227522 w 8040688"/>
              <a:gd name="connsiteY37" fmla="*/ 6544604 h 6858000"/>
              <a:gd name="connsiteX38" fmla="*/ 1262352 w 8040688"/>
              <a:gd name="connsiteY38" fmla="*/ 6544604 h 6858000"/>
              <a:gd name="connsiteX39" fmla="*/ 1262352 w 8040688"/>
              <a:gd name="connsiteY39" fmla="*/ 6486596 h 6858000"/>
              <a:gd name="connsiteX40" fmla="*/ 1288073 w 8040688"/>
              <a:gd name="connsiteY40" fmla="*/ 6457194 h 6858000"/>
              <a:gd name="connsiteX41" fmla="*/ 1302808 w 8040688"/>
              <a:gd name="connsiteY41" fmla="*/ 6457194 h 6858000"/>
              <a:gd name="connsiteX42" fmla="*/ 1302808 w 8040688"/>
              <a:gd name="connsiteY42" fmla="*/ 6422760 h 6858000"/>
              <a:gd name="connsiteX43" fmla="*/ 1293161 w 8040688"/>
              <a:gd name="connsiteY43" fmla="*/ 6421700 h 6858000"/>
              <a:gd name="connsiteX44" fmla="*/ 1796056 w 8040688"/>
              <a:gd name="connsiteY44" fmla="*/ 6420112 h 6858000"/>
              <a:gd name="connsiteX45" fmla="*/ 1791956 w 8040688"/>
              <a:gd name="connsiteY45" fmla="*/ 6420138 h 6858000"/>
              <a:gd name="connsiteX46" fmla="*/ 1732297 w 8040688"/>
              <a:gd name="connsiteY46" fmla="*/ 6483948 h 6858000"/>
              <a:gd name="connsiteX47" fmla="*/ 1770879 w 8040688"/>
              <a:gd name="connsiteY47" fmla="*/ 6541990 h 6858000"/>
              <a:gd name="connsiteX48" fmla="*/ 1857943 w 8040688"/>
              <a:gd name="connsiteY48" fmla="*/ 6509641 h 6858000"/>
              <a:gd name="connsiteX49" fmla="*/ 1821781 w 8040688"/>
              <a:gd name="connsiteY49" fmla="*/ 6505933 h 6858000"/>
              <a:gd name="connsiteX50" fmla="*/ 1802269 w 8040688"/>
              <a:gd name="connsiteY50" fmla="*/ 6518046 h 6858000"/>
              <a:gd name="connsiteX51" fmla="*/ 1768997 w 8040688"/>
              <a:gd name="connsiteY51" fmla="*/ 6494013 h 6858000"/>
              <a:gd name="connsiteX52" fmla="*/ 1860353 w 8040688"/>
              <a:gd name="connsiteY52" fmla="*/ 6494013 h 6858000"/>
              <a:gd name="connsiteX53" fmla="*/ 1860353 w 8040688"/>
              <a:gd name="connsiteY53" fmla="*/ 6492689 h 6858000"/>
              <a:gd name="connsiteX54" fmla="*/ 1796056 w 8040688"/>
              <a:gd name="connsiteY54" fmla="*/ 6420112 h 6858000"/>
              <a:gd name="connsiteX55" fmla="*/ 1574215 w 8040688"/>
              <a:gd name="connsiteY55" fmla="*/ 6420111 h 6858000"/>
              <a:gd name="connsiteX56" fmla="*/ 1521700 w 8040688"/>
              <a:gd name="connsiteY56" fmla="*/ 6434944 h 6858000"/>
              <a:gd name="connsiteX57" fmla="*/ 1535364 w 8040688"/>
              <a:gd name="connsiteY57" fmla="*/ 6460902 h 6858000"/>
              <a:gd name="connsiteX58" fmla="*/ 1572342 w 8040688"/>
              <a:gd name="connsiteY58" fmla="*/ 6449512 h 6858000"/>
              <a:gd name="connsiteX59" fmla="*/ 1592699 w 8040688"/>
              <a:gd name="connsiteY59" fmla="*/ 6463816 h 6858000"/>
              <a:gd name="connsiteX60" fmla="*/ 1592699 w 8040688"/>
              <a:gd name="connsiteY60" fmla="*/ 6465140 h 6858000"/>
              <a:gd name="connsiteX61" fmla="*/ 1584124 w 8040688"/>
              <a:gd name="connsiteY61" fmla="*/ 6472292 h 6858000"/>
              <a:gd name="connsiteX62" fmla="*/ 1560013 w 8040688"/>
              <a:gd name="connsiteY62" fmla="*/ 6472292 h 6858000"/>
              <a:gd name="connsiteX63" fmla="*/ 1515545 w 8040688"/>
              <a:gd name="connsiteY63" fmla="*/ 6509640 h 6858000"/>
              <a:gd name="connsiteX64" fmla="*/ 1515603 w 8040688"/>
              <a:gd name="connsiteY64" fmla="*/ 6510750 h 6858000"/>
              <a:gd name="connsiteX65" fmla="*/ 1558409 w 8040688"/>
              <a:gd name="connsiteY65" fmla="*/ 6547782 h 6858000"/>
              <a:gd name="connsiteX66" fmla="*/ 1592699 w 8040688"/>
              <a:gd name="connsiteY66" fmla="*/ 6533214 h 6858000"/>
              <a:gd name="connsiteX67" fmla="*/ 1592699 w 8040688"/>
              <a:gd name="connsiteY67" fmla="*/ 6544604 h 6858000"/>
              <a:gd name="connsiteX68" fmla="*/ 1627527 w 8040688"/>
              <a:gd name="connsiteY68" fmla="*/ 6544604 h 6858000"/>
              <a:gd name="connsiteX69" fmla="*/ 1627527 w 8040688"/>
              <a:gd name="connsiteY69" fmla="*/ 6464875 h 6858000"/>
              <a:gd name="connsiteX70" fmla="*/ 1574215 w 8040688"/>
              <a:gd name="connsiteY70" fmla="*/ 6420111 h 6858000"/>
              <a:gd name="connsiteX71" fmla="*/ 1153574 w 8040688"/>
              <a:gd name="connsiteY71" fmla="*/ 6420111 h 6858000"/>
              <a:gd name="connsiteX72" fmla="*/ 1101062 w 8040688"/>
              <a:gd name="connsiteY72" fmla="*/ 6434944 h 6858000"/>
              <a:gd name="connsiteX73" fmla="*/ 1114726 w 8040688"/>
              <a:gd name="connsiteY73" fmla="*/ 6460902 h 6858000"/>
              <a:gd name="connsiteX74" fmla="*/ 1151699 w 8040688"/>
              <a:gd name="connsiteY74" fmla="*/ 6449512 h 6858000"/>
              <a:gd name="connsiteX75" fmla="*/ 1172060 w 8040688"/>
              <a:gd name="connsiteY75" fmla="*/ 6463816 h 6858000"/>
              <a:gd name="connsiteX76" fmla="*/ 1172060 w 8040688"/>
              <a:gd name="connsiteY76" fmla="*/ 6465140 h 6858000"/>
              <a:gd name="connsiteX77" fmla="*/ 1163487 w 8040688"/>
              <a:gd name="connsiteY77" fmla="*/ 6472292 h 6858000"/>
              <a:gd name="connsiteX78" fmla="*/ 1139375 w 8040688"/>
              <a:gd name="connsiteY78" fmla="*/ 6472292 h 6858000"/>
              <a:gd name="connsiteX79" fmla="*/ 1094901 w 8040688"/>
              <a:gd name="connsiteY79" fmla="*/ 6509640 h 6858000"/>
              <a:gd name="connsiteX80" fmla="*/ 1094960 w 8040688"/>
              <a:gd name="connsiteY80" fmla="*/ 6510749 h 6858000"/>
              <a:gd name="connsiteX81" fmla="*/ 1137766 w 8040688"/>
              <a:gd name="connsiteY81" fmla="*/ 6547782 h 6858000"/>
              <a:gd name="connsiteX82" fmla="*/ 1172060 w 8040688"/>
              <a:gd name="connsiteY82" fmla="*/ 6533214 h 6858000"/>
              <a:gd name="connsiteX83" fmla="*/ 1172060 w 8040688"/>
              <a:gd name="connsiteY83" fmla="*/ 6544604 h 6858000"/>
              <a:gd name="connsiteX84" fmla="*/ 1206890 w 8040688"/>
              <a:gd name="connsiteY84" fmla="*/ 6544604 h 6858000"/>
              <a:gd name="connsiteX85" fmla="*/ 1206890 w 8040688"/>
              <a:gd name="connsiteY85" fmla="*/ 6464875 h 6858000"/>
              <a:gd name="connsiteX86" fmla="*/ 1153574 w 8040688"/>
              <a:gd name="connsiteY86" fmla="*/ 6420111 h 6858000"/>
              <a:gd name="connsiteX87" fmla="*/ 568575 w 8040688"/>
              <a:gd name="connsiteY87" fmla="*/ 6383429 h 6858000"/>
              <a:gd name="connsiteX88" fmla="*/ 568549 w 8040688"/>
              <a:gd name="connsiteY88" fmla="*/ 6520396 h 6858000"/>
              <a:gd name="connsiteX89" fmla="*/ 624511 w 8040688"/>
              <a:gd name="connsiteY89" fmla="*/ 6519097 h 6858000"/>
              <a:gd name="connsiteX90" fmla="*/ 618898 w 8040688"/>
              <a:gd name="connsiteY90" fmla="*/ 6402004 h 6858000"/>
              <a:gd name="connsiteX91" fmla="*/ 624479 w 8040688"/>
              <a:gd name="connsiteY91" fmla="*/ 6384725 h 6858000"/>
              <a:gd name="connsiteX92" fmla="*/ 568575 w 8040688"/>
              <a:gd name="connsiteY92" fmla="*/ 6383429 h 6858000"/>
              <a:gd name="connsiteX93" fmla="*/ 1659953 w 8040688"/>
              <a:gd name="connsiteY93" fmla="*/ 6377201 h 6858000"/>
              <a:gd name="connsiteX94" fmla="*/ 1659953 w 8040688"/>
              <a:gd name="connsiteY94" fmla="*/ 6423290 h 6858000"/>
              <a:gd name="connsiteX95" fmla="*/ 1640662 w 8040688"/>
              <a:gd name="connsiteY95" fmla="*/ 6423290 h 6858000"/>
              <a:gd name="connsiteX96" fmla="*/ 1640662 w 8040688"/>
              <a:gd name="connsiteY96" fmla="*/ 6452426 h 6858000"/>
              <a:gd name="connsiteX97" fmla="*/ 1659953 w 8040688"/>
              <a:gd name="connsiteY97" fmla="*/ 6452426 h 6858000"/>
              <a:gd name="connsiteX98" fmla="*/ 1659953 w 8040688"/>
              <a:gd name="connsiteY98" fmla="*/ 6518911 h 6858000"/>
              <a:gd name="connsiteX99" fmla="*/ 1695318 w 8040688"/>
              <a:gd name="connsiteY99" fmla="*/ 6546194 h 6858000"/>
              <a:gd name="connsiteX100" fmla="*/ 1722377 w 8040688"/>
              <a:gd name="connsiteY100" fmla="*/ 6544604 h 6858000"/>
              <a:gd name="connsiteX101" fmla="*/ 1722377 w 8040688"/>
              <a:gd name="connsiteY101" fmla="*/ 6515203 h 6858000"/>
              <a:gd name="connsiteX102" fmla="*/ 1706303 w 8040688"/>
              <a:gd name="connsiteY102" fmla="*/ 6515998 h 6858000"/>
              <a:gd name="connsiteX103" fmla="*/ 1694780 w 8040688"/>
              <a:gd name="connsiteY103" fmla="*/ 6507256 h 6858000"/>
              <a:gd name="connsiteX104" fmla="*/ 1694780 w 8040688"/>
              <a:gd name="connsiteY104" fmla="*/ 6452426 h 6858000"/>
              <a:gd name="connsiteX105" fmla="*/ 1721302 w 8040688"/>
              <a:gd name="connsiteY105" fmla="*/ 6452426 h 6858000"/>
              <a:gd name="connsiteX106" fmla="*/ 1721302 w 8040688"/>
              <a:gd name="connsiteY106" fmla="*/ 6423290 h 6858000"/>
              <a:gd name="connsiteX107" fmla="*/ 1694780 w 8040688"/>
              <a:gd name="connsiteY107" fmla="*/ 6423290 h 6858000"/>
              <a:gd name="connsiteX108" fmla="*/ 1694780 w 8040688"/>
              <a:gd name="connsiteY108" fmla="*/ 6377201 h 6858000"/>
              <a:gd name="connsiteX109" fmla="*/ 1884617 w 8040688"/>
              <a:gd name="connsiteY109" fmla="*/ 6359355 h 6858000"/>
              <a:gd name="connsiteX110" fmla="*/ 1884617 w 8040688"/>
              <a:gd name="connsiteY110" fmla="*/ 6392335 h 6858000"/>
              <a:gd name="connsiteX111" fmla="*/ 1893998 w 8040688"/>
              <a:gd name="connsiteY111" fmla="*/ 6392335 h 6858000"/>
              <a:gd name="connsiteX112" fmla="*/ 1893998 w 8040688"/>
              <a:gd name="connsiteY112" fmla="*/ 6373492 h 6858000"/>
              <a:gd name="connsiteX113" fmla="*/ 1898291 w 8040688"/>
              <a:gd name="connsiteY113" fmla="*/ 6385270 h 6858000"/>
              <a:gd name="connsiteX114" fmla="*/ 1905819 w 8040688"/>
              <a:gd name="connsiteY114" fmla="*/ 6385270 h 6858000"/>
              <a:gd name="connsiteX115" fmla="*/ 1910111 w 8040688"/>
              <a:gd name="connsiteY115" fmla="*/ 6373492 h 6858000"/>
              <a:gd name="connsiteX116" fmla="*/ 1910111 w 8040688"/>
              <a:gd name="connsiteY116" fmla="*/ 6392335 h 6858000"/>
              <a:gd name="connsiteX117" fmla="*/ 1919685 w 8040688"/>
              <a:gd name="connsiteY117" fmla="*/ 6392335 h 6858000"/>
              <a:gd name="connsiteX118" fmla="*/ 1919685 w 8040688"/>
              <a:gd name="connsiteY118" fmla="*/ 6359355 h 6858000"/>
              <a:gd name="connsiteX119" fmla="*/ 1907566 w 8040688"/>
              <a:gd name="connsiteY119" fmla="*/ 6359355 h 6858000"/>
              <a:gd name="connsiteX120" fmla="*/ 1902362 w 8040688"/>
              <a:gd name="connsiteY120" fmla="*/ 6373114 h 6858000"/>
              <a:gd name="connsiteX121" fmla="*/ 1897494 w 8040688"/>
              <a:gd name="connsiteY121" fmla="*/ 6359355 h 6858000"/>
              <a:gd name="connsiteX122" fmla="*/ 1850683 w 8040688"/>
              <a:gd name="connsiteY122" fmla="*/ 6359355 h 6858000"/>
              <a:gd name="connsiteX123" fmla="*/ 1850683 w 8040688"/>
              <a:gd name="connsiteY123" fmla="*/ 6367929 h 6858000"/>
              <a:gd name="connsiteX124" fmla="*/ 1860074 w 8040688"/>
              <a:gd name="connsiteY124" fmla="*/ 6367929 h 6858000"/>
              <a:gd name="connsiteX125" fmla="*/ 1860074 w 8040688"/>
              <a:gd name="connsiteY125" fmla="*/ 6392335 h 6858000"/>
              <a:gd name="connsiteX126" fmla="*/ 1869839 w 8040688"/>
              <a:gd name="connsiteY126" fmla="*/ 6392335 h 6858000"/>
              <a:gd name="connsiteX127" fmla="*/ 1869839 w 8040688"/>
              <a:gd name="connsiteY127" fmla="*/ 6367929 h 6858000"/>
              <a:gd name="connsiteX128" fmla="*/ 1879230 w 8040688"/>
              <a:gd name="connsiteY128" fmla="*/ 6367929 h 6858000"/>
              <a:gd name="connsiteX129" fmla="*/ 1879230 w 8040688"/>
              <a:gd name="connsiteY129" fmla="*/ 6359355 h 6858000"/>
              <a:gd name="connsiteX130" fmla="*/ 1352105 w 8040688"/>
              <a:gd name="connsiteY130" fmla="*/ 6359189 h 6858000"/>
              <a:gd name="connsiteX131" fmla="*/ 1329868 w 8040688"/>
              <a:gd name="connsiteY131" fmla="*/ 6381439 h 6858000"/>
              <a:gd name="connsiteX132" fmla="*/ 1352108 w 8040688"/>
              <a:gd name="connsiteY132" fmla="*/ 6403427 h 6858000"/>
              <a:gd name="connsiteX133" fmla="*/ 1374610 w 8040688"/>
              <a:gd name="connsiteY133" fmla="*/ 6381439 h 6858000"/>
              <a:gd name="connsiteX134" fmla="*/ 1374610 w 8040688"/>
              <a:gd name="connsiteY134" fmla="*/ 6381364 h 6858000"/>
              <a:gd name="connsiteX135" fmla="*/ 1352105 w 8040688"/>
              <a:gd name="connsiteY135" fmla="*/ 6359189 h 6858000"/>
              <a:gd name="connsiteX136" fmla="*/ 1041583 w 8040688"/>
              <a:gd name="connsiteY136" fmla="*/ 6359189 h 6858000"/>
              <a:gd name="connsiteX137" fmla="*/ 1041583 w 8040688"/>
              <a:gd name="connsiteY137" fmla="*/ 6544604 h 6858000"/>
              <a:gd name="connsiteX138" fmla="*/ 1076143 w 8040688"/>
              <a:gd name="connsiteY138" fmla="*/ 6544604 h 6858000"/>
              <a:gd name="connsiteX139" fmla="*/ 1076143 w 8040688"/>
              <a:gd name="connsiteY139" fmla="*/ 6359189 h 6858000"/>
              <a:gd name="connsiteX140" fmla="*/ 925239 w 8040688"/>
              <a:gd name="connsiteY140" fmla="*/ 6355990 h 6858000"/>
              <a:gd name="connsiteX141" fmla="*/ 832602 w 8040688"/>
              <a:gd name="connsiteY141" fmla="*/ 6451897 h 6858000"/>
              <a:gd name="connsiteX142" fmla="*/ 832623 w 8040688"/>
              <a:gd name="connsiteY142" fmla="*/ 6456990 h 6858000"/>
              <a:gd name="connsiteX143" fmla="*/ 930389 w 8040688"/>
              <a:gd name="connsiteY143" fmla="*/ 6547783 h 6858000"/>
              <a:gd name="connsiteX144" fmla="*/ 1022285 w 8040688"/>
              <a:gd name="connsiteY144" fmla="*/ 6478650 h 6858000"/>
              <a:gd name="connsiteX145" fmla="*/ 981294 w 8040688"/>
              <a:gd name="connsiteY145" fmla="*/ 6478650 h 6858000"/>
              <a:gd name="connsiteX146" fmla="*/ 930389 w 8040688"/>
              <a:gd name="connsiteY146" fmla="*/ 6513878 h 6858000"/>
              <a:gd name="connsiteX147" fmla="*/ 871450 w 8040688"/>
              <a:gd name="connsiteY147" fmla="*/ 6451897 h 6858000"/>
              <a:gd name="connsiteX148" fmla="*/ 930389 w 8040688"/>
              <a:gd name="connsiteY148" fmla="*/ 6389916 h 6858000"/>
              <a:gd name="connsiteX149" fmla="*/ 981294 w 8040688"/>
              <a:gd name="connsiteY149" fmla="*/ 6425144 h 6858000"/>
              <a:gd name="connsiteX150" fmla="*/ 1022285 w 8040688"/>
              <a:gd name="connsiteY150" fmla="*/ 6425144 h 6858000"/>
              <a:gd name="connsiteX151" fmla="*/ 930389 w 8040688"/>
              <a:gd name="connsiteY151" fmla="*/ 6356011 h 6858000"/>
              <a:gd name="connsiteX152" fmla="*/ 925239 w 8040688"/>
              <a:gd name="connsiteY152" fmla="*/ 6355990 h 6858000"/>
              <a:gd name="connsiteX153" fmla="*/ 651232 w 8040688"/>
              <a:gd name="connsiteY153" fmla="*/ 6336161 h 6858000"/>
              <a:gd name="connsiteX154" fmla="*/ 624479 w 8040688"/>
              <a:gd name="connsiteY154" fmla="*/ 6384726 h 6858000"/>
              <a:gd name="connsiteX155" fmla="*/ 742033 w 8040688"/>
              <a:gd name="connsiteY155" fmla="*/ 6451914 h 6858000"/>
              <a:gd name="connsiteX156" fmla="*/ 624512 w 8040688"/>
              <a:gd name="connsiteY156" fmla="*/ 6519097 h 6858000"/>
              <a:gd name="connsiteX157" fmla="*/ 651373 w 8040688"/>
              <a:gd name="connsiteY157" fmla="*/ 6567631 h 6858000"/>
              <a:gd name="connsiteX158" fmla="*/ 771228 w 8040688"/>
              <a:gd name="connsiteY158" fmla="*/ 6499136 h 6858000"/>
              <a:gd name="connsiteX159" fmla="*/ 742033 w 8040688"/>
              <a:gd name="connsiteY159" fmla="*/ 6451914 h 6858000"/>
              <a:gd name="connsiteX160" fmla="*/ 771227 w 8040688"/>
              <a:gd name="connsiteY160" fmla="*/ 6404692 h 6858000"/>
              <a:gd name="connsiteX161" fmla="*/ 651232 w 8040688"/>
              <a:gd name="connsiteY161" fmla="*/ 6336161 h 6858000"/>
              <a:gd name="connsiteX162" fmla="*/ 0 w 8040688"/>
              <a:gd name="connsiteY162" fmla="*/ 0 h 6858000"/>
              <a:gd name="connsiteX163" fmla="*/ 8040688 w 8040688"/>
              <a:gd name="connsiteY163" fmla="*/ 0 h 6858000"/>
              <a:gd name="connsiteX164" fmla="*/ 8040688 w 8040688"/>
              <a:gd name="connsiteY164" fmla="*/ 6858000 h 6858000"/>
              <a:gd name="connsiteX165" fmla="*/ 0 w 8040688"/>
              <a:gd name="connsiteY16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Lst>
            <a:rect l="l" t="t" r="r" b="b"/>
            <a:pathLst>
              <a:path w="8040688" h="6858000">
                <a:moveTo>
                  <a:pt x="1592699" y="6492423"/>
                </a:moveTo>
                <a:lnTo>
                  <a:pt x="1592699" y="6501164"/>
                </a:lnTo>
                <a:cubicBezTo>
                  <a:pt x="1592738" y="6502241"/>
                  <a:pt x="1592680" y="6503319"/>
                  <a:pt x="1592546" y="6504388"/>
                </a:cubicBezTo>
                <a:cubicBezTo>
                  <a:pt x="1591096" y="6515890"/>
                  <a:pt x="1580495" y="6524053"/>
                  <a:pt x="1568857" y="6522619"/>
                </a:cubicBezTo>
                <a:cubicBezTo>
                  <a:pt x="1558141" y="6522619"/>
                  <a:pt x="1551438" y="6516526"/>
                  <a:pt x="1551438" y="6508315"/>
                </a:cubicBezTo>
                <a:cubicBezTo>
                  <a:pt x="1551438" y="6499839"/>
                  <a:pt x="1557872" y="6495071"/>
                  <a:pt x="1568857" y="6495071"/>
                </a:cubicBezTo>
                <a:lnTo>
                  <a:pt x="1581983" y="6495071"/>
                </a:lnTo>
                <a:cubicBezTo>
                  <a:pt x="1585766" y="6495554"/>
                  <a:pt x="1589598" y="6494609"/>
                  <a:pt x="1592699" y="6492423"/>
                </a:cubicBezTo>
                <a:close/>
                <a:moveTo>
                  <a:pt x="1172060" y="6492423"/>
                </a:moveTo>
                <a:lnTo>
                  <a:pt x="1172060" y="6501164"/>
                </a:lnTo>
                <a:cubicBezTo>
                  <a:pt x="1172093" y="6502242"/>
                  <a:pt x="1172042" y="6503320"/>
                  <a:pt x="1171906" y="6504389"/>
                </a:cubicBezTo>
                <a:cubicBezTo>
                  <a:pt x="1170456" y="6515891"/>
                  <a:pt x="1159850" y="6524053"/>
                  <a:pt x="1148216" y="6522619"/>
                </a:cubicBezTo>
                <a:cubicBezTo>
                  <a:pt x="1137499" y="6522619"/>
                  <a:pt x="1130802" y="6516526"/>
                  <a:pt x="1130802" y="6508315"/>
                </a:cubicBezTo>
                <a:cubicBezTo>
                  <a:pt x="1130802" y="6499839"/>
                  <a:pt x="1137232" y="6495071"/>
                  <a:pt x="1148216" y="6495071"/>
                </a:cubicBezTo>
                <a:lnTo>
                  <a:pt x="1161343" y="6495071"/>
                </a:lnTo>
                <a:cubicBezTo>
                  <a:pt x="1165125" y="6495554"/>
                  <a:pt x="1168953" y="6494609"/>
                  <a:pt x="1172060" y="6492423"/>
                </a:cubicBezTo>
                <a:close/>
                <a:moveTo>
                  <a:pt x="1796056" y="6448718"/>
                </a:moveTo>
                <a:cubicBezTo>
                  <a:pt x="1809461" y="6448340"/>
                  <a:pt x="1821051" y="6457873"/>
                  <a:pt x="1823115" y="6470969"/>
                </a:cubicBezTo>
                <a:lnTo>
                  <a:pt x="1768190" y="6470969"/>
                </a:lnTo>
                <a:cubicBezTo>
                  <a:pt x="1770601" y="6457738"/>
                  <a:pt x="1782469" y="6448261"/>
                  <a:pt x="1796056" y="6448718"/>
                </a:cubicBezTo>
                <a:close/>
                <a:moveTo>
                  <a:pt x="1385331" y="6423290"/>
                </a:moveTo>
                <a:lnTo>
                  <a:pt x="1427128" y="6544605"/>
                </a:lnTo>
                <a:lnTo>
                  <a:pt x="1470261" y="6544605"/>
                </a:lnTo>
                <a:lnTo>
                  <a:pt x="1513932" y="6423290"/>
                </a:lnTo>
                <a:lnTo>
                  <a:pt x="1477223" y="6423290"/>
                </a:lnTo>
                <a:lnTo>
                  <a:pt x="1449367" y="6507521"/>
                </a:lnTo>
                <a:lnTo>
                  <a:pt x="1423104" y="6423290"/>
                </a:lnTo>
                <a:close/>
                <a:moveTo>
                  <a:pt x="1319153" y="6423290"/>
                </a:moveTo>
                <a:lnTo>
                  <a:pt x="1319153" y="6452426"/>
                </a:lnTo>
                <a:lnTo>
                  <a:pt x="1336299" y="6452426"/>
                </a:lnTo>
                <a:lnTo>
                  <a:pt x="1336299" y="6544604"/>
                </a:lnTo>
                <a:lnTo>
                  <a:pt x="1371127" y="6544604"/>
                </a:lnTo>
                <a:lnTo>
                  <a:pt x="1371127" y="6423290"/>
                </a:lnTo>
                <a:close/>
                <a:moveTo>
                  <a:pt x="1293161" y="6421700"/>
                </a:moveTo>
                <a:cubicBezTo>
                  <a:pt x="1279051" y="6421037"/>
                  <a:pt x="1266138" y="6429512"/>
                  <a:pt x="1261280" y="6442626"/>
                </a:cubicBezTo>
                <a:lnTo>
                  <a:pt x="1261280" y="6423290"/>
                </a:lnTo>
                <a:lnTo>
                  <a:pt x="1227522" y="6423290"/>
                </a:lnTo>
                <a:lnTo>
                  <a:pt x="1227522" y="6544604"/>
                </a:lnTo>
                <a:lnTo>
                  <a:pt x="1262352" y="6544604"/>
                </a:lnTo>
                <a:lnTo>
                  <a:pt x="1262352" y="6486596"/>
                </a:lnTo>
                <a:cubicBezTo>
                  <a:pt x="1262352" y="6465405"/>
                  <a:pt x="1270389" y="6457194"/>
                  <a:pt x="1288073" y="6457194"/>
                </a:cubicBezTo>
                <a:lnTo>
                  <a:pt x="1302808" y="6457194"/>
                </a:lnTo>
                <a:lnTo>
                  <a:pt x="1302808" y="6422760"/>
                </a:lnTo>
                <a:cubicBezTo>
                  <a:pt x="1299648" y="6422016"/>
                  <a:pt x="1296409" y="6421660"/>
                  <a:pt x="1293161" y="6421700"/>
                </a:cubicBezTo>
                <a:close/>
                <a:moveTo>
                  <a:pt x="1796056" y="6420112"/>
                </a:moveTo>
                <a:cubicBezTo>
                  <a:pt x="1794693" y="6420076"/>
                  <a:pt x="1793320" y="6420084"/>
                  <a:pt x="1791956" y="6420138"/>
                </a:cubicBezTo>
                <a:cubicBezTo>
                  <a:pt x="1757657" y="6421470"/>
                  <a:pt x="1730943" y="6450039"/>
                  <a:pt x="1732297" y="6483948"/>
                </a:cubicBezTo>
                <a:cubicBezTo>
                  <a:pt x="1732749" y="6509035"/>
                  <a:pt x="1747766" y="6531624"/>
                  <a:pt x="1770879" y="6541990"/>
                </a:cubicBezTo>
                <a:cubicBezTo>
                  <a:pt x="1803959" y="6556828"/>
                  <a:pt x="1842934" y="6542344"/>
                  <a:pt x="1857943" y="6509641"/>
                </a:cubicBezTo>
                <a:lnTo>
                  <a:pt x="1821781" y="6505933"/>
                </a:lnTo>
                <a:cubicBezTo>
                  <a:pt x="1817229" y="6512448"/>
                  <a:pt x="1810181" y="6516829"/>
                  <a:pt x="1802269" y="6518046"/>
                </a:cubicBezTo>
                <a:cubicBezTo>
                  <a:pt x="1786368" y="6520493"/>
                  <a:pt x="1771474" y="6509733"/>
                  <a:pt x="1768997" y="6494013"/>
                </a:cubicBezTo>
                <a:lnTo>
                  <a:pt x="1860353" y="6494013"/>
                </a:lnTo>
                <a:lnTo>
                  <a:pt x="1860353" y="6492689"/>
                </a:lnTo>
                <a:cubicBezTo>
                  <a:pt x="1860353" y="6441832"/>
                  <a:pt x="1829808" y="6420112"/>
                  <a:pt x="1796056" y="6420112"/>
                </a:cubicBezTo>
                <a:close/>
                <a:moveTo>
                  <a:pt x="1574215" y="6420111"/>
                </a:moveTo>
                <a:cubicBezTo>
                  <a:pt x="1555692" y="6420390"/>
                  <a:pt x="1537573" y="6425507"/>
                  <a:pt x="1521700" y="6434944"/>
                </a:cubicBezTo>
                <a:lnTo>
                  <a:pt x="1535364" y="6460902"/>
                </a:lnTo>
                <a:cubicBezTo>
                  <a:pt x="1546618" y="6454290"/>
                  <a:pt x="1559283" y="6450388"/>
                  <a:pt x="1572342" y="6449512"/>
                </a:cubicBezTo>
                <a:cubicBezTo>
                  <a:pt x="1585738" y="6449512"/>
                  <a:pt x="1592699" y="6455075"/>
                  <a:pt x="1592699" y="6463816"/>
                </a:cubicBezTo>
                <a:lnTo>
                  <a:pt x="1592699" y="6465140"/>
                </a:lnTo>
                <a:cubicBezTo>
                  <a:pt x="1592699" y="6469643"/>
                  <a:pt x="1590020" y="6472292"/>
                  <a:pt x="1584124" y="6472292"/>
                </a:cubicBezTo>
                <a:lnTo>
                  <a:pt x="1560013" y="6472292"/>
                </a:lnTo>
                <a:cubicBezTo>
                  <a:pt x="1532685" y="6472292"/>
                  <a:pt x="1515545" y="6486595"/>
                  <a:pt x="1515545" y="6509640"/>
                </a:cubicBezTo>
                <a:cubicBezTo>
                  <a:pt x="1515555" y="6510010"/>
                  <a:pt x="1515574" y="6510380"/>
                  <a:pt x="1515603" y="6510750"/>
                </a:cubicBezTo>
                <a:cubicBezTo>
                  <a:pt x="1517081" y="6532663"/>
                  <a:pt x="1536247" y="6549244"/>
                  <a:pt x="1558409" y="6547782"/>
                </a:cubicBezTo>
                <a:cubicBezTo>
                  <a:pt x="1571536" y="6548591"/>
                  <a:pt x="1584259" y="6543183"/>
                  <a:pt x="1592699" y="6533214"/>
                </a:cubicBezTo>
                <a:lnTo>
                  <a:pt x="1592699" y="6544604"/>
                </a:lnTo>
                <a:lnTo>
                  <a:pt x="1627527" y="6544604"/>
                </a:lnTo>
                <a:lnTo>
                  <a:pt x="1627527" y="6464875"/>
                </a:lnTo>
                <a:cubicBezTo>
                  <a:pt x="1627527" y="6432825"/>
                  <a:pt x="1602081" y="6420111"/>
                  <a:pt x="1574215" y="6420111"/>
                </a:cubicBezTo>
                <a:close/>
                <a:moveTo>
                  <a:pt x="1153574" y="6420111"/>
                </a:moveTo>
                <a:cubicBezTo>
                  <a:pt x="1135053" y="6420390"/>
                  <a:pt x="1116936" y="6425508"/>
                  <a:pt x="1101062" y="6434944"/>
                </a:cubicBezTo>
                <a:lnTo>
                  <a:pt x="1114726" y="6460902"/>
                </a:lnTo>
                <a:cubicBezTo>
                  <a:pt x="1125976" y="6454290"/>
                  <a:pt x="1138641" y="6450388"/>
                  <a:pt x="1151699" y="6449512"/>
                </a:cubicBezTo>
                <a:cubicBezTo>
                  <a:pt x="1165095" y="6449512"/>
                  <a:pt x="1172060" y="6455075"/>
                  <a:pt x="1172060" y="6463816"/>
                </a:cubicBezTo>
                <a:lnTo>
                  <a:pt x="1172060" y="6465140"/>
                </a:lnTo>
                <a:cubicBezTo>
                  <a:pt x="1172060" y="6469643"/>
                  <a:pt x="1169381" y="6472292"/>
                  <a:pt x="1163487" y="6472292"/>
                </a:cubicBezTo>
                <a:lnTo>
                  <a:pt x="1139375" y="6472292"/>
                </a:lnTo>
                <a:cubicBezTo>
                  <a:pt x="1112046" y="6472292"/>
                  <a:pt x="1094901" y="6486595"/>
                  <a:pt x="1094901" y="6509640"/>
                </a:cubicBezTo>
                <a:cubicBezTo>
                  <a:pt x="1094915" y="6510010"/>
                  <a:pt x="1094936" y="6510379"/>
                  <a:pt x="1094960" y="6510749"/>
                </a:cubicBezTo>
                <a:cubicBezTo>
                  <a:pt x="1096437" y="6532662"/>
                  <a:pt x="1115603" y="6549243"/>
                  <a:pt x="1137766" y="6547782"/>
                </a:cubicBezTo>
                <a:cubicBezTo>
                  <a:pt x="1150890" y="6548592"/>
                  <a:pt x="1163622" y="6543184"/>
                  <a:pt x="1172060" y="6533214"/>
                </a:cubicBezTo>
                <a:lnTo>
                  <a:pt x="1172060" y="6544604"/>
                </a:lnTo>
                <a:lnTo>
                  <a:pt x="1206890" y="6544604"/>
                </a:lnTo>
                <a:lnTo>
                  <a:pt x="1206890" y="6464875"/>
                </a:lnTo>
                <a:cubicBezTo>
                  <a:pt x="1206890" y="6432825"/>
                  <a:pt x="1181438" y="6420111"/>
                  <a:pt x="1153574" y="6420111"/>
                </a:cubicBezTo>
                <a:close/>
                <a:moveTo>
                  <a:pt x="568575" y="6383429"/>
                </a:moveTo>
                <a:cubicBezTo>
                  <a:pt x="555414" y="6428156"/>
                  <a:pt x="555406" y="6475664"/>
                  <a:pt x="568549" y="6520396"/>
                </a:cubicBezTo>
                <a:cubicBezTo>
                  <a:pt x="587170" y="6522621"/>
                  <a:pt x="606017" y="6522184"/>
                  <a:pt x="624511" y="6519097"/>
                </a:cubicBezTo>
                <a:cubicBezTo>
                  <a:pt x="610287" y="6481610"/>
                  <a:pt x="608324" y="6440654"/>
                  <a:pt x="618898" y="6402004"/>
                </a:cubicBezTo>
                <a:cubicBezTo>
                  <a:pt x="620492" y="6396123"/>
                  <a:pt x="622369" y="6390366"/>
                  <a:pt x="624479" y="6384725"/>
                </a:cubicBezTo>
                <a:cubicBezTo>
                  <a:pt x="606004" y="6381645"/>
                  <a:pt x="587176" y="6381208"/>
                  <a:pt x="568575" y="6383429"/>
                </a:cubicBezTo>
                <a:close/>
                <a:moveTo>
                  <a:pt x="1659953" y="6377201"/>
                </a:moveTo>
                <a:lnTo>
                  <a:pt x="1659953" y="6423290"/>
                </a:lnTo>
                <a:lnTo>
                  <a:pt x="1640662" y="6423290"/>
                </a:lnTo>
                <a:lnTo>
                  <a:pt x="1640662" y="6452426"/>
                </a:lnTo>
                <a:lnTo>
                  <a:pt x="1659953" y="6452426"/>
                </a:lnTo>
                <a:lnTo>
                  <a:pt x="1659953" y="6518911"/>
                </a:lnTo>
                <a:cubicBezTo>
                  <a:pt x="1659953" y="6543280"/>
                  <a:pt x="1677900" y="6546194"/>
                  <a:pt x="1695318" y="6546194"/>
                </a:cubicBezTo>
                <a:cubicBezTo>
                  <a:pt x="1705497" y="6546194"/>
                  <a:pt x="1722377" y="6544604"/>
                  <a:pt x="1722377" y="6544604"/>
                </a:cubicBezTo>
                <a:lnTo>
                  <a:pt x="1722377" y="6515203"/>
                </a:lnTo>
                <a:cubicBezTo>
                  <a:pt x="1722377" y="6515203"/>
                  <a:pt x="1715137" y="6515998"/>
                  <a:pt x="1706303" y="6515998"/>
                </a:cubicBezTo>
                <a:cubicBezTo>
                  <a:pt x="1700945" y="6515998"/>
                  <a:pt x="1694780" y="6514938"/>
                  <a:pt x="1694780" y="6507256"/>
                </a:cubicBezTo>
                <a:lnTo>
                  <a:pt x="1694780" y="6452426"/>
                </a:lnTo>
                <a:lnTo>
                  <a:pt x="1721302" y="6452426"/>
                </a:lnTo>
                <a:lnTo>
                  <a:pt x="1721302" y="6423290"/>
                </a:lnTo>
                <a:lnTo>
                  <a:pt x="1694780" y="6423290"/>
                </a:lnTo>
                <a:lnTo>
                  <a:pt x="1694780" y="6377201"/>
                </a:lnTo>
                <a:close/>
                <a:moveTo>
                  <a:pt x="1884617" y="6359355"/>
                </a:moveTo>
                <a:lnTo>
                  <a:pt x="1884617" y="6392335"/>
                </a:lnTo>
                <a:lnTo>
                  <a:pt x="1893998" y="6392335"/>
                </a:lnTo>
                <a:lnTo>
                  <a:pt x="1893998" y="6373492"/>
                </a:lnTo>
                <a:lnTo>
                  <a:pt x="1898291" y="6385270"/>
                </a:lnTo>
                <a:lnTo>
                  <a:pt x="1905819" y="6385270"/>
                </a:lnTo>
                <a:lnTo>
                  <a:pt x="1910111" y="6373492"/>
                </a:lnTo>
                <a:lnTo>
                  <a:pt x="1910111" y="6392335"/>
                </a:lnTo>
                <a:lnTo>
                  <a:pt x="1919685" y="6392335"/>
                </a:lnTo>
                <a:lnTo>
                  <a:pt x="1919685" y="6359355"/>
                </a:lnTo>
                <a:lnTo>
                  <a:pt x="1907566" y="6359355"/>
                </a:lnTo>
                <a:lnTo>
                  <a:pt x="1902362" y="6373114"/>
                </a:lnTo>
                <a:lnTo>
                  <a:pt x="1897494" y="6359355"/>
                </a:lnTo>
                <a:close/>
                <a:moveTo>
                  <a:pt x="1850683" y="6359355"/>
                </a:moveTo>
                <a:lnTo>
                  <a:pt x="1850683" y="6367929"/>
                </a:lnTo>
                <a:lnTo>
                  <a:pt x="1860074" y="6367929"/>
                </a:lnTo>
                <a:lnTo>
                  <a:pt x="1860074" y="6392335"/>
                </a:lnTo>
                <a:lnTo>
                  <a:pt x="1869839" y="6392335"/>
                </a:lnTo>
                <a:lnTo>
                  <a:pt x="1869839" y="6367929"/>
                </a:lnTo>
                <a:lnTo>
                  <a:pt x="1879230" y="6367929"/>
                </a:lnTo>
                <a:lnTo>
                  <a:pt x="1879230" y="6359355"/>
                </a:lnTo>
                <a:close/>
                <a:moveTo>
                  <a:pt x="1352105" y="6359189"/>
                </a:moveTo>
                <a:cubicBezTo>
                  <a:pt x="1339759" y="6359284"/>
                  <a:pt x="1329816" y="6369233"/>
                  <a:pt x="1329868" y="6381439"/>
                </a:cubicBezTo>
                <a:cubicBezTo>
                  <a:pt x="1329940" y="6393552"/>
                  <a:pt x="1339855" y="6403355"/>
                  <a:pt x="1352108" y="6403427"/>
                </a:cubicBezTo>
                <a:cubicBezTo>
                  <a:pt x="1364463" y="6403498"/>
                  <a:pt x="1374538" y="6393654"/>
                  <a:pt x="1374610" y="6381439"/>
                </a:cubicBezTo>
                <a:cubicBezTo>
                  <a:pt x="1374610" y="6381414"/>
                  <a:pt x="1374610" y="6381388"/>
                  <a:pt x="1374610" y="6381364"/>
                </a:cubicBezTo>
                <a:cubicBezTo>
                  <a:pt x="1374589" y="6369096"/>
                  <a:pt x="1364513" y="6359168"/>
                  <a:pt x="1352105" y="6359189"/>
                </a:cubicBezTo>
                <a:close/>
                <a:moveTo>
                  <a:pt x="1041583" y="6359189"/>
                </a:moveTo>
                <a:lnTo>
                  <a:pt x="1041583" y="6544604"/>
                </a:lnTo>
                <a:lnTo>
                  <a:pt x="1076143" y="6544604"/>
                </a:lnTo>
                <a:lnTo>
                  <a:pt x="1076143" y="6359189"/>
                </a:lnTo>
                <a:close/>
                <a:moveTo>
                  <a:pt x="925239" y="6355990"/>
                </a:moveTo>
                <a:cubicBezTo>
                  <a:pt x="872870" y="6357183"/>
                  <a:pt x="831395" y="6400122"/>
                  <a:pt x="832602" y="6451897"/>
                </a:cubicBezTo>
                <a:cubicBezTo>
                  <a:pt x="832562" y="6453595"/>
                  <a:pt x="832569" y="6455292"/>
                  <a:pt x="832623" y="6456990"/>
                </a:cubicBezTo>
                <a:cubicBezTo>
                  <a:pt x="834261" y="6508753"/>
                  <a:pt x="878033" y="6549402"/>
                  <a:pt x="930389" y="6547783"/>
                </a:cubicBezTo>
                <a:cubicBezTo>
                  <a:pt x="973630" y="6548900"/>
                  <a:pt x="1011845" y="6520151"/>
                  <a:pt x="1022285" y="6478650"/>
                </a:cubicBezTo>
                <a:lnTo>
                  <a:pt x="981294" y="6478650"/>
                </a:lnTo>
                <a:cubicBezTo>
                  <a:pt x="974516" y="6500553"/>
                  <a:pt x="953525" y="6515080"/>
                  <a:pt x="930389" y="6513878"/>
                </a:cubicBezTo>
                <a:cubicBezTo>
                  <a:pt x="895026" y="6513878"/>
                  <a:pt x="871450" y="6487391"/>
                  <a:pt x="871450" y="6451897"/>
                </a:cubicBezTo>
                <a:cubicBezTo>
                  <a:pt x="871450" y="6416403"/>
                  <a:pt x="895026" y="6389916"/>
                  <a:pt x="930389" y="6389916"/>
                </a:cubicBezTo>
                <a:cubicBezTo>
                  <a:pt x="953525" y="6388714"/>
                  <a:pt x="974516" y="6403241"/>
                  <a:pt x="981294" y="6425144"/>
                </a:cubicBezTo>
                <a:lnTo>
                  <a:pt x="1022285" y="6425144"/>
                </a:lnTo>
                <a:cubicBezTo>
                  <a:pt x="1011846" y="6383642"/>
                  <a:pt x="973630" y="6354892"/>
                  <a:pt x="930389" y="6356011"/>
                </a:cubicBezTo>
                <a:cubicBezTo>
                  <a:pt x="928673" y="6355958"/>
                  <a:pt x="926955" y="6355951"/>
                  <a:pt x="925239" y="6355990"/>
                </a:cubicBezTo>
                <a:close/>
                <a:moveTo>
                  <a:pt x="651232" y="6336161"/>
                </a:moveTo>
                <a:cubicBezTo>
                  <a:pt x="639985" y="6350984"/>
                  <a:pt x="630973" y="6367343"/>
                  <a:pt x="624479" y="6384726"/>
                </a:cubicBezTo>
                <a:cubicBezTo>
                  <a:pt x="670541" y="6392471"/>
                  <a:pt x="712258" y="6416315"/>
                  <a:pt x="742033" y="6451914"/>
                </a:cubicBezTo>
                <a:cubicBezTo>
                  <a:pt x="712265" y="6487505"/>
                  <a:pt x="670562" y="6511346"/>
                  <a:pt x="624512" y="6519097"/>
                </a:cubicBezTo>
                <a:cubicBezTo>
                  <a:pt x="631041" y="6536476"/>
                  <a:pt x="640089" y="6552825"/>
                  <a:pt x="651373" y="6567631"/>
                </a:cubicBezTo>
                <a:cubicBezTo>
                  <a:pt x="697088" y="6556502"/>
                  <a:pt x="738657" y="6532746"/>
                  <a:pt x="771228" y="6499136"/>
                </a:cubicBezTo>
                <a:cubicBezTo>
                  <a:pt x="763842" y="6482091"/>
                  <a:pt x="754009" y="6466186"/>
                  <a:pt x="742033" y="6451914"/>
                </a:cubicBezTo>
                <a:cubicBezTo>
                  <a:pt x="754009" y="6437642"/>
                  <a:pt x="763841" y="6421738"/>
                  <a:pt x="771227" y="6404692"/>
                </a:cubicBezTo>
                <a:cubicBezTo>
                  <a:pt x="738623" y="6371047"/>
                  <a:pt x="697001" y="6347276"/>
                  <a:pt x="651232" y="6336161"/>
                </a:cubicBezTo>
                <a:close/>
                <a:moveTo>
                  <a:pt x="0" y="0"/>
                </a:moveTo>
                <a:lnTo>
                  <a:pt x="8040688" y="0"/>
                </a:lnTo>
                <a:lnTo>
                  <a:pt x="8040688" y="6858000"/>
                </a:lnTo>
                <a:lnTo>
                  <a:pt x="0" y="6858000"/>
                </a:lnTo>
                <a:close/>
              </a:path>
            </a:pathLst>
          </a:custGeom>
          <a:solidFill>
            <a:schemeClr val="bg1">
              <a:lumMod val="95000"/>
            </a:schemeClr>
          </a:solidFill>
          <a:ln>
            <a:noFill/>
          </a:ln>
        </p:spPr>
        <p:txBody>
          <a:bodyPr wrap="square" tIns="180000" anchor="t" anchorCtr="0">
            <a:noAutofit/>
          </a:bodyPr>
          <a:lstStyle>
            <a:lvl1pPr marL="0" indent="0" algn="ctr">
              <a:buNone/>
              <a:defRPr sz="1000">
                <a:solidFill>
                  <a:schemeClr val="accent2"/>
                </a:solidFill>
                <a:latin typeface="+mn-lt"/>
              </a:defRPr>
            </a:lvl1pPr>
          </a:lstStyle>
          <a:p>
            <a:pPr lvl="0"/>
            <a:r>
              <a:rPr lang="en-US"/>
              <a:t>Drag picture file here or click </a:t>
            </a:r>
            <a:r>
              <a:rPr lang="en-GB" noProof="0" err="1"/>
              <a:t>center</a:t>
            </a:r>
            <a:r>
              <a:rPr lang="en-US"/>
              <a:t> icon to insert light image</a:t>
            </a:r>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2168525"/>
            <a:ext cx="3024000" cy="1620837"/>
          </a:xfrm>
        </p:spPr>
        <p:txBody>
          <a:bodyPr anchor="b" anchorCtr="0"/>
          <a:lstStyle>
            <a:lvl1pPr marL="0" indent="0" algn="ctr">
              <a:buNone/>
              <a:defRPr sz="12000" spc="-300" baseline="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3608388"/>
            <a:ext cx="3024000"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6743850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0:50 Text / Big Stat">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192AC438-4963-3E86-AF1D-907809837B4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096000" y="2861"/>
            <a:ext cx="6096000" cy="6852277"/>
          </a:xfrm>
          <a:prstGeom prst="rect">
            <a:avLst/>
          </a:prstGeom>
        </p:spPr>
      </p:pic>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6959600" y="2168525"/>
            <a:ext cx="4679821" cy="1620837"/>
          </a:xfrm>
        </p:spPr>
        <p:txBody>
          <a:bodyPr anchor="b" anchorCtr="0"/>
          <a:lstStyle>
            <a:lvl1pPr marL="0" indent="0" algn="ctr">
              <a:buNone/>
              <a:defRPr lang="en-US" sz="12000" kern="1200" spc="-300" baseline="0" dirty="0">
                <a:solidFill>
                  <a:schemeClr val="accent1"/>
                </a:solidFill>
                <a:latin typeface="+mn-lt"/>
                <a:ea typeface="+mn-ea"/>
                <a:cs typeface="+mn-cs"/>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marL="0" lvl="0" indent="0" algn="ctr" defTabSz="914400" rtl="0" eaLnBrk="1" latinLnBrk="0" hangingPunct="1">
              <a:lnSpc>
                <a:spcPct val="100000"/>
              </a:lnSpc>
              <a:spcBef>
                <a:spcPts val="900"/>
              </a:spcBef>
              <a:buFont typeface="Arial" panose="020B0604020202020204" pitchFamily="34" charset="0"/>
              <a:buNone/>
            </a:pPr>
            <a:r>
              <a:rPr lang="en-US"/>
              <a:t>88%</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6959600" y="3608388"/>
            <a:ext cx="4679821"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7" name="Title 1">
            <a:extLst>
              <a:ext uri="{FF2B5EF4-FFF2-40B4-BE49-F238E27FC236}">
                <a16:creationId xmlns:a16="http://schemas.microsoft.com/office/drawing/2014/main" id="{7DE71408-1F6A-1900-3166-8B0F27B91CF7}"/>
              </a:ext>
            </a:extLst>
          </p:cNvPr>
          <p:cNvSpPr>
            <a:spLocks noGrp="1"/>
          </p:cNvSpPr>
          <p:nvPr>
            <p:ph type="title" hasCustomPrompt="1"/>
          </p:nvPr>
        </p:nvSpPr>
        <p:spPr>
          <a:xfrm>
            <a:off x="550865" y="368828"/>
            <a:ext cx="5075998" cy="251885"/>
          </a:xfrm>
        </p:spPr>
        <p:txBody>
          <a:bodyPr/>
          <a:lstStyle>
            <a:lvl1pPr>
              <a:defRPr/>
            </a:lvl1pPr>
          </a:lstStyle>
          <a:p>
            <a:r>
              <a:rPr lang="en-US"/>
              <a:t>Header avenir demi 24pt</a:t>
            </a:r>
            <a:endParaRPr lang="en-GB"/>
          </a:p>
        </p:txBody>
      </p:sp>
      <p:sp>
        <p:nvSpPr>
          <p:cNvPr id="10" name="Text Placeholder 9">
            <a:extLst>
              <a:ext uri="{FF2B5EF4-FFF2-40B4-BE49-F238E27FC236}">
                <a16:creationId xmlns:a16="http://schemas.microsoft.com/office/drawing/2014/main" id="{E040A9B4-F93C-AB35-66CE-1690CFBC2581}"/>
              </a:ext>
            </a:extLst>
          </p:cNvPr>
          <p:cNvSpPr>
            <a:spLocks noGrp="1"/>
          </p:cNvSpPr>
          <p:nvPr>
            <p:ph type="body" sz="quarter" idx="13" hasCustomPrompt="1"/>
          </p:nvPr>
        </p:nvSpPr>
        <p:spPr>
          <a:xfrm>
            <a:off x="550865" y="753852"/>
            <a:ext cx="5075998"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03BC752C-CC9E-C49E-83BC-B6B704830335}"/>
              </a:ext>
            </a:extLst>
          </p:cNvPr>
          <p:cNvSpPr>
            <a:spLocks noGrp="1"/>
          </p:cNvSpPr>
          <p:nvPr>
            <p:ph type="body" sz="quarter" idx="14"/>
          </p:nvPr>
        </p:nvSpPr>
        <p:spPr>
          <a:xfrm>
            <a:off x="550862" y="1808163"/>
            <a:ext cx="5076000" cy="4321175"/>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9829423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 Big Stat">
    <p:spTree>
      <p:nvGrpSpPr>
        <p:cNvPr id="1" name=""/>
        <p:cNvGrpSpPr/>
        <p:nvPr/>
      </p:nvGrpSpPr>
      <p:grpSpPr>
        <a:xfrm>
          <a:off x="0" y="0"/>
          <a:ext cx="0" cy="0"/>
          <a:chOff x="0" y="0"/>
          <a:chExt cx="0" cy="0"/>
        </a:xfrm>
      </p:grpSpPr>
      <p:pic>
        <p:nvPicPr>
          <p:cNvPr id="5" name="Picture 4" descr="A picture containing dark, lit, white, light&#10;&#10;Description automatically generated">
            <a:extLst>
              <a:ext uri="{FF2B5EF4-FFF2-40B4-BE49-F238E27FC236}">
                <a16:creationId xmlns:a16="http://schemas.microsoft.com/office/drawing/2014/main" id="{F3AC6818-4D80-7C27-6F3D-8D1DFA9EF1C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040689" y="1"/>
            <a:ext cx="4151312" cy="6858000"/>
          </a:xfrm>
          <a:prstGeom prst="rect">
            <a:avLst/>
          </a:prstGeom>
        </p:spPr>
      </p:pic>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2168525"/>
            <a:ext cx="3024000" cy="1620837"/>
          </a:xfrm>
        </p:spPr>
        <p:txBody>
          <a:bodyPr anchor="b" anchorCtr="0"/>
          <a:lstStyle>
            <a:lvl1pPr marL="0" indent="0" algn="ctr">
              <a:buNone/>
              <a:defRPr sz="12000" spc="-300" baseline="0">
                <a:solidFill>
                  <a:schemeClr val="accent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3608388"/>
            <a:ext cx="3024000"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11" name="Title 1">
            <a:extLst>
              <a:ext uri="{FF2B5EF4-FFF2-40B4-BE49-F238E27FC236}">
                <a16:creationId xmlns:a16="http://schemas.microsoft.com/office/drawing/2014/main" id="{5F4A0393-5E31-B1D7-44B4-0AE64D41191E}"/>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12" name="Text Placeholder 9">
            <a:extLst>
              <a:ext uri="{FF2B5EF4-FFF2-40B4-BE49-F238E27FC236}">
                <a16:creationId xmlns:a16="http://schemas.microsoft.com/office/drawing/2014/main" id="{3EF12EEA-B717-A2D4-DD8A-8AD5480E07F4}"/>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2" name="Text Placeholder 12">
            <a:extLst>
              <a:ext uri="{FF2B5EF4-FFF2-40B4-BE49-F238E27FC236}">
                <a16:creationId xmlns:a16="http://schemas.microsoft.com/office/drawing/2014/main" id="{2C9B01AB-F676-3FF4-AEAE-E94065157406}"/>
              </a:ext>
            </a:extLst>
          </p:cNvPr>
          <p:cNvSpPr>
            <a:spLocks noGrp="1"/>
          </p:cNvSpPr>
          <p:nvPr>
            <p:ph type="body" sz="quarter" idx="14"/>
          </p:nvPr>
        </p:nvSpPr>
        <p:spPr>
          <a:xfrm>
            <a:off x="550861" y="1808163"/>
            <a:ext cx="6966375" cy="4321175"/>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9390640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x Columns / Big Stat">
    <p:spTree>
      <p:nvGrpSpPr>
        <p:cNvPr id="1" name=""/>
        <p:cNvGrpSpPr/>
        <p:nvPr/>
      </p:nvGrpSpPr>
      <p:grpSpPr>
        <a:xfrm>
          <a:off x="0" y="0"/>
          <a:ext cx="0" cy="0"/>
          <a:chOff x="0" y="0"/>
          <a:chExt cx="0" cy="0"/>
        </a:xfrm>
      </p:grpSpPr>
      <p:pic>
        <p:nvPicPr>
          <p:cNvPr id="5" name="Picture 4" descr="A picture containing dark, lit, white, light&#10;&#10;Description automatically generated">
            <a:extLst>
              <a:ext uri="{FF2B5EF4-FFF2-40B4-BE49-F238E27FC236}">
                <a16:creationId xmlns:a16="http://schemas.microsoft.com/office/drawing/2014/main" id="{F3AC6818-4D80-7C27-6F3D-8D1DFA9EF1C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040689" y="1"/>
            <a:ext cx="4151312" cy="6858000"/>
          </a:xfrm>
          <a:prstGeom prst="rect">
            <a:avLst/>
          </a:prstGeom>
        </p:spPr>
      </p:pic>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2168525"/>
            <a:ext cx="3024000" cy="1620837"/>
          </a:xfrm>
        </p:spPr>
        <p:txBody>
          <a:bodyPr anchor="b" anchorCtr="0"/>
          <a:lstStyle>
            <a:lvl1pPr marL="0" indent="0" algn="ctr">
              <a:buNone/>
              <a:defRPr sz="12000" spc="-300" baseline="0">
                <a:solidFill>
                  <a:schemeClr val="accent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3608388"/>
            <a:ext cx="3024000"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11" name="Title 1">
            <a:extLst>
              <a:ext uri="{FF2B5EF4-FFF2-40B4-BE49-F238E27FC236}">
                <a16:creationId xmlns:a16="http://schemas.microsoft.com/office/drawing/2014/main" id="{5F4A0393-5E31-B1D7-44B4-0AE64D41191E}"/>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12" name="Text Placeholder 9">
            <a:extLst>
              <a:ext uri="{FF2B5EF4-FFF2-40B4-BE49-F238E27FC236}">
                <a16:creationId xmlns:a16="http://schemas.microsoft.com/office/drawing/2014/main" id="{3EF12EEA-B717-A2D4-DD8A-8AD5480E07F4}"/>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E85E9EA0-2A22-199D-48CF-03EB94ECF487}"/>
              </a:ext>
            </a:extLst>
          </p:cNvPr>
          <p:cNvSpPr>
            <a:spLocks noGrp="1"/>
          </p:cNvSpPr>
          <p:nvPr>
            <p:ph type="body" sz="quarter" idx="14"/>
          </p:nvPr>
        </p:nvSpPr>
        <p:spPr>
          <a:xfrm>
            <a:off x="550864" y="1808163"/>
            <a:ext cx="3204000" cy="4321175"/>
          </a:xfrm>
        </p:spPr>
        <p:txBody>
          <a:bodyPr/>
          <a:lstStyle/>
          <a:p>
            <a:pPr lvl="0"/>
            <a:r>
              <a:rPr lang="en-US"/>
              <a:t>Click to 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269DCDE0-20E2-91A9-6591-26711B40C6C3}"/>
              </a:ext>
            </a:extLst>
          </p:cNvPr>
          <p:cNvSpPr>
            <a:spLocks noGrp="1"/>
          </p:cNvSpPr>
          <p:nvPr>
            <p:ph type="body" sz="quarter" idx="15"/>
          </p:nvPr>
        </p:nvSpPr>
        <p:spPr>
          <a:xfrm>
            <a:off x="4295774" y="1808163"/>
            <a:ext cx="3204000" cy="4321175"/>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3119314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1 Light Image / Big Sta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1AA0871-DF4F-3D16-30B1-C25E0C64F490}"/>
              </a:ext>
            </a:extLst>
          </p:cNvPr>
          <p:cNvSpPr/>
          <p:nvPr userDrawn="1"/>
        </p:nvSpPr>
        <p:spPr>
          <a:xfrm>
            <a:off x="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Picture 4" descr="A picture containing dark, lit, white, light&#10;&#10;Description automatically generated">
            <a:extLst>
              <a:ext uri="{FF2B5EF4-FFF2-40B4-BE49-F238E27FC236}">
                <a16:creationId xmlns:a16="http://schemas.microsoft.com/office/drawing/2014/main" id="{F3AC6818-4D80-7C27-6F3D-8D1DFA9EF1C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040689" y="1"/>
            <a:ext cx="4151312" cy="6858000"/>
          </a:xfrm>
          <a:prstGeom prst="rect">
            <a:avLst/>
          </a:prstGeom>
        </p:spPr>
      </p:pic>
      <p:sp>
        <p:nvSpPr>
          <p:cNvPr id="43" name="Picture Placeholder 42">
            <a:extLst>
              <a:ext uri="{FF2B5EF4-FFF2-40B4-BE49-F238E27FC236}">
                <a16:creationId xmlns:a16="http://schemas.microsoft.com/office/drawing/2014/main" id="{C6FE3766-7949-D482-997B-F037BAB90A2C}"/>
              </a:ext>
            </a:extLst>
          </p:cNvPr>
          <p:cNvSpPr>
            <a:spLocks noGrp="1"/>
          </p:cNvSpPr>
          <p:nvPr>
            <p:ph type="pic" sz="quarter" idx="20" hasCustomPrompt="1"/>
          </p:nvPr>
        </p:nvSpPr>
        <p:spPr>
          <a:xfrm>
            <a:off x="0" y="0"/>
            <a:ext cx="8040688" cy="6858000"/>
          </a:xfrm>
          <a:custGeom>
            <a:avLst/>
            <a:gdLst>
              <a:gd name="connsiteX0" fmla="*/ 1592699 w 8040688"/>
              <a:gd name="connsiteY0" fmla="*/ 6492423 h 6858000"/>
              <a:gd name="connsiteX1" fmla="*/ 1592699 w 8040688"/>
              <a:gd name="connsiteY1" fmla="*/ 6501164 h 6858000"/>
              <a:gd name="connsiteX2" fmla="*/ 1592546 w 8040688"/>
              <a:gd name="connsiteY2" fmla="*/ 6504388 h 6858000"/>
              <a:gd name="connsiteX3" fmla="*/ 1568857 w 8040688"/>
              <a:gd name="connsiteY3" fmla="*/ 6522619 h 6858000"/>
              <a:gd name="connsiteX4" fmla="*/ 1551438 w 8040688"/>
              <a:gd name="connsiteY4" fmla="*/ 6508315 h 6858000"/>
              <a:gd name="connsiteX5" fmla="*/ 1568857 w 8040688"/>
              <a:gd name="connsiteY5" fmla="*/ 6495071 h 6858000"/>
              <a:gd name="connsiteX6" fmla="*/ 1581983 w 8040688"/>
              <a:gd name="connsiteY6" fmla="*/ 6495071 h 6858000"/>
              <a:gd name="connsiteX7" fmla="*/ 1592699 w 8040688"/>
              <a:gd name="connsiteY7" fmla="*/ 6492423 h 6858000"/>
              <a:gd name="connsiteX8" fmla="*/ 1172060 w 8040688"/>
              <a:gd name="connsiteY8" fmla="*/ 6492423 h 6858000"/>
              <a:gd name="connsiteX9" fmla="*/ 1172060 w 8040688"/>
              <a:gd name="connsiteY9" fmla="*/ 6501164 h 6858000"/>
              <a:gd name="connsiteX10" fmla="*/ 1171906 w 8040688"/>
              <a:gd name="connsiteY10" fmla="*/ 6504389 h 6858000"/>
              <a:gd name="connsiteX11" fmla="*/ 1148216 w 8040688"/>
              <a:gd name="connsiteY11" fmla="*/ 6522619 h 6858000"/>
              <a:gd name="connsiteX12" fmla="*/ 1130802 w 8040688"/>
              <a:gd name="connsiteY12" fmla="*/ 6508315 h 6858000"/>
              <a:gd name="connsiteX13" fmla="*/ 1148216 w 8040688"/>
              <a:gd name="connsiteY13" fmla="*/ 6495071 h 6858000"/>
              <a:gd name="connsiteX14" fmla="*/ 1161343 w 8040688"/>
              <a:gd name="connsiteY14" fmla="*/ 6495071 h 6858000"/>
              <a:gd name="connsiteX15" fmla="*/ 1172060 w 8040688"/>
              <a:gd name="connsiteY15" fmla="*/ 6492423 h 6858000"/>
              <a:gd name="connsiteX16" fmla="*/ 1796056 w 8040688"/>
              <a:gd name="connsiteY16" fmla="*/ 6448718 h 6858000"/>
              <a:gd name="connsiteX17" fmla="*/ 1823115 w 8040688"/>
              <a:gd name="connsiteY17" fmla="*/ 6470969 h 6858000"/>
              <a:gd name="connsiteX18" fmla="*/ 1768190 w 8040688"/>
              <a:gd name="connsiteY18" fmla="*/ 6470969 h 6858000"/>
              <a:gd name="connsiteX19" fmla="*/ 1796056 w 8040688"/>
              <a:gd name="connsiteY19" fmla="*/ 6448718 h 6858000"/>
              <a:gd name="connsiteX20" fmla="*/ 1385331 w 8040688"/>
              <a:gd name="connsiteY20" fmla="*/ 6423290 h 6858000"/>
              <a:gd name="connsiteX21" fmla="*/ 1427128 w 8040688"/>
              <a:gd name="connsiteY21" fmla="*/ 6544605 h 6858000"/>
              <a:gd name="connsiteX22" fmla="*/ 1470261 w 8040688"/>
              <a:gd name="connsiteY22" fmla="*/ 6544605 h 6858000"/>
              <a:gd name="connsiteX23" fmla="*/ 1513932 w 8040688"/>
              <a:gd name="connsiteY23" fmla="*/ 6423290 h 6858000"/>
              <a:gd name="connsiteX24" fmla="*/ 1477223 w 8040688"/>
              <a:gd name="connsiteY24" fmla="*/ 6423290 h 6858000"/>
              <a:gd name="connsiteX25" fmla="*/ 1449367 w 8040688"/>
              <a:gd name="connsiteY25" fmla="*/ 6507521 h 6858000"/>
              <a:gd name="connsiteX26" fmla="*/ 1423104 w 8040688"/>
              <a:gd name="connsiteY26" fmla="*/ 6423290 h 6858000"/>
              <a:gd name="connsiteX27" fmla="*/ 1319153 w 8040688"/>
              <a:gd name="connsiteY27" fmla="*/ 6423290 h 6858000"/>
              <a:gd name="connsiteX28" fmla="*/ 1319153 w 8040688"/>
              <a:gd name="connsiteY28" fmla="*/ 6452426 h 6858000"/>
              <a:gd name="connsiteX29" fmla="*/ 1336299 w 8040688"/>
              <a:gd name="connsiteY29" fmla="*/ 6452426 h 6858000"/>
              <a:gd name="connsiteX30" fmla="*/ 1336299 w 8040688"/>
              <a:gd name="connsiteY30" fmla="*/ 6544604 h 6858000"/>
              <a:gd name="connsiteX31" fmla="*/ 1371127 w 8040688"/>
              <a:gd name="connsiteY31" fmla="*/ 6544604 h 6858000"/>
              <a:gd name="connsiteX32" fmla="*/ 1371127 w 8040688"/>
              <a:gd name="connsiteY32" fmla="*/ 6423290 h 6858000"/>
              <a:gd name="connsiteX33" fmla="*/ 1293161 w 8040688"/>
              <a:gd name="connsiteY33" fmla="*/ 6421700 h 6858000"/>
              <a:gd name="connsiteX34" fmla="*/ 1261280 w 8040688"/>
              <a:gd name="connsiteY34" fmla="*/ 6442626 h 6858000"/>
              <a:gd name="connsiteX35" fmla="*/ 1261280 w 8040688"/>
              <a:gd name="connsiteY35" fmla="*/ 6423290 h 6858000"/>
              <a:gd name="connsiteX36" fmla="*/ 1227522 w 8040688"/>
              <a:gd name="connsiteY36" fmla="*/ 6423290 h 6858000"/>
              <a:gd name="connsiteX37" fmla="*/ 1227522 w 8040688"/>
              <a:gd name="connsiteY37" fmla="*/ 6544604 h 6858000"/>
              <a:gd name="connsiteX38" fmla="*/ 1262352 w 8040688"/>
              <a:gd name="connsiteY38" fmla="*/ 6544604 h 6858000"/>
              <a:gd name="connsiteX39" fmla="*/ 1262352 w 8040688"/>
              <a:gd name="connsiteY39" fmla="*/ 6486596 h 6858000"/>
              <a:gd name="connsiteX40" fmla="*/ 1288073 w 8040688"/>
              <a:gd name="connsiteY40" fmla="*/ 6457194 h 6858000"/>
              <a:gd name="connsiteX41" fmla="*/ 1302808 w 8040688"/>
              <a:gd name="connsiteY41" fmla="*/ 6457194 h 6858000"/>
              <a:gd name="connsiteX42" fmla="*/ 1302808 w 8040688"/>
              <a:gd name="connsiteY42" fmla="*/ 6422760 h 6858000"/>
              <a:gd name="connsiteX43" fmla="*/ 1293161 w 8040688"/>
              <a:gd name="connsiteY43" fmla="*/ 6421700 h 6858000"/>
              <a:gd name="connsiteX44" fmla="*/ 1796056 w 8040688"/>
              <a:gd name="connsiteY44" fmla="*/ 6420112 h 6858000"/>
              <a:gd name="connsiteX45" fmla="*/ 1791956 w 8040688"/>
              <a:gd name="connsiteY45" fmla="*/ 6420138 h 6858000"/>
              <a:gd name="connsiteX46" fmla="*/ 1732297 w 8040688"/>
              <a:gd name="connsiteY46" fmla="*/ 6483948 h 6858000"/>
              <a:gd name="connsiteX47" fmla="*/ 1770879 w 8040688"/>
              <a:gd name="connsiteY47" fmla="*/ 6541990 h 6858000"/>
              <a:gd name="connsiteX48" fmla="*/ 1857943 w 8040688"/>
              <a:gd name="connsiteY48" fmla="*/ 6509641 h 6858000"/>
              <a:gd name="connsiteX49" fmla="*/ 1821781 w 8040688"/>
              <a:gd name="connsiteY49" fmla="*/ 6505933 h 6858000"/>
              <a:gd name="connsiteX50" fmla="*/ 1802269 w 8040688"/>
              <a:gd name="connsiteY50" fmla="*/ 6518046 h 6858000"/>
              <a:gd name="connsiteX51" fmla="*/ 1768997 w 8040688"/>
              <a:gd name="connsiteY51" fmla="*/ 6494013 h 6858000"/>
              <a:gd name="connsiteX52" fmla="*/ 1860353 w 8040688"/>
              <a:gd name="connsiteY52" fmla="*/ 6494013 h 6858000"/>
              <a:gd name="connsiteX53" fmla="*/ 1860353 w 8040688"/>
              <a:gd name="connsiteY53" fmla="*/ 6492689 h 6858000"/>
              <a:gd name="connsiteX54" fmla="*/ 1796056 w 8040688"/>
              <a:gd name="connsiteY54" fmla="*/ 6420112 h 6858000"/>
              <a:gd name="connsiteX55" fmla="*/ 1574215 w 8040688"/>
              <a:gd name="connsiteY55" fmla="*/ 6420111 h 6858000"/>
              <a:gd name="connsiteX56" fmla="*/ 1521700 w 8040688"/>
              <a:gd name="connsiteY56" fmla="*/ 6434944 h 6858000"/>
              <a:gd name="connsiteX57" fmla="*/ 1535364 w 8040688"/>
              <a:gd name="connsiteY57" fmla="*/ 6460902 h 6858000"/>
              <a:gd name="connsiteX58" fmla="*/ 1572342 w 8040688"/>
              <a:gd name="connsiteY58" fmla="*/ 6449512 h 6858000"/>
              <a:gd name="connsiteX59" fmla="*/ 1592699 w 8040688"/>
              <a:gd name="connsiteY59" fmla="*/ 6463816 h 6858000"/>
              <a:gd name="connsiteX60" fmla="*/ 1592699 w 8040688"/>
              <a:gd name="connsiteY60" fmla="*/ 6465140 h 6858000"/>
              <a:gd name="connsiteX61" fmla="*/ 1584124 w 8040688"/>
              <a:gd name="connsiteY61" fmla="*/ 6472292 h 6858000"/>
              <a:gd name="connsiteX62" fmla="*/ 1560013 w 8040688"/>
              <a:gd name="connsiteY62" fmla="*/ 6472292 h 6858000"/>
              <a:gd name="connsiteX63" fmla="*/ 1515545 w 8040688"/>
              <a:gd name="connsiteY63" fmla="*/ 6509640 h 6858000"/>
              <a:gd name="connsiteX64" fmla="*/ 1515603 w 8040688"/>
              <a:gd name="connsiteY64" fmla="*/ 6510750 h 6858000"/>
              <a:gd name="connsiteX65" fmla="*/ 1558409 w 8040688"/>
              <a:gd name="connsiteY65" fmla="*/ 6547782 h 6858000"/>
              <a:gd name="connsiteX66" fmla="*/ 1592699 w 8040688"/>
              <a:gd name="connsiteY66" fmla="*/ 6533214 h 6858000"/>
              <a:gd name="connsiteX67" fmla="*/ 1592699 w 8040688"/>
              <a:gd name="connsiteY67" fmla="*/ 6544604 h 6858000"/>
              <a:gd name="connsiteX68" fmla="*/ 1627527 w 8040688"/>
              <a:gd name="connsiteY68" fmla="*/ 6544604 h 6858000"/>
              <a:gd name="connsiteX69" fmla="*/ 1627527 w 8040688"/>
              <a:gd name="connsiteY69" fmla="*/ 6464875 h 6858000"/>
              <a:gd name="connsiteX70" fmla="*/ 1574215 w 8040688"/>
              <a:gd name="connsiteY70" fmla="*/ 6420111 h 6858000"/>
              <a:gd name="connsiteX71" fmla="*/ 1153574 w 8040688"/>
              <a:gd name="connsiteY71" fmla="*/ 6420111 h 6858000"/>
              <a:gd name="connsiteX72" fmla="*/ 1101062 w 8040688"/>
              <a:gd name="connsiteY72" fmla="*/ 6434944 h 6858000"/>
              <a:gd name="connsiteX73" fmla="*/ 1114726 w 8040688"/>
              <a:gd name="connsiteY73" fmla="*/ 6460902 h 6858000"/>
              <a:gd name="connsiteX74" fmla="*/ 1151699 w 8040688"/>
              <a:gd name="connsiteY74" fmla="*/ 6449512 h 6858000"/>
              <a:gd name="connsiteX75" fmla="*/ 1172060 w 8040688"/>
              <a:gd name="connsiteY75" fmla="*/ 6463816 h 6858000"/>
              <a:gd name="connsiteX76" fmla="*/ 1172060 w 8040688"/>
              <a:gd name="connsiteY76" fmla="*/ 6465140 h 6858000"/>
              <a:gd name="connsiteX77" fmla="*/ 1163487 w 8040688"/>
              <a:gd name="connsiteY77" fmla="*/ 6472292 h 6858000"/>
              <a:gd name="connsiteX78" fmla="*/ 1139375 w 8040688"/>
              <a:gd name="connsiteY78" fmla="*/ 6472292 h 6858000"/>
              <a:gd name="connsiteX79" fmla="*/ 1094901 w 8040688"/>
              <a:gd name="connsiteY79" fmla="*/ 6509640 h 6858000"/>
              <a:gd name="connsiteX80" fmla="*/ 1094960 w 8040688"/>
              <a:gd name="connsiteY80" fmla="*/ 6510749 h 6858000"/>
              <a:gd name="connsiteX81" fmla="*/ 1137766 w 8040688"/>
              <a:gd name="connsiteY81" fmla="*/ 6547782 h 6858000"/>
              <a:gd name="connsiteX82" fmla="*/ 1172060 w 8040688"/>
              <a:gd name="connsiteY82" fmla="*/ 6533214 h 6858000"/>
              <a:gd name="connsiteX83" fmla="*/ 1172060 w 8040688"/>
              <a:gd name="connsiteY83" fmla="*/ 6544604 h 6858000"/>
              <a:gd name="connsiteX84" fmla="*/ 1206890 w 8040688"/>
              <a:gd name="connsiteY84" fmla="*/ 6544604 h 6858000"/>
              <a:gd name="connsiteX85" fmla="*/ 1206890 w 8040688"/>
              <a:gd name="connsiteY85" fmla="*/ 6464875 h 6858000"/>
              <a:gd name="connsiteX86" fmla="*/ 1153574 w 8040688"/>
              <a:gd name="connsiteY86" fmla="*/ 6420111 h 6858000"/>
              <a:gd name="connsiteX87" fmla="*/ 568575 w 8040688"/>
              <a:gd name="connsiteY87" fmla="*/ 6383429 h 6858000"/>
              <a:gd name="connsiteX88" fmla="*/ 568549 w 8040688"/>
              <a:gd name="connsiteY88" fmla="*/ 6520396 h 6858000"/>
              <a:gd name="connsiteX89" fmla="*/ 624511 w 8040688"/>
              <a:gd name="connsiteY89" fmla="*/ 6519097 h 6858000"/>
              <a:gd name="connsiteX90" fmla="*/ 618898 w 8040688"/>
              <a:gd name="connsiteY90" fmla="*/ 6402004 h 6858000"/>
              <a:gd name="connsiteX91" fmla="*/ 624479 w 8040688"/>
              <a:gd name="connsiteY91" fmla="*/ 6384725 h 6858000"/>
              <a:gd name="connsiteX92" fmla="*/ 568575 w 8040688"/>
              <a:gd name="connsiteY92" fmla="*/ 6383429 h 6858000"/>
              <a:gd name="connsiteX93" fmla="*/ 1659953 w 8040688"/>
              <a:gd name="connsiteY93" fmla="*/ 6377201 h 6858000"/>
              <a:gd name="connsiteX94" fmla="*/ 1659953 w 8040688"/>
              <a:gd name="connsiteY94" fmla="*/ 6423290 h 6858000"/>
              <a:gd name="connsiteX95" fmla="*/ 1640662 w 8040688"/>
              <a:gd name="connsiteY95" fmla="*/ 6423290 h 6858000"/>
              <a:gd name="connsiteX96" fmla="*/ 1640662 w 8040688"/>
              <a:gd name="connsiteY96" fmla="*/ 6452426 h 6858000"/>
              <a:gd name="connsiteX97" fmla="*/ 1659953 w 8040688"/>
              <a:gd name="connsiteY97" fmla="*/ 6452426 h 6858000"/>
              <a:gd name="connsiteX98" fmla="*/ 1659953 w 8040688"/>
              <a:gd name="connsiteY98" fmla="*/ 6518911 h 6858000"/>
              <a:gd name="connsiteX99" fmla="*/ 1695318 w 8040688"/>
              <a:gd name="connsiteY99" fmla="*/ 6546194 h 6858000"/>
              <a:gd name="connsiteX100" fmla="*/ 1722377 w 8040688"/>
              <a:gd name="connsiteY100" fmla="*/ 6544604 h 6858000"/>
              <a:gd name="connsiteX101" fmla="*/ 1722377 w 8040688"/>
              <a:gd name="connsiteY101" fmla="*/ 6515203 h 6858000"/>
              <a:gd name="connsiteX102" fmla="*/ 1706303 w 8040688"/>
              <a:gd name="connsiteY102" fmla="*/ 6515998 h 6858000"/>
              <a:gd name="connsiteX103" fmla="*/ 1694780 w 8040688"/>
              <a:gd name="connsiteY103" fmla="*/ 6507256 h 6858000"/>
              <a:gd name="connsiteX104" fmla="*/ 1694780 w 8040688"/>
              <a:gd name="connsiteY104" fmla="*/ 6452426 h 6858000"/>
              <a:gd name="connsiteX105" fmla="*/ 1721302 w 8040688"/>
              <a:gd name="connsiteY105" fmla="*/ 6452426 h 6858000"/>
              <a:gd name="connsiteX106" fmla="*/ 1721302 w 8040688"/>
              <a:gd name="connsiteY106" fmla="*/ 6423290 h 6858000"/>
              <a:gd name="connsiteX107" fmla="*/ 1694780 w 8040688"/>
              <a:gd name="connsiteY107" fmla="*/ 6423290 h 6858000"/>
              <a:gd name="connsiteX108" fmla="*/ 1694780 w 8040688"/>
              <a:gd name="connsiteY108" fmla="*/ 6377201 h 6858000"/>
              <a:gd name="connsiteX109" fmla="*/ 1884617 w 8040688"/>
              <a:gd name="connsiteY109" fmla="*/ 6359355 h 6858000"/>
              <a:gd name="connsiteX110" fmla="*/ 1884617 w 8040688"/>
              <a:gd name="connsiteY110" fmla="*/ 6392335 h 6858000"/>
              <a:gd name="connsiteX111" fmla="*/ 1893998 w 8040688"/>
              <a:gd name="connsiteY111" fmla="*/ 6392335 h 6858000"/>
              <a:gd name="connsiteX112" fmla="*/ 1893998 w 8040688"/>
              <a:gd name="connsiteY112" fmla="*/ 6373492 h 6858000"/>
              <a:gd name="connsiteX113" fmla="*/ 1898291 w 8040688"/>
              <a:gd name="connsiteY113" fmla="*/ 6385270 h 6858000"/>
              <a:gd name="connsiteX114" fmla="*/ 1905819 w 8040688"/>
              <a:gd name="connsiteY114" fmla="*/ 6385270 h 6858000"/>
              <a:gd name="connsiteX115" fmla="*/ 1910111 w 8040688"/>
              <a:gd name="connsiteY115" fmla="*/ 6373492 h 6858000"/>
              <a:gd name="connsiteX116" fmla="*/ 1910111 w 8040688"/>
              <a:gd name="connsiteY116" fmla="*/ 6392335 h 6858000"/>
              <a:gd name="connsiteX117" fmla="*/ 1919685 w 8040688"/>
              <a:gd name="connsiteY117" fmla="*/ 6392335 h 6858000"/>
              <a:gd name="connsiteX118" fmla="*/ 1919685 w 8040688"/>
              <a:gd name="connsiteY118" fmla="*/ 6359355 h 6858000"/>
              <a:gd name="connsiteX119" fmla="*/ 1907566 w 8040688"/>
              <a:gd name="connsiteY119" fmla="*/ 6359355 h 6858000"/>
              <a:gd name="connsiteX120" fmla="*/ 1902362 w 8040688"/>
              <a:gd name="connsiteY120" fmla="*/ 6373114 h 6858000"/>
              <a:gd name="connsiteX121" fmla="*/ 1897494 w 8040688"/>
              <a:gd name="connsiteY121" fmla="*/ 6359355 h 6858000"/>
              <a:gd name="connsiteX122" fmla="*/ 1850683 w 8040688"/>
              <a:gd name="connsiteY122" fmla="*/ 6359355 h 6858000"/>
              <a:gd name="connsiteX123" fmla="*/ 1850683 w 8040688"/>
              <a:gd name="connsiteY123" fmla="*/ 6367929 h 6858000"/>
              <a:gd name="connsiteX124" fmla="*/ 1860074 w 8040688"/>
              <a:gd name="connsiteY124" fmla="*/ 6367929 h 6858000"/>
              <a:gd name="connsiteX125" fmla="*/ 1860074 w 8040688"/>
              <a:gd name="connsiteY125" fmla="*/ 6392335 h 6858000"/>
              <a:gd name="connsiteX126" fmla="*/ 1869839 w 8040688"/>
              <a:gd name="connsiteY126" fmla="*/ 6392335 h 6858000"/>
              <a:gd name="connsiteX127" fmla="*/ 1869839 w 8040688"/>
              <a:gd name="connsiteY127" fmla="*/ 6367929 h 6858000"/>
              <a:gd name="connsiteX128" fmla="*/ 1879230 w 8040688"/>
              <a:gd name="connsiteY128" fmla="*/ 6367929 h 6858000"/>
              <a:gd name="connsiteX129" fmla="*/ 1879230 w 8040688"/>
              <a:gd name="connsiteY129" fmla="*/ 6359355 h 6858000"/>
              <a:gd name="connsiteX130" fmla="*/ 1352105 w 8040688"/>
              <a:gd name="connsiteY130" fmla="*/ 6359189 h 6858000"/>
              <a:gd name="connsiteX131" fmla="*/ 1329868 w 8040688"/>
              <a:gd name="connsiteY131" fmla="*/ 6381439 h 6858000"/>
              <a:gd name="connsiteX132" fmla="*/ 1352108 w 8040688"/>
              <a:gd name="connsiteY132" fmla="*/ 6403427 h 6858000"/>
              <a:gd name="connsiteX133" fmla="*/ 1374610 w 8040688"/>
              <a:gd name="connsiteY133" fmla="*/ 6381439 h 6858000"/>
              <a:gd name="connsiteX134" fmla="*/ 1374610 w 8040688"/>
              <a:gd name="connsiteY134" fmla="*/ 6381364 h 6858000"/>
              <a:gd name="connsiteX135" fmla="*/ 1352105 w 8040688"/>
              <a:gd name="connsiteY135" fmla="*/ 6359189 h 6858000"/>
              <a:gd name="connsiteX136" fmla="*/ 1041583 w 8040688"/>
              <a:gd name="connsiteY136" fmla="*/ 6359189 h 6858000"/>
              <a:gd name="connsiteX137" fmla="*/ 1041583 w 8040688"/>
              <a:gd name="connsiteY137" fmla="*/ 6544604 h 6858000"/>
              <a:gd name="connsiteX138" fmla="*/ 1076143 w 8040688"/>
              <a:gd name="connsiteY138" fmla="*/ 6544604 h 6858000"/>
              <a:gd name="connsiteX139" fmla="*/ 1076143 w 8040688"/>
              <a:gd name="connsiteY139" fmla="*/ 6359189 h 6858000"/>
              <a:gd name="connsiteX140" fmla="*/ 925239 w 8040688"/>
              <a:gd name="connsiteY140" fmla="*/ 6355990 h 6858000"/>
              <a:gd name="connsiteX141" fmla="*/ 832602 w 8040688"/>
              <a:gd name="connsiteY141" fmla="*/ 6451897 h 6858000"/>
              <a:gd name="connsiteX142" fmla="*/ 832623 w 8040688"/>
              <a:gd name="connsiteY142" fmla="*/ 6456990 h 6858000"/>
              <a:gd name="connsiteX143" fmla="*/ 930389 w 8040688"/>
              <a:gd name="connsiteY143" fmla="*/ 6547783 h 6858000"/>
              <a:gd name="connsiteX144" fmla="*/ 1022285 w 8040688"/>
              <a:gd name="connsiteY144" fmla="*/ 6478650 h 6858000"/>
              <a:gd name="connsiteX145" fmla="*/ 981294 w 8040688"/>
              <a:gd name="connsiteY145" fmla="*/ 6478650 h 6858000"/>
              <a:gd name="connsiteX146" fmla="*/ 930389 w 8040688"/>
              <a:gd name="connsiteY146" fmla="*/ 6513878 h 6858000"/>
              <a:gd name="connsiteX147" fmla="*/ 871450 w 8040688"/>
              <a:gd name="connsiteY147" fmla="*/ 6451897 h 6858000"/>
              <a:gd name="connsiteX148" fmla="*/ 930389 w 8040688"/>
              <a:gd name="connsiteY148" fmla="*/ 6389916 h 6858000"/>
              <a:gd name="connsiteX149" fmla="*/ 981294 w 8040688"/>
              <a:gd name="connsiteY149" fmla="*/ 6425144 h 6858000"/>
              <a:gd name="connsiteX150" fmla="*/ 1022285 w 8040688"/>
              <a:gd name="connsiteY150" fmla="*/ 6425144 h 6858000"/>
              <a:gd name="connsiteX151" fmla="*/ 930389 w 8040688"/>
              <a:gd name="connsiteY151" fmla="*/ 6356011 h 6858000"/>
              <a:gd name="connsiteX152" fmla="*/ 925239 w 8040688"/>
              <a:gd name="connsiteY152" fmla="*/ 6355990 h 6858000"/>
              <a:gd name="connsiteX153" fmla="*/ 651232 w 8040688"/>
              <a:gd name="connsiteY153" fmla="*/ 6336161 h 6858000"/>
              <a:gd name="connsiteX154" fmla="*/ 624479 w 8040688"/>
              <a:gd name="connsiteY154" fmla="*/ 6384726 h 6858000"/>
              <a:gd name="connsiteX155" fmla="*/ 742033 w 8040688"/>
              <a:gd name="connsiteY155" fmla="*/ 6451914 h 6858000"/>
              <a:gd name="connsiteX156" fmla="*/ 624512 w 8040688"/>
              <a:gd name="connsiteY156" fmla="*/ 6519097 h 6858000"/>
              <a:gd name="connsiteX157" fmla="*/ 651373 w 8040688"/>
              <a:gd name="connsiteY157" fmla="*/ 6567631 h 6858000"/>
              <a:gd name="connsiteX158" fmla="*/ 771228 w 8040688"/>
              <a:gd name="connsiteY158" fmla="*/ 6499136 h 6858000"/>
              <a:gd name="connsiteX159" fmla="*/ 742033 w 8040688"/>
              <a:gd name="connsiteY159" fmla="*/ 6451914 h 6858000"/>
              <a:gd name="connsiteX160" fmla="*/ 771227 w 8040688"/>
              <a:gd name="connsiteY160" fmla="*/ 6404692 h 6858000"/>
              <a:gd name="connsiteX161" fmla="*/ 651232 w 8040688"/>
              <a:gd name="connsiteY161" fmla="*/ 6336161 h 6858000"/>
              <a:gd name="connsiteX162" fmla="*/ 0 w 8040688"/>
              <a:gd name="connsiteY162" fmla="*/ 0 h 6858000"/>
              <a:gd name="connsiteX163" fmla="*/ 8040688 w 8040688"/>
              <a:gd name="connsiteY163" fmla="*/ 0 h 6858000"/>
              <a:gd name="connsiteX164" fmla="*/ 8040688 w 8040688"/>
              <a:gd name="connsiteY164" fmla="*/ 6858000 h 6858000"/>
              <a:gd name="connsiteX165" fmla="*/ 0 w 8040688"/>
              <a:gd name="connsiteY16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Lst>
            <a:rect l="l" t="t" r="r" b="b"/>
            <a:pathLst>
              <a:path w="8040688" h="6858000">
                <a:moveTo>
                  <a:pt x="1592699" y="6492423"/>
                </a:moveTo>
                <a:lnTo>
                  <a:pt x="1592699" y="6501164"/>
                </a:lnTo>
                <a:cubicBezTo>
                  <a:pt x="1592738" y="6502241"/>
                  <a:pt x="1592680" y="6503319"/>
                  <a:pt x="1592546" y="6504388"/>
                </a:cubicBezTo>
                <a:cubicBezTo>
                  <a:pt x="1591096" y="6515890"/>
                  <a:pt x="1580495" y="6524053"/>
                  <a:pt x="1568857" y="6522619"/>
                </a:cubicBezTo>
                <a:cubicBezTo>
                  <a:pt x="1558141" y="6522619"/>
                  <a:pt x="1551438" y="6516526"/>
                  <a:pt x="1551438" y="6508315"/>
                </a:cubicBezTo>
                <a:cubicBezTo>
                  <a:pt x="1551438" y="6499839"/>
                  <a:pt x="1557872" y="6495071"/>
                  <a:pt x="1568857" y="6495071"/>
                </a:cubicBezTo>
                <a:lnTo>
                  <a:pt x="1581983" y="6495071"/>
                </a:lnTo>
                <a:cubicBezTo>
                  <a:pt x="1585766" y="6495554"/>
                  <a:pt x="1589598" y="6494609"/>
                  <a:pt x="1592699" y="6492423"/>
                </a:cubicBezTo>
                <a:close/>
                <a:moveTo>
                  <a:pt x="1172060" y="6492423"/>
                </a:moveTo>
                <a:lnTo>
                  <a:pt x="1172060" y="6501164"/>
                </a:lnTo>
                <a:cubicBezTo>
                  <a:pt x="1172093" y="6502242"/>
                  <a:pt x="1172042" y="6503320"/>
                  <a:pt x="1171906" y="6504389"/>
                </a:cubicBezTo>
                <a:cubicBezTo>
                  <a:pt x="1170456" y="6515891"/>
                  <a:pt x="1159850" y="6524053"/>
                  <a:pt x="1148216" y="6522619"/>
                </a:cubicBezTo>
                <a:cubicBezTo>
                  <a:pt x="1137499" y="6522619"/>
                  <a:pt x="1130802" y="6516526"/>
                  <a:pt x="1130802" y="6508315"/>
                </a:cubicBezTo>
                <a:cubicBezTo>
                  <a:pt x="1130802" y="6499839"/>
                  <a:pt x="1137232" y="6495071"/>
                  <a:pt x="1148216" y="6495071"/>
                </a:cubicBezTo>
                <a:lnTo>
                  <a:pt x="1161343" y="6495071"/>
                </a:lnTo>
                <a:cubicBezTo>
                  <a:pt x="1165125" y="6495554"/>
                  <a:pt x="1168953" y="6494609"/>
                  <a:pt x="1172060" y="6492423"/>
                </a:cubicBezTo>
                <a:close/>
                <a:moveTo>
                  <a:pt x="1796056" y="6448718"/>
                </a:moveTo>
                <a:cubicBezTo>
                  <a:pt x="1809461" y="6448340"/>
                  <a:pt x="1821051" y="6457873"/>
                  <a:pt x="1823115" y="6470969"/>
                </a:cubicBezTo>
                <a:lnTo>
                  <a:pt x="1768190" y="6470969"/>
                </a:lnTo>
                <a:cubicBezTo>
                  <a:pt x="1770601" y="6457738"/>
                  <a:pt x="1782469" y="6448261"/>
                  <a:pt x="1796056" y="6448718"/>
                </a:cubicBezTo>
                <a:close/>
                <a:moveTo>
                  <a:pt x="1385331" y="6423290"/>
                </a:moveTo>
                <a:lnTo>
                  <a:pt x="1427128" y="6544605"/>
                </a:lnTo>
                <a:lnTo>
                  <a:pt x="1470261" y="6544605"/>
                </a:lnTo>
                <a:lnTo>
                  <a:pt x="1513932" y="6423290"/>
                </a:lnTo>
                <a:lnTo>
                  <a:pt x="1477223" y="6423290"/>
                </a:lnTo>
                <a:lnTo>
                  <a:pt x="1449367" y="6507521"/>
                </a:lnTo>
                <a:lnTo>
                  <a:pt x="1423104" y="6423290"/>
                </a:lnTo>
                <a:close/>
                <a:moveTo>
                  <a:pt x="1319153" y="6423290"/>
                </a:moveTo>
                <a:lnTo>
                  <a:pt x="1319153" y="6452426"/>
                </a:lnTo>
                <a:lnTo>
                  <a:pt x="1336299" y="6452426"/>
                </a:lnTo>
                <a:lnTo>
                  <a:pt x="1336299" y="6544604"/>
                </a:lnTo>
                <a:lnTo>
                  <a:pt x="1371127" y="6544604"/>
                </a:lnTo>
                <a:lnTo>
                  <a:pt x="1371127" y="6423290"/>
                </a:lnTo>
                <a:close/>
                <a:moveTo>
                  <a:pt x="1293161" y="6421700"/>
                </a:moveTo>
                <a:cubicBezTo>
                  <a:pt x="1279051" y="6421037"/>
                  <a:pt x="1266138" y="6429512"/>
                  <a:pt x="1261280" y="6442626"/>
                </a:cubicBezTo>
                <a:lnTo>
                  <a:pt x="1261280" y="6423290"/>
                </a:lnTo>
                <a:lnTo>
                  <a:pt x="1227522" y="6423290"/>
                </a:lnTo>
                <a:lnTo>
                  <a:pt x="1227522" y="6544604"/>
                </a:lnTo>
                <a:lnTo>
                  <a:pt x="1262352" y="6544604"/>
                </a:lnTo>
                <a:lnTo>
                  <a:pt x="1262352" y="6486596"/>
                </a:lnTo>
                <a:cubicBezTo>
                  <a:pt x="1262352" y="6465405"/>
                  <a:pt x="1270389" y="6457194"/>
                  <a:pt x="1288073" y="6457194"/>
                </a:cubicBezTo>
                <a:lnTo>
                  <a:pt x="1302808" y="6457194"/>
                </a:lnTo>
                <a:lnTo>
                  <a:pt x="1302808" y="6422760"/>
                </a:lnTo>
                <a:cubicBezTo>
                  <a:pt x="1299648" y="6422016"/>
                  <a:pt x="1296409" y="6421660"/>
                  <a:pt x="1293161" y="6421700"/>
                </a:cubicBezTo>
                <a:close/>
                <a:moveTo>
                  <a:pt x="1796056" y="6420112"/>
                </a:moveTo>
                <a:cubicBezTo>
                  <a:pt x="1794693" y="6420076"/>
                  <a:pt x="1793320" y="6420084"/>
                  <a:pt x="1791956" y="6420138"/>
                </a:cubicBezTo>
                <a:cubicBezTo>
                  <a:pt x="1757657" y="6421470"/>
                  <a:pt x="1730943" y="6450039"/>
                  <a:pt x="1732297" y="6483948"/>
                </a:cubicBezTo>
                <a:cubicBezTo>
                  <a:pt x="1732749" y="6509035"/>
                  <a:pt x="1747766" y="6531624"/>
                  <a:pt x="1770879" y="6541990"/>
                </a:cubicBezTo>
                <a:cubicBezTo>
                  <a:pt x="1803959" y="6556828"/>
                  <a:pt x="1842934" y="6542344"/>
                  <a:pt x="1857943" y="6509641"/>
                </a:cubicBezTo>
                <a:lnTo>
                  <a:pt x="1821781" y="6505933"/>
                </a:lnTo>
                <a:cubicBezTo>
                  <a:pt x="1817229" y="6512448"/>
                  <a:pt x="1810181" y="6516829"/>
                  <a:pt x="1802269" y="6518046"/>
                </a:cubicBezTo>
                <a:cubicBezTo>
                  <a:pt x="1786368" y="6520493"/>
                  <a:pt x="1771474" y="6509733"/>
                  <a:pt x="1768997" y="6494013"/>
                </a:cubicBezTo>
                <a:lnTo>
                  <a:pt x="1860353" y="6494013"/>
                </a:lnTo>
                <a:lnTo>
                  <a:pt x="1860353" y="6492689"/>
                </a:lnTo>
                <a:cubicBezTo>
                  <a:pt x="1860353" y="6441832"/>
                  <a:pt x="1829808" y="6420112"/>
                  <a:pt x="1796056" y="6420112"/>
                </a:cubicBezTo>
                <a:close/>
                <a:moveTo>
                  <a:pt x="1574215" y="6420111"/>
                </a:moveTo>
                <a:cubicBezTo>
                  <a:pt x="1555692" y="6420390"/>
                  <a:pt x="1537573" y="6425507"/>
                  <a:pt x="1521700" y="6434944"/>
                </a:cubicBezTo>
                <a:lnTo>
                  <a:pt x="1535364" y="6460902"/>
                </a:lnTo>
                <a:cubicBezTo>
                  <a:pt x="1546618" y="6454290"/>
                  <a:pt x="1559283" y="6450388"/>
                  <a:pt x="1572342" y="6449512"/>
                </a:cubicBezTo>
                <a:cubicBezTo>
                  <a:pt x="1585738" y="6449512"/>
                  <a:pt x="1592699" y="6455075"/>
                  <a:pt x="1592699" y="6463816"/>
                </a:cubicBezTo>
                <a:lnTo>
                  <a:pt x="1592699" y="6465140"/>
                </a:lnTo>
                <a:cubicBezTo>
                  <a:pt x="1592699" y="6469643"/>
                  <a:pt x="1590020" y="6472292"/>
                  <a:pt x="1584124" y="6472292"/>
                </a:cubicBezTo>
                <a:lnTo>
                  <a:pt x="1560013" y="6472292"/>
                </a:lnTo>
                <a:cubicBezTo>
                  <a:pt x="1532685" y="6472292"/>
                  <a:pt x="1515545" y="6486595"/>
                  <a:pt x="1515545" y="6509640"/>
                </a:cubicBezTo>
                <a:cubicBezTo>
                  <a:pt x="1515555" y="6510010"/>
                  <a:pt x="1515574" y="6510380"/>
                  <a:pt x="1515603" y="6510750"/>
                </a:cubicBezTo>
                <a:cubicBezTo>
                  <a:pt x="1517081" y="6532663"/>
                  <a:pt x="1536247" y="6549244"/>
                  <a:pt x="1558409" y="6547782"/>
                </a:cubicBezTo>
                <a:cubicBezTo>
                  <a:pt x="1571536" y="6548591"/>
                  <a:pt x="1584259" y="6543183"/>
                  <a:pt x="1592699" y="6533214"/>
                </a:cubicBezTo>
                <a:lnTo>
                  <a:pt x="1592699" y="6544604"/>
                </a:lnTo>
                <a:lnTo>
                  <a:pt x="1627527" y="6544604"/>
                </a:lnTo>
                <a:lnTo>
                  <a:pt x="1627527" y="6464875"/>
                </a:lnTo>
                <a:cubicBezTo>
                  <a:pt x="1627527" y="6432825"/>
                  <a:pt x="1602081" y="6420111"/>
                  <a:pt x="1574215" y="6420111"/>
                </a:cubicBezTo>
                <a:close/>
                <a:moveTo>
                  <a:pt x="1153574" y="6420111"/>
                </a:moveTo>
                <a:cubicBezTo>
                  <a:pt x="1135053" y="6420390"/>
                  <a:pt x="1116936" y="6425508"/>
                  <a:pt x="1101062" y="6434944"/>
                </a:cubicBezTo>
                <a:lnTo>
                  <a:pt x="1114726" y="6460902"/>
                </a:lnTo>
                <a:cubicBezTo>
                  <a:pt x="1125976" y="6454290"/>
                  <a:pt x="1138641" y="6450388"/>
                  <a:pt x="1151699" y="6449512"/>
                </a:cubicBezTo>
                <a:cubicBezTo>
                  <a:pt x="1165095" y="6449512"/>
                  <a:pt x="1172060" y="6455075"/>
                  <a:pt x="1172060" y="6463816"/>
                </a:cubicBezTo>
                <a:lnTo>
                  <a:pt x="1172060" y="6465140"/>
                </a:lnTo>
                <a:cubicBezTo>
                  <a:pt x="1172060" y="6469643"/>
                  <a:pt x="1169381" y="6472292"/>
                  <a:pt x="1163487" y="6472292"/>
                </a:cubicBezTo>
                <a:lnTo>
                  <a:pt x="1139375" y="6472292"/>
                </a:lnTo>
                <a:cubicBezTo>
                  <a:pt x="1112046" y="6472292"/>
                  <a:pt x="1094901" y="6486595"/>
                  <a:pt x="1094901" y="6509640"/>
                </a:cubicBezTo>
                <a:cubicBezTo>
                  <a:pt x="1094915" y="6510010"/>
                  <a:pt x="1094936" y="6510379"/>
                  <a:pt x="1094960" y="6510749"/>
                </a:cubicBezTo>
                <a:cubicBezTo>
                  <a:pt x="1096437" y="6532662"/>
                  <a:pt x="1115603" y="6549243"/>
                  <a:pt x="1137766" y="6547782"/>
                </a:cubicBezTo>
                <a:cubicBezTo>
                  <a:pt x="1150890" y="6548592"/>
                  <a:pt x="1163622" y="6543184"/>
                  <a:pt x="1172060" y="6533214"/>
                </a:cubicBezTo>
                <a:lnTo>
                  <a:pt x="1172060" y="6544604"/>
                </a:lnTo>
                <a:lnTo>
                  <a:pt x="1206890" y="6544604"/>
                </a:lnTo>
                <a:lnTo>
                  <a:pt x="1206890" y="6464875"/>
                </a:lnTo>
                <a:cubicBezTo>
                  <a:pt x="1206890" y="6432825"/>
                  <a:pt x="1181438" y="6420111"/>
                  <a:pt x="1153574" y="6420111"/>
                </a:cubicBezTo>
                <a:close/>
                <a:moveTo>
                  <a:pt x="568575" y="6383429"/>
                </a:moveTo>
                <a:cubicBezTo>
                  <a:pt x="555414" y="6428156"/>
                  <a:pt x="555406" y="6475664"/>
                  <a:pt x="568549" y="6520396"/>
                </a:cubicBezTo>
                <a:cubicBezTo>
                  <a:pt x="587170" y="6522621"/>
                  <a:pt x="606017" y="6522184"/>
                  <a:pt x="624511" y="6519097"/>
                </a:cubicBezTo>
                <a:cubicBezTo>
                  <a:pt x="610287" y="6481610"/>
                  <a:pt x="608324" y="6440654"/>
                  <a:pt x="618898" y="6402004"/>
                </a:cubicBezTo>
                <a:cubicBezTo>
                  <a:pt x="620492" y="6396123"/>
                  <a:pt x="622369" y="6390366"/>
                  <a:pt x="624479" y="6384725"/>
                </a:cubicBezTo>
                <a:cubicBezTo>
                  <a:pt x="606004" y="6381645"/>
                  <a:pt x="587176" y="6381208"/>
                  <a:pt x="568575" y="6383429"/>
                </a:cubicBezTo>
                <a:close/>
                <a:moveTo>
                  <a:pt x="1659953" y="6377201"/>
                </a:moveTo>
                <a:lnTo>
                  <a:pt x="1659953" y="6423290"/>
                </a:lnTo>
                <a:lnTo>
                  <a:pt x="1640662" y="6423290"/>
                </a:lnTo>
                <a:lnTo>
                  <a:pt x="1640662" y="6452426"/>
                </a:lnTo>
                <a:lnTo>
                  <a:pt x="1659953" y="6452426"/>
                </a:lnTo>
                <a:lnTo>
                  <a:pt x="1659953" y="6518911"/>
                </a:lnTo>
                <a:cubicBezTo>
                  <a:pt x="1659953" y="6543280"/>
                  <a:pt x="1677900" y="6546194"/>
                  <a:pt x="1695318" y="6546194"/>
                </a:cubicBezTo>
                <a:cubicBezTo>
                  <a:pt x="1705497" y="6546194"/>
                  <a:pt x="1722377" y="6544604"/>
                  <a:pt x="1722377" y="6544604"/>
                </a:cubicBezTo>
                <a:lnTo>
                  <a:pt x="1722377" y="6515203"/>
                </a:lnTo>
                <a:cubicBezTo>
                  <a:pt x="1722377" y="6515203"/>
                  <a:pt x="1715137" y="6515998"/>
                  <a:pt x="1706303" y="6515998"/>
                </a:cubicBezTo>
                <a:cubicBezTo>
                  <a:pt x="1700945" y="6515998"/>
                  <a:pt x="1694780" y="6514938"/>
                  <a:pt x="1694780" y="6507256"/>
                </a:cubicBezTo>
                <a:lnTo>
                  <a:pt x="1694780" y="6452426"/>
                </a:lnTo>
                <a:lnTo>
                  <a:pt x="1721302" y="6452426"/>
                </a:lnTo>
                <a:lnTo>
                  <a:pt x="1721302" y="6423290"/>
                </a:lnTo>
                <a:lnTo>
                  <a:pt x="1694780" y="6423290"/>
                </a:lnTo>
                <a:lnTo>
                  <a:pt x="1694780" y="6377201"/>
                </a:lnTo>
                <a:close/>
                <a:moveTo>
                  <a:pt x="1884617" y="6359355"/>
                </a:moveTo>
                <a:lnTo>
                  <a:pt x="1884617" y="6392335"/>
                </a:lnTo>
                <a:lnTo>
                  <a:pt x="1893998" y="6392335"/>
                </a:lnTo>
                <a:lnTo>
                  <a:pt x="1893998" y="6373492"/>
                </a:lnTo>
                <a:lnTo>
                  <a:pt x="1898291" y="6385270"/>
                </a:lnTo>
                <a:lnTo>
                  <a:pt x="1905819" y="6385270"/>
                </a:lnTo>
                <a:lnTo>
                  <a:pt x="1910111" y="6373492"/>
                </a:lnTo>
                <a:lnTo>
                  <a:pt x="1910111" y="6392335"/>
                </a:lnTo>
                <a:lnTo>
                  <a:pt x="1919685" y="6392335"/>
                </a:lnTo>
                <a:lnTo>
                  <a:pt x="1919685" y="6359355"/>
                </a:lnTo>
                <a:lnTo>
                  <a:pt x="1907566" y="6359355"/>
                </a:lnTo>
                <a:lnTo>
                  <a:pt x="1902362" y="6373114"/>
                </a:lnTo>
                <a:lnTo>
                  <a:pt x="1897494" y="6359355"/>
                </a:lnTo>
                <a:close/>
                <a:moveTo>
                  <a:pt x="1850683" y="6359355"/>
                </a:moveTo>
                <a:lnTo>
                  <a:pt x="1850683" y="6367929"/>
                </a:lnTo>
                <a:lnTo>
                  <a:pt x="1860074" y="6367929"/>
                </a:lnTo>
                <a:lnTo>
                  <a:pt x="1860074" y="6392335"/>
                </a:lnTo>
                <a:lnTo>
                  <a:pt x="1869839" y="6392335"/>
                </a:lnTo>
                <a:lnTo>
                  <a:pt x="1869839" y="6367929"/>
                </a:lnTo>
                <a:lnTo>
                  <a:pt x="1879230" y="6367929"/>
                </a:lnTo>
                <a:lnTo>
                  <a:pt x="1879230" y="6359355"/>
                </a:lnTo>
                <a:close/>
                <a:moveTo>
                  <a:pt x="1352105" y="6359189"/>
                </a:moveTo>
                <a:cubicBezTo>
                  <a:pt x="1339759" y="6359284"/>
                  <a:pt x="1329816" y="6369233"/>
                  <a:pt x="1329868" y="6381439"/>
                </a:cubicBezTo>
                <a:cubicBezTo>
                  <a:pt x="1329940" y="6393552"/>
                  <a:pt x="1339855" y="6403355"/>
                  <a:pt x="1352108" y="6403427"/>
                </a:cubicBezTo>
                <a:cubicBezTo>
                  <a:pt x="1364463" y="6403498"/>
                  <a:pt x="1374538" y="6393654"/>
                  <a:pt x="1374610" y="6381439"/>
                </a:cubicBezTo>
                <a:cubicBezTo>
                  <a:pt x="1374610" y="6381414"/>
                  <a:pt x="1374610" y="6381388"/>
                  <a:pt x="1374610" y="6381364"/>
                </a:cubicBezTo>
                <a:cubicBezTo>
                  <a:pt x="1374589" y="6369096"/>
                  <a:pt x="1364513" y="6359168"/>
                  <a:pt x="1352105" y="6359189"/>
                </a:cubicBezTo>
                <a:close/>
                <a:moveTo>
                  <a:pt x="1041583" y="6359189"/>
                </a:moveTo>
                <a:lnTo>
                  <a:pt x="1041583" y="6544604"/>
                </a:lnTo>
                <a:lnTo>
                  <a:pt x="1076143" y="6544604"/>
                </a:lnTo>
                <a:lnTo>
                  <a:pt x="1076143" y="6359189"/>
                </a:lnTo>
                <a:close/>
                <a:moveTo>
                  <a:pt x="925239" y="6355990"/>
                </a:moveTo>
                <a:cubicBezTo>
                  <a:pt x="872870" y="6357183"/>
                  <a:pt x="831395" y="6400122"/>
                  <a:pt x="832602" y="6451897"/>
                </a:cubicBezTo>
                <a:cubicBezTo>
                  <a:pt x="832562" y="6453595"/>
                  <a:pt x="832569" y="6455292"/>
                  <a:pt x="832623" y="6456990"/>
                </a:cubicBezTo>
                <a:cubicBezTo>
                  <a:pt x="834261" y="6508753"/>
                  <a:pt x="878033" y="6549402"/>
                  <a:pt x="930389" y="6547783"/>
                </a:cubicBezTo>
                <a:cubicBezTo>
                  <a:pt x="973630" y="6548900"/>
                  <a:pt x="1011845" y="6520151"/>
                  <a:pt x="1022285" y="6478650"/>
                </a:cubicBezTo>
                <a:lnTo>
                  <a:pt x="981294" y="6478650"/>
                </a:lnTo>
                <a:cubicBezTo>
                  <a:pt x="974516" y="6500553"/>
                  <a:pt x="953525" y="6515080"/>
                  <a:pt x="930389" y="6513878"/>
                </a:cubicBezTo>
                <a:cubicBezTo>
                  <a:pt x="895026" y="6513878"/>
                  <a:pt x="871450" y="6487391"/>
                  <a:pt x="871450" y="6451897"/>
                </a:cubicBezTo>
                <a:cubicBezTo>
                  <a:pt x="871450" y="6416403"/>
                  <a:pt x="895026" y="6389916"/>
                  <a:pt x="930389" y="6389916"/>
                </a:cubicBezTo>
                <a:cubicBezTo>
                  <a:pt x="953525" y="6388714"/>
                  <a:pt x="974516" y="6403241"/>
                  <a:pt x="981294" y="6425144"/>
                </a:cubicBezTo>
                <a:lnTo>
                  <a:pt x="1022285" y="6425144"/>
                </a:lnTo>
                <a:cubicBezTo>
                  <a:pt x="1011846" y="6383642"/>
                  <a:pt x="973630" y="6354892"/>
                  <a:pt x="930389" y="6356011"/>
                </a:cubicBezTo>
                <a:cubicBezTo>
                  <a:pt x="928673" y="6355958"/>
                  <a:pt x="926955" y="6355951"/>
                  <a:pt x="925239" y="6355990"/>
                </a:cubicBezTo>
                <a:close/>
                <a:moveTo>
                  <a:pt x="651232" y="6336161"/>
                </a:moveTo>
                <a:cubicBezTo>
                  <a:pt x="639985" y="6350984"/>
                  <a:pt x="630973" y="6367343"/>
                  <a:pt x="624479" y="6384726"/>
                </a:cubicBezTo>
                <a:cubicBezTo>
                  <a:pt x="670541" y="6392471"/>
                  <a:pt x="712258" y="6416315"/>
                  <a:pt x="742033" y="6451914"/>
                </a:cubicBezTo>
                <a:cubicBezTo>
                  <a:pt x="712265" y="6487505"/>
                  <a:pt x="670562" y="6511346"/>
                  <a:pt x="624512" y="6519097"/>
                </a:cubicBezTo>
                <a:cubicBezTo>
                  <a:pt x="631041" y="6536476"/>
                  <a:pt x="640089" y="6552825"/>
                  <a:pt x="651373" y="6567631"/>
                </a:cubicBezTo>
                <a:cubicBezTo>
                  <a:pt x="697088" y="6556502"/>
                  <a:pt x="738657" y="6532746"/>
                  <a:pt x="771228" y="6499136"/>
                </a:cubicBezTo>
                <a:cubicBezTo>
                  <a:pt x="763842" y="6482091"/>
                  <a:pt x="754009" y="6466186"/>
                  <a:pt x="742033" y="6451914"/>
                </a:cubicBezTo>
                <a:cubicBezTo>
                  <a:pt x="754009" y="6437642"/>
                  <a:pt x="763841" y="6421738"/>
                  <a:pt x="771227" y="6404692"/>
                </a:cubicBezTo>
                <a:cubicBezTo>
                  <a:pt x="738623" y="6371047"/>
                  <a:pt x="697001" y="6347276"/>
                  <a:pt x="651232" y="6336161"/>
                </a:cubicBezTo>
                <a:close/>
                <a:moveTo>
                  <a:pt x="0" y="0"/>
                </a:moveTo>
                <a:lnTo>
                  <a:pt x="8040688" y="0"/>
                </a:lnTo>
                <a:lnTo>
                  <a:pt x="8040688" y="6858000"/>
                </a:lnTo>
                <a:lnTo>
                  <a:pt x="0" y="6858000"/>
                </a:lnTo>
                <a:close/>
              </a:path>
            </a:pathLst>
          </a:custGeom>
          <a:solidFill>
            <a:schemeClr val="bg1">
              <a:lumMod val="95000"/>
            </a:schemeClr>
          </a:solidFill>
          <a:ln>
            <a:noFill/>
          </a:ln>
        </p:spPr>
        <p:txBody>
          <a:bodyPr wrap="square" tIns="180000" anchor="t" anchorCtr="0">
            <a:noAutofit/>
          </a:bodyPr>
          <a:lstStyle>
            <a:lvl1pPr marL="0" indent="0" algn="ctr">
              <a:buNone/>
              <a:defRPr sz="1000">
                <a:solidFill>
                  <a:schemeClr val="accent2"/>
                </a:solidFill>
                <a:latin typeface="+mn-lt"/>
              </a:defRPr>
            </a:lvl1pPr>
          </a:lstStyle>
          <a:p>
            <a:pPr lvl="0"/>
            <a:r>
              <a:rPr lang="en-US"/>
              <a:t>Drag picture file here or click </a:t>
            </a:r>
            <a:r>
              <a:rPr lang="en-GB" noProof="0" err="1"/>
              <a:t>center</a:t>
            </a:r>
            <a:r>
              <a:rPr lang="en-US"/>
              <a:t> icon to insert light image</a:t>
            </a:r>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2168525"/>
            <a:ext cx="3024000" cy="1620837"/>
          </a:xfrm>
        </p:spPr>
        <p:txBody>
          <a:bodyPr anchor="b" anchorCtr="0"/>
          <a:lstStyle>
            <a:lvl1pPr marL="0" indent="0" algn="ctr">
              <a:buNone/>
              <a:defRPr sz="12000" spc="-300" baseline="0">
                <a:solidFill>
                  <a:schemeClr val="accent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3608388"/>
            <a:ext cx="3024000"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82112584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 2x Big Sta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7C9D9F7-ED91-D58F-4B8A-75E79F808FE3}"/>
              </a:ext>
            </a:extLst>
          </p:cNvPr>
          <p:cNvSpPr/>
          <p:nvPr userDrawn="1"/>
        </p:nvSpPr>
        <p:spPr>
          <a:xfrm rot="10800000">
            <a:off x="8040683" y="0"/>
            <a:ext cx="4151314" cy="3428999"/>
          </a:xfrm>
          <a:prstGeom prst="rect">
            <a:avLst/>
          </a:prstGeom>
          <a:gradFill>
            <a:gsLst>
              <a:gs pos="85000">
                <a:schemeClr val="accent1"/>
              </a:gs>
              <a:gs pos="15000">
                <a:schemeClr val="accent3"/>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a:extLst>
              <a:ext uri="{FF2B5EF4-FFF2-40B4-BE49-F238E27FC236}">
                <a16:creationId xmlns:a16="http://schemas.microsoft.com/office/drawing/2014/main" id="{0986F515-904D-A198-71ED-870E64DDB4CE}"/>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15951" r="15951"/>
          <a:stretch/>
        </p:blipFill>
        <p:spPr>
          <a:xfrm>
            <a:off x="8040689" y="3428999"/>
            <a:ext cx="4151312" cy="3429001"/>
          </a:xfrm>
          <a:prstGeom prst="rect">
            <a:avLst/>
          </a:prstGeom>
        </p:spPr>
      </p:pic>
      <p:sp>
        <p:nvSpPr>
          <p:cNvPr id="7" name="Text Placeholder 12">
            <a:extLst>
              <a:ext uri="{FF2B5EF4-FFF2-40B4-BE49-F238E27FC236}">
                <a16:creationId xmlns:a16="http://schemas.microsoft.com/office/drawing/2014/main" id="{3177569F-28AA-9243-A576-B7391466851E}"/>
              </a:ext>
            </a:extLst>
          </p:cNvPr>
          <p:cNvSpPr>
            <a:spLocks noGrp="1"/>
          </p:cNvSpPr>
          <p:nvPr>
            <p:ph type="body" sz="quarter" idx="21" hasCustomPrompt="1"/>
          </p:nvPr>
        </p:nvSpPr>
        <p:spPr>
          <a:xfrm>
            <a:off x="8615421" y="3906838"/>
            <a:ext cx="3024000" cy="1620837"/>
          </a:xfrm>
        </p:spPr>
        <p:txBody>
          <a:bodyPr anchor="b" anchorCtr="0"/>
          <a:lstStyle>
            <a:lvl1pPr marL="0" indent="0" algn="ctr">
              <a:buNone/>
              <a:defRPr sz="12000" spc="-300" baseline="0">
                <a:solidFill>
                  <a:schemeClr val="accent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10" name="Text Placeholder 12">
            <a:extLst>
              <a:ext uri="{FF2B5EF4-FFF2-40B4-BE49-F238E27FC236}">
                <a16:creationId xmlns:a16="http://schemas.microsoft.com/office/drawing/2014/main" id="{B0ABFDE5-ACBC-EA3C-F170-8930EE49A99B}"/>
              </a:ext>
            </a:extLst>
          </p:cNvPr>
          <p:cNvSpPr>
            <a:spLocks noGrp="1"/>
          </p:cNvSpPr>
          <p:nvPr>
            <p:ph type="body" sz="quarter" idx="16"/>
          </p:nvPr>
        </p:nvSpPr>
        <p:spPr>
          <a:xfrm>
            <a:off x="8615421" y="5346701"/>
            <a:ext cx="3024000" cy="782637"/>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14" name="Text Placeholder 12">
            <a:extLst>
              <a:ext uri="{FF2B5EF4-FFF2-40B4-BE49-F238E27FC236}">
                <a16:creationId xmlns:a16="http://schemas.microsoft.com/office/drawing/2014/main" id="{71A5382E-8AB3-355B-234A-708ABEDECE8B}"/>
              </a:ext>
            </a:extLst>
          </p:cNvPr>
          <p:cNvSpPr>
            <a:spLocks noGrp="1"/>
          </p:cNvSpPr>
          <p:nvPr>
            <p:ph type="body" sz="quarter" idx="22" hasCustomPrompt="1"/>
          </p:nvPr>
        </p:nvSpPr>
        <p:spPr>
          <a:xfrm>
            <a:off x="8615421" y="627124"/>
            <a:ext cx="3024000" cy="1620837"/>
          </a:xfrm>
        </p:spPr>
        <p:txBody>
          <a:bodyPr anchor="b" anchorCtr="0"/>
          <a:lstStyle>
            <a:lvl1pPr marL="0" indent="0" algn="ctr">
              <a:buNone/>
              <a:defRPr sz="12000" spc="-300" baseline="0">
                <a:solidFill>
                  <a:schemeClr val="tx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15" name="Text Placeholder 12">
            <a:extLst>
              <a:ext uri="{FF2B5EF4-FFF2-40B4-BE49-F238E27FC236}">
                <a16:creationId xmlns:a16="http://schemas.microsoft.com/office/drawing/2014/main" id="{911B869A-ED46-587C-E1E8-2D7DE72DA99A}"/>
              </a:ext>
            </a:extLst>
          </p:cNvPr>
          <p:cNvSpPr>
            <a:spLocks noGrp="1"/>
          </p:cNvSpPr>
          <p:nvPr>
            <p:ph type="body" sz="quarter" idx="23"/>
          </p:nvPr>
        </p:nvSpPr>
        <p:spPr>
          <a:xfrm>
            <a:off x="8615421" y="2066987"/>
            <a:ext cx="3024000" cy="781200"/>
          </a:xfrm>
        </p:spPr>
        <p:txBody>
          <a:bodyPr/>
          <a:lstStyle>
            <a:lvl1pPr marL="0" indent="0" algn="ctr">
              <a:buNone/>
              <a:defRPr sz="1800">
                <a:solidFill>
                  <a:schemeClr val="tx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11" name="Title 1">
            <a:extLst>
              <a:ext uri="{FF2B5EF4-FFF2-40B4-BE49-F238E27FC236}">
                <a16:creationId xmlns:a16="http://schemas.microsoft.com/office/drawing/2014/main" id="{5F4A0393-5E31-B1D7-44B4-0AE64D41191E}"/>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12" name="Text Placeholder 9">
            <a:extLst>
              <a:ext uri="{FF2B5EF4-FFF2-40B4-BE49-F238E27FC236}">
                <a16:creationId xmlns:a16="http://schemas.microsoft.com/office/drawing/2014/main" id="{3EF12EEA-B717-A2D4-DD8A-8AD5480E07F4}"/>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2" name="Text Placeholder 12">
            <a:extLst>
              <a:ext uri="{FF2B5EF4-FFF2-40B4-BE49-F238E27FC236}">
                <a16:creationId xmlns:a16="http://schemas.microsoft.com/office/drawing/2014/main" id="{2C9B01AB-F676-3FF4-AEAE-E94065157406}"/>
              </a:ext>
            </a:extLst>
          </p:cNvPr>
          <p:cNvSpPr>
            <a:spLocks noGrp="1"/>
          </p:cNvSpPr>
          <p:nvPr>
            <p:ph type="body" sz="quarter" idx="14"/>
          </p:nvPr>
        </p:nvSpPr>
        <p:spPr>
          <a:xfrm>
            <a:off x="550861" y="1808163"/>
            <a:ext cx="6966375" cy="4321175"/>
          </a:xfrm>
        </p:spPr>
        <p:txBody>
          <a:bodyPr/>
          <a:lstStyle/>
          <a:p>
            <a:pPr lvl="0"/>
            <a:r>
              <a:rPr lang="en-US"/>
              <a:t>Click to edit Master text styles</a:t>
            </a:r>
          </a:p>
          <a:p>
            <a:pPr lvl="1"/>
            <a:r>
              <a:rPr lang="en-US"/>
              <a:t>Second level</a:t>
            </a:r>
          </a:p>
          <a:p>
            <a:pPr lvl="2"/>
            <a:r>
              <a:rPr lang="en-US"/>
              <a:t>Third level</a:t>
            </a:r>
          </a:p>
          <a:p>
            <a:pPr lvl="3"/>
            <a:endParaRPr lang="en-GB"/>
          </a:p>
        </p:txBody>
      </p:sp>
    </p:spTree>
    <p:extLst>
      <p:ext uri="{BB962C8B-B14F-4D97-AF65-F5344CB8AC3E}">
        <p14:creationId xmlns:p14="http://schemas.microsoft.com/office/powerpoint/2010/main" val="90114860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x Columns / 2x Big Sta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E98E49A-5FC1-C240-F8BE-AC453CAF0766}"/>
              </a:ext>
            </a:extLst>
          </p:cNvPr>
          <p:cNvSpPr/>
          <p:nvPr userDrawn="1"/>
        </p:nvSpPr>
        <p:spPr>
          <a:xfrm rot="10800000">
            <a:off x="8040683" y="0"/>
            <a:ext cx="4151314" cy="3428999"/>
          </a:xfrm>
          <a:prstGeom prst="rect">
            <a:avLst/>
          </a:prstGeom>
          <a:gradFill>
            <a:gsLst>
              <a:gs pos="85000">
                <a:schemeClr val="accent1"/>
              </a:gs>
              <a:gs pos="15000">
                <a:schemeClr val="accent3"/>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5" name="Picture 14">
            <a:extLst>
              <a:ext uri="{FF2B5EF4-FFF2-40B4-BE49-F238E27FC236}">
                <a16:creationId xmlns:a16="http://schemas.microsoft.com/office/drawing/2014/main" id="{6EA90A8E-21EE-B1AB-3E54-90DA5E7A3E20}"/>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15951" r="15951"/>
          <a:stretch/>
        </p:blipFill>
        <p:spPr>
          <a:xfrm>
            <a:off x="8040689" y="3428999"/>
            <a:ext cx="4151312" cy="3429001"/>
          </a:xfrm>
          <a:prstGeom prst="rect">
            <a:avLst/>
          </a:prstGeom>
        </p:spPr>
      </p:pic>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3906838"/>
            <a:ext cx="3024000" cy="1620837"/>
          </a:xfrm>
        </p:spPr>
        <p:txBody>
          <a:bodyPr anchor="b" anchorCtr="0"/>
          <a:lstStyle>
            <a:lvl1pPr marL="0" indent="0" algn="ctr">
              <a:buNone/>
              <a:defRPr sz="12000" spc="-300" baseline="0">
                <a:solidFill>
                  <a:schemeClr val="accent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5346701"/>
            <a:ext cx="3024000" cy="782637"/>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11" name="Title 1">
            <a:extLst>
              <a:ext uri="{FF2B5EF4-FFF2-40B4-BE49-F238E27FC236}">
                <a16:creationId xmlns:a16="http://schemas.microsoft.com/office/drawing/2014/main" id="{5F4A0393-5E31-B1D7-44B4-0AE64D41191E}"/>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12" name="Text Placeholder 9">
            <a:extLst>
              <a:ext uri="{FF2B5EF4-FFF2-40B4-BE49-F238E27FC236}">
                <a16:creationId xmlns:a16="http://schemas.microsoft.com/office/drawing/2014/main" id="{3EF12EEA-B717-A2D4-DD8A-8AD5480E07F4}"/>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E85E9EA0-2A22-199D-48CF-03EB94ECF487}"/>
              </a:ext>
            </a:extLst>
          </p:cNvPr>
          <p:cNvSpPr>
            <a:spLocks noGrp="1"/>
          </p:cNvSpPr>
          <p:nvPr>
            <p:ph type="body" sz="quarter" idx="14"/>
          </p:nvPr>
        </p:nvSpPr>
        <p:spPr>
          <a:xfrm>
            <a:off x="550864" y="1808163"/>
            <a:ext cx="3204000" cy="4321175"/>
          </a:xfrm>
        </p:spPr>
        <p:txBody>
          <a:bodyPr/>
          <a:lstStyle/>
          <a:p>
            <a:pPr lvl="0"/>
            <a:r>
              <a:rPr lang="en-US"/>
              <a:t>Click to 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269DCDE0-20E2-91A9-6591-26711B40C6C3}"/>
              </a:ext>
            </a:extLst>
          </p:cNvPr>
          <p:cNvSpPr>
            <a:spLocks noGrp="1"/>
          </p:cNvSpPr>
          <p:nvPr>
            <p:ph type="body" sz="quarter" idx="15"/>
          </p:nvPr>
        </p:nvSpPr>
        <p:spPr>
          <a:xfrm>
            <a:off x="4295774" y="1808163"/>
            <a:ext cx="3204000" cy="4321175"/>
          </a:xfrm>
        </p:spPr>
        <p:txBody>
          <a:bodyPr/>
          <a:lstStyle/>
          <a:p>
            <a:pPr lvl="0"/>
            <a:r>
              <a:rPr lang="en-US"/>
              <a:t>Click to edit Master text styles</a:t>
            </a:r>
          </a:p>
          <a:p>
            <a:pPr lvl="1"/>
            <a:r>
              <a:rPr lang="en-US"/>
              <a:t>Second level</a:t>
            </a:r>
          </a:p>
          <a:p>
            <a:pPr lvl="2"/>
            <a:r>
              <a:rPr lang="en-US"/>
              <a:t>Third level</a:t>
            </a:r>
          </a:p>
        </p:txBody>
      </p:sp>
      <p:sp>
        <p:nvSpPr>
          <p:cNvPr id="6" name="Text Placeholder 12">
            <a:extLst>
              <a:ext uri="{FF2B5EF4-FFF2-40B4-BE49-F238E27FC236}">
                <a16:creationId xmlns:a16="http://schemas.microsoft.com/office/drawing/2014/main" id="{1B23EB47-EA6A-4201-980F-A29FAC028C02}"/>
              </a:ext>
            </a:extLst>
          </p:cNvPr>
          <p:cNvSpPr>
            <a:spLocks noGrp="1"/>
          </p:cNvSpPr>
          <p:nvPr>
            <p:ph type="body" sz="quarter" idx="22" hasCustomPrompt="1"/>
          </p:nvPr>
        </p:nvSpPr>
        <p:spPr>
          <a:xfrm>
            <a:off x="8615421" y="627124"/>
            <a:ext cx="3024000" cy="1620837"/>
          </a:xfrm>
        </p:spPr>
        <p:txBody>
          <a:bodyPr anchor="b" anchorCtr="0"/>
          <a:lstStyle>
            <a:lvl1pPr marL="0" indent="0" algn="ctr">
              <a:buNone/>
              <a:defRPr sz="12000" spc="-300" baseline="0">
                <a:solidFill>
                  <a:schemeClr val="tx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7" name="Text Placeholder 12">
            <a:extLst>
              <a:ext uri="{FF2B5EF4-FFF2-40B4-BE49-F238E27FC236}">
                <a16:creationId xmlns:a16="http://schemas.microsoft.com/office/drawing/2014/main" id="{ADB540FA-D322-473E-8258-CEDC558D4B93}"/>
              </a:ext>
            </a:extLst>
          </p:cNvPr>
          <p:cNvSpPr>
            <a:spLocks noGrp="1"/>
          </p:cNvSpPr>
          <p:nvPr>
            <p:ph type="body" sz="quarter" idx="23"/>
          </p:nvPr>
        </p:nvSpPr>
        <p:spPr>
          <a:xfrm>
            <a:off x="8615421" y="2066987"/>
            <a:ext cx="3024000" cy="781200"/>
          </a:xfrm>
        </p:spPr>
        <p:txBody>
          <a:bodyPr/>
          <a:lstStyle>
            <a:lvl1pPr marL="0" indent="0" algn="ctr">
              <a:buNone/>
              <a:defRPr sz="1800">
                <a:solidFill>
                  <a:schemeClr val="tx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76013355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1 Light Image / 2x Big Sta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ADCDF42-4795-B9BB-A09E-30C7785EE34D}"/>
              </a:ext>
            </a:extLst>
          </p:cNvPr>
          <p:cNvSpPr/>
          <p:nvPr userDrawn="1"/>
        </p:nvSpPr>
        <p:spPr>
          <a:xfrm rot="10800000">
            <a:off x="8040683" y="0"/>
            <a:ext cx="4151314" cy="3428999"/>
          </a:xfrm>
          <a:prstGeom prst="rect">
            <a:avLst/>
          </a:prstGeom>
          <a:gradFill>
            <a:gsLst>
              <a:gs pos="85000">
                <a:schemeClr val="accent1"/>
              </a:gs>
              <a:gs pos="15000">
                <a:schemeClr val="accent3"/>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 name="Picture 7">
            <a:extLst>
              <a:ext uri="{FF2B5EF4-FFF2-40B4-BE49-F238E27FC236}">
                <a16:creationId xmlns:a16="http://schemas.microsoft.com/office/drawing/2014/main" id="{1FF2E5A3-55A9-35F4-3B8B-B4FDDD908EF8}"/>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15951" r="15951"/>
          <a:stretch/>
        </p:blipFill>
        <p:spPr>
          <a:xfrm>
            <a:off x="8040689" y="3428999"/>
            <a:ext cx="4151312" cy="3429001"/>
          </a:xfrm>
          <a:prstGeom prst="rect">
            <a:avLst/>
          </a:prstGeom>
        </p:spPr>
      </p:pic>
      <p:sp>
        <p:nvSpPr>
          <p:cNvPr id="7" name="Text Placeholder 12">
            <a:extLst>
              <a:ext uri="{FF2B5EF4-FFF2-40B4-BE49-F238E27FC236}">
                <a16:creationId xmlns:a16="http://schemas.microsoft.com/office/drawing/2014/main" id="{1C7CE8EE-CC8D-2E5F-9BEA-0C8DABDDFC8D}"/>
              </a:ext>
            </a:extLst>
          </p:cNvPr>
          <p:cNvSpPr>
            <a:spLocks noGrp="1"/>
          </p:cNvSpPr>
          <p:nvPr>
            <p:ph type="body" sz="quarter" idx="21" hasCustomPrompt="1"/>
          </p:nvPr>
        </p:nvSpPr>
        <p:spPr>
          <a:xfrm>
            <a:off x="8615421" y="3906838"/>
            <a:ext cx="3024000" cy="1620837"/>
          </a:xfrm>
        </p:spPr>
        <p:txBody>
          <a:bodyPr anchor="b" anchorCtr="0"/>
          <a:lstStyle>
            <a:lvl1pPr marL="0" indent="0" algn="ctr">
              <a:buNone/>
              <a:defRPr sz="12000" spc="-300" baseline="0">
                <a:solidFill>
                  <a:schemeClr val="accent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10" name="Text Placeholder 12">
            <a:extLst>
              <a:ext uri="{FF2B5EF4-FFF2-40B4-BE49-F238E27FC236}">
                <a16:creationId xmlns:a16="http://schemas.microsoft.com/office/drawing/2014/main" id="{8B54CE3D-7DB3-3908-6F56-2737E451B052}"/>
              </a:ext>
            </a:extLst>
          </p:cNvPr>
          <p:cNvSpPr>
            <a:spLocks noGrp="1"/>
          </p:cNvSpPr>
          <p:nvPr>
            <p:ph type="body" sz="quarter" idx="16"/>
          </p:nvPr>
        </p:nvSpPr>
        <p:spPr>
          <a:xfrm>
            <a:off x="8615421" y="5346701"/>
            <a:ext cx="3024000" cy="782637"/>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12" name="Text Placeholder 12">
            <a:extLst>
              <a:ext uri="{FF2B5EF4-FFF2-40B4-BE49-F238E27FC236}">
                <a16:creationId xmlns:a16="http://schemas.microsoft.com/office/drawing/2014/main" id="{294BFB3D-8653-F8BB-E3B2-7D7BFC091DBB}"/>
              </a:ext>
            </a:extLst>
          </p:cNvPr>
          <p:cNvSpPr>
            <a:spLocks noGrp="1"/>
          </p:cNvSpPr>
          <p:nvPr>
            <p:ph type="body" sz="quarter" idx="22" hasCustomPrompt="1"/>
          </p:nvPr>
        </p:nvSpPr>
        <p:spPr>
          <a:xfrm>
            <a:off x="8615421" y="627124"/>
            <a:ext cx="3024000" cy="1620837"/>
          </a:xfrm>
        </p:spPr>
        <p:txBody>
          <a:bodyPr anchor="b" anchorCtr="0"/>
          <a:lstStyle>
            <a:lvl1pPr marL="0" indent="0" algn="ctr">
              <a:buNone/>
              <a:defRPr sz="12000" spc="-300" baseline="0">
                <a:solidFill>
                  <a:schemeClr val="tx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13" name="Text Placeholder 12">
            <a:extLst>
              <a:ext uri="{FF2B5EF4-FFF2-40B4-BE49-F238E27FC236}">
                <a16:creationId xmlns:a16="http://schemas.microsoft.com/office/drawing/2014/main" id="{2415A28B-D58E-716B-17B3-97619E7F95AB}"/>
              </a:ext>
            </a:extLst>
          </p:cNvPr>
          <p:cNvSpPr>
            <a:spLocks noGrp="1"/>
          </p:cNvSpPr>
          <p:nvPr>
            <p:ph type="body" sz="quarter" idx="23"/>
          </p:nvPr>
        </p:nvSpPr>
        <p:spPr>
          <a:xfrm>
            <a:off x="8615421" y="2066987"/>
            <a:ext cx="3024000" cy="781200"/>
          </a:xfrm>
        </p:spPr>
        <p:txBody>
          <a:bodyPr/>
          <a:lstStyle>
            <a:lvl1pPr marL="0" indent="0" algn="ctr">
              <a:buNone/>
              <a:defRPr sz="1800">
                <a:solidFill>
                  <a:schemeClr val="tx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2" name="Rectangle 1">
            <a:extLst>
              <a:ext uri="{FF2B5EF4-FFF2-40B4-BE49-F238E27FC236}">
                <a16:creationId xmlns:a16="http://schemas.microsoft.com/office/drawing/2014/main" id="{31AA0871-DF4F-3D16-30B1-C25E0C64F490}"/>
              </a:ext>
            </a:extLst>
          </p:cNvPr>
          <p:cNvSpPr/>
          <p:nvPr userDrawn="1"/>
        </p:nvSpPr>
        <p:spPr>
          <a:xfrm>
            <a:off x="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3" name="Picture Placeholder 42">
            <a:extLst>
              <a:ext uri="{FF2B5EF4-FFF2-40B4-BE49-F238E27FC236}">
                <a16:creationId xmlns:a16="http://schemas.microsoft.com/office/drawing/2014/main" id="{C6FE3766-7949-D482-997B-F037BAB90A2C}"/>
              </a:ext>
            </a:extLst>
          </p:cNvPr>
          <p:cNvSpPr>
            <a:spLocks noGrp="1"/>
          </p:cNvSpPr>
          <p:nvPr>
            <p:ph type="pic" sz="quarter" idx="20" hasCustomPrompt="1"/>
          </p:nvPr>
        </p:nvSpPr>
        <p:spPr>
          <a:xfrm>
            <a:off x="0" y="0"/>
            <a:ext cx="8040688" cy="6858000"/>
          </a:xfrm>
          <a:custGeom>
            <a:avLst/>
            <a:gdLst>
              <a:gd name="connsiteX0" fmla="*/ 1592699 w 8040688"/>
              <a:gd name="connsiteY0" fmla="*/ 6492423 h 6858000"/>
              <a:gd name="connsiteX1" fmla="*/ 1592699 w 8040688"/>
              <a:gd name="connsiteY1" fmla="*/ 6501164 h 6858000"/>
              <a:gd name="connsiteX2" fmla="*/ 1592546 w 8040688"/>
              <a:gd name="connsiteY2" fmla="*/ 6504388 h 6858000"/>
              <a:gd name="connsiteX3" fmla="*/ 1568857 w 8040688"/>
              <a:gd name="connsiteY3" fmla="*/ 6522619 h 6858000"/>
              <a:gd name="connsiteX4" fmla="*/ 1551438 w 8040688"/>
              <a:gd name="connsiteY4" fmla="*/ 6508315 h 6858000"/>
              <a:gd name="connsiteX5" fmla="*/ 1568857 w 8040688"/>
              <a:gd name="connsiteY5" fmla="*/ 6495071 h 6858000"/>
              <a:gd name="connsiteX6" fmla="*/ 1581983 w 8040688"/>
              <a:gd name="connsiteY6" fmla="*/ 6495071 h 6858000"/>
              <a:gd name="connsiteX7" fmla="*/ 1592699 w 8040688"/>
              <a:gd name="connsiteY7" fmla="*/ 6492423 h 6858000"/>
              <a:gd name="connsiteX8" fmla="*/ 1172060 w 8040688"/>
              <a:gd name="connsiteY8" fmla="*/ 6492423 h 6858000"/>
              <a:gd name="connsiteX9" fmla="*/ 1172060 w 8040688"/>
              <a:gd name="connsiteY9" fmla="*/ 6501164 h 6858000"/>
              <a:gd name="connsiteX10" fmla="*/ 1171906 w 8040688"/>
              <a:gd name="connsiteY10" fmla="*/ 6504389 h 6858000"/>
              <a:gd name="connsiteX11" fmla="*/ 1148216 w 8040688"/>
              <a:gd name="connsiteY11" fmla="*/ 6522619 h 6858000"/>
              <a:gd name="connsiteX12" fmla="*/ 1130802 w 8040688"/>
              <a:gd name="connsiteY12" fmla="*/ 6508315 h 6858000"/>
              <a:gd name="connsiteX13" fmla="*/ 1148216 w 8040688"/>
              <a:gd name="connsiteY13" fmla="*/ 6495071 h 6858000"/>
              <a:gd name="connsiteX14" fmla="*/ 1161343 w 8040688"/>
              <a:gd name="connsiteY14" fmla="*/ 6495071 h 6858000"/>
              <a:gd name="connsiteX15" fmla="*/ 1172060 w 8040688"/>
              <a:gd name="connsiteY15" fmla="*/ 6492423 h 6858000"/>
              <a:gd name="connsiteX16" fmla="*/ 1796056 w 8040688"/>
              <a:gd name="connsiteY16" fmla="*/ 6448718 h 6858000"/>
              <a:gd name="connsiteX17" fmla="*/ 1823115 w 8040688"/>
              <a:gd name="connsiteY17" fmla="*/ 6470969 h 6858000"/>
              <a:gd name="connsiteX18" fmla="*/ 1768190 w 8040688"/>
              <a:gd name="connsiteY18" fmla="*/ 6470969 h 6858000"/>
              <a:gd name="connsiteX19" fmla="*/ 1796056 w 8040688"/>
              <a:gd name="connsiteY19" fmla="*/ 6448718 h 6858000"/>
              <a:gd name="connsiteX20" fmla="*/ 1385331 w 8040688"/>
              <a:gd name="connsiteY20" fmla="*/ 6423290 h 6858000"/>
              <a:gd name="connsiteX21" fmla="*/ 1427128 w 8040688"/>
              <a:gd name="connsiteY21" fmla="*/ 6544605 h 6858000"/>
              <a:gd name="connsiteX22" fmla="*/ 1470261 w 8040688"/>
              <a:gd name="connsiteY22" fmla="*/ 6544605 h 6858000"/>
              <a:gd name="connsiteX23" fmla="*/ 1513932 w 8040688"/>
              <a:gd name="connsiteY23" fmla="*/ 6423290 h 6858000"/>
              <a:gd name="connsiteX24" fmla="*/ 1477223 w 8040688"/>
              <a:gd name="connsiteY24" fmla="*/ 6423290 h 6858000"/>
              <a:gd name="connsiteX25" fmla="*/ 1449367 w 8040688"/>
              <a:gd name="connsiteY25" fmla="*/ 6507521 h 6858000"/>
              <a:gd name="connsiteX26" fmla="*/ 1423104 w 8040688"/>
              <a:gd name="connsiteY26" fmla="*/ 6423290 h 6858000"/>
              <a:gd name="connsiteX27" fmla="*/ 1319153 w 8040688"/>
              <a:gd name="connsiteY27" fmla="*/ 6423290 h 6858000"/>
              <a:gd name="connsiteX28" fmla="*/ 1319153 w 8040688"/>
              <a:gd name="connsiteY28" fmla="*/ 6452426 h 6858000"/>
              <a:gd name="connsiteX29" fmla="*/ 1336299 w 8040688"/>
              <a:gd name="connsiteY29" fmla="*/ 6452426 h 6858000"/>
              <a:gd name="connsiteX30" fmla="*/ 1336299 w 8040688"/>
              <a:gd name="connsiteY30" fmla="*/ 6544604 h 6858000"/>
              <a:gd name="connsiteX31" fmla="*/ 1371127 w 8040688"/>
              <a:gd name="connsiteY31" fmla="*/ 6544604 h 6858000"/>
              <a:gd name="connsiteX32" fmla="*/ 1371127 w 8040688"/>
              <a:gd name="connsiteY32" fmla="*/ 6423290 h 6858000"/>
              <a:gd name="connsiteX33" fmla="*/ 1293161 w 8040688"/>
              <a:gd name="connsiteY33" fmla="*/ 6421700 h 6858000"/>
              <a:gd name="connsiteX34" fmla="*/ 1261280 w 8040688"/>
              <a:gd name="connsiteY34" fmla="*/ 6442626 h 6858000"/>
              <a:gd name="connsiteX35" fmla="*/ 1261280 w 8040688"/>
              <a:gd name="connsiteY35" fmla="*/ 6423290 h 6858000"/>
              <a:gd name="connsiteX36" fmla="*/ 1227522 w 8040688"/>
              <a:gd name="connsiteY36" fmla="*/ 6423290 h 6858000"/>
              <a:gd name="connsiteX37" fmla="*/ 1227522 w 8040688"/>
              <a:gd name="connsiteY37" fmla="*/ 6544604 h 6858000"/>
              <a:gd name="connsiteX38" fmla="*/ 1262352 w 8040688"/>
              <a:gd name="connsiteY38" fmla="*/ 6544604 h 6858000"/>
              <a:gd name="connsiteX39" fmla="*/ 1262352 w 8040688"/>
              <a:gd name="connsiteY39" fmla="*/ 6486596 h 6858000"/>
              <a:gd name="connsiteX40" fmla="*/ 1288073 w 8040688"/>
              <a:gd name="connsiteY40" fmla="*/ 6457194 h 6858000"/>
              <a:gd name="connsiteX41" fmla="*/ 1302808 w 8040688"/>
              <a:gd name="connsiteY41" fmla="*/ 6457194 h 6858000"/>
              <a:gd name="connsiteX42" fmla="*/ 1302808 w 8040688"/>
              <a:gd name="connsiteY42" fmla="*/ 6422760 h 6858000"/>
              <a:gd name="connsiteX43" fmla="*/ 1293161 w 8040688"/>
              <a:gd name="connsiteY43" fmla="*/ 6421700 h 6858000"/>
              <a:gd name="connsiteX44" fmla="*/ 1796056 w 8040688"/>
              <a:gd name="connsiteY44" fmla="*/ 6420112 h 6858000"/>
              <a:gd name="connsiteX45" fmla="*/ 1791956 w 8040688"/>
              <a:gd name="connsiteY45" fmla="*/ 6420138 h 6858000"/>
              <a:gd name="connsiteX46" fmla="*/ 1732297 w 8040688"/>
              <a:gd name="connsiteY46" fmla="*/ 6483948 h 6858000"/>
              <a:gd name="connsiteX47" fmla="*/ 1770879 w 8040688"/>
              <a:gd name="connsiteY47" fmla="*/ 6541990 h 6858000"/>
              <a:gd name="connsiteX48" fmla="*/ 1857943 w 8040688"/>
              <a:gd name="connsiteY48" fmla="*/ 6509641 h 6858000"/>
              <a:gd name="connsiteX49" fmla="*/ 1821781 w 8040688"/>
              <a:gd name="connsiteY49" fmla="*/ 6505933 h 6858000"/>
              <a:gd name="connsiteX50" fmla="*/ 1802269 w 8040688"/>
              <a:gd name="connsiteY50" fmla="*/ 6518046 h 6858000"/>
              <a:gd name="connsiteX51" fmla="*/ 1768997 w 8040688"/>
              <a:gd name="connsiteY51" fmla="*/ 6494013 h 6858000"/>
              <a:gd name="connsiteX52" fmla="*/ 1860353 w 8040688"/>
              <a:gd name="connsiteY52" fmla="*/ 6494013 h 6858000"/>
              <a:gd name="connsiteX53" fmla="*/ 1860353 w 8040688"/>
              <a:gd name="connsiteY53" fmla="*/ 6492689 h 6858000"/>
              <a:gd name="connsiteX54" fmla="*/ 1796056 w 8040688"/>
              <a:gd name="connsiteY54" fmla="*/ 6420112 h 6858000"/>
              <a:gd name="connsiteX55" fmla="*/ 1574215 w 8040688"/>
              <a:gd name="connsiteY55" fmla="*/ 6420111 h 6858000"/>
              <a:gd name="connsiteX56" fmla="*/ 1521700 w 8040688"/>
              <a:gd name="connsiteY56" fmla="*/ 6434944 h 6858000"/>
              <a:gd name="connsiteX57" fmla="*/ 1535364 w 8040688"/>
              <a:gd name="connsiteY57" fmla="*/ 6460902 h 6858000"/>
              <a:gd name="connsiteX58" fmla="*/ 1572342 w 8040688"/>
              <a:gd name="connsiteY58" fmla="*/ 6449512 h 6858000"/>
              <a:gd name="connsiteX59" fmla="*/ 1592699 w 8040688"/>
              <a:gd name="connsiteY59" fmla="*/ 6463816 h 6858000"/>
              <a:gd name="connsiteX60" fmla="*/ 1592699 w 8040688"/>
              <a:gd name="connsiteY60" fmla="*/ 6465140 h 6858000"/>
              <a:gd name="connsiteX61" fmla="*/ 1584124 w 8040688"/>
              <a:gd name="connsiteY61" fmla="*/ 6472292 h 6858000"/>
              <a:gd name="connsiteX62" fmla="*/ 1560013 w 8040688"/>
              <a:gd name="connsiteY62" fmla="*/ 6472292 h 6858000"/>
              <a:gd name="connsiteX63" fmla="*/ 1515545 w 8040688"/>
              <a:gd name="connsiteY63" fmla="*/ 6509640 h 6858000"/>
              <a:gd name="connsiteX64" fmla="*/ 1515603 w 8040688"/>
              <a:gd name="connsiteY64" fmla="*/ 6510750 h 6858000"/>
              <a:gd name="connsiteX65" fmla="*/ 1558409 w 8040688"/>
              <a:gd name="connsiteY65" fmla="*/ 6547782 h 6858000"/>
              <a:gd name="connsiteX66" fmla="*/ 1592699 w 8040688"/>
              <a:gd name="connsiteY66" fmla="*/ 6533214 h 6858000"/>
              <a:gd name="connsiteX67" fmla="*/ 1592699 w 8040688"/>
              <a:gd name="connsiteY67" fmla="*/ 6544604 h 6858000"/>
              <a:gd name="connsiteX68" fmla="*/ 1627527 w 8040688"/>
              <a:gd name="connsiteY68" fmla="*/ 6544604 h 6858000"/>
              <a:gd name="connsiteX69" fmla="*/ 1627527 w 8040688"/>
              <a:gd name="connsiteY69" fmla="*/ 6464875 h 6858000"/>
              <a:gd name="connsiteX70" fmla="*/ 1574215 w 8040688"/>
              <a:gd name="connsiteY70" fmla="*/ 6420111 h 6858000"/>
              <a:gd name="connsiteX71" fmla="*/ 1153574 w 8040688"/>
              <a:gd name="connsiteY71" fmla="*/ 6420111 h 6858000"/>
              <a:gd name="connsiteX72" fmla="*/ 1101062 w 8040688"/>
              <a:gd name="connsiteY72" fmla="*/ 6434944 h 6858000"/>
              <a:gd name="connsiteX73" fmla="*/ 1114726 w 8040688"/>
              <a:gd name="connsiteY73" fmla="*/ 6460902 h 6858000"/>
              <a:gd name="connsiteX74" fmla="*/ 1151699 w 8040688"/>
              <a:gd name="connsiteY74" fmla="*/ 6449512 h 6858000"/>
              <a:gd name="connsiteX75" fmla="*/ 1172060 w 8040688"/>
              <a:gd name="connsiteY75" fmla="*/ 6463816 h 6858000"/>
              <a:gd name="connsiteX76" fmla="*/ 1172060 w 8040688"/>
              <a:gd name="connsiteY76" fmla="*/ 6465140 h 6858000"/>
              <a:gd name="connsiteX77" fmla="*/ 1163487 w 8040688"/>
              <a:gd name="connsiteY77" fmla="*/ 6472292 h 6858000"/>
              <a:gd name="connsiteX78" fmla="*/ 1139375 w 8040688"/>
              <a:gd name="connsiteY78" fmla="*/ 6472292 h 6858000"/>
              <a:gd name="connsiteX79" fmla="*/ 1094901 w 8040688"/>
              <a:gd name="connsiteY79" fmla="*/ 6509640 h 6858000"/>
              <a:gd name="connsiteX80" fmla="*/ 1094960 w 8040688"/>
              <a:gd name="connsiteY80" fmla="*/ 6510749 h 6858000"/>
              <a:gd name="connsiteX81" fmla="*/ 1137766 w 8040688"/>
              <a:gd name="connsiteY81" fmla="*/ 6547782 h 6858000"/>
              <a:gd name="connsiteX82" fmla="*/ 1172060 w 8040688"/>
              <a:gd name="connsiteY82" fmla="*/ 6533214 h 6858000"/>
              <a:gd name="connsiteX83" fmla="*/ 1172060 w 8040688"/>
              <a:gd name="connsiteY83" fmla="*/ 6544604 h 6858000"/>
              <a:gd name="connsiteX84" fmla="*/ 1206890 w 8040688"/>
              <a:gd name="connsiteY84" fmla="*/ 6544604 h 6858000"/>
              <a:gd name="connsiteX85" fmla="*/ 1206890 w 8040688"/>
              <a:gd name="connsiteY85" fmla="*/ 6464875 h 6858000"/>
              <a:gd name="connsiteX86" fmla="*/ 1153574 w 8040688"/>
              <a:gd name="connsiteY86" fmla="*/ 6420111 h 6858000"/>
              <a:gd name="connsiteX87" fmla="*/ 568575 w 8040688"/>
              <a:gd name="connsiteY87" fmla="*/ 6383429 h 6858000"/>
              <a:gd name="connsiteX88" fmla="*/ 568549 w 8040688"/>
              <a:gd name="connsiteY88" fmla="*/ 6520396 h 6858000"/>
              <a:gd name="connsiteX89" fmla="*/ 624511 w 8040688"/>
              <a:gd name="connsiteY89" fmla="*/ 6519097 h 6858000"/>
              <a:gd name="connsiteX90" fmla="*/ 618898 w 8040688"/>
              <a:gd name="connsiteY90" fmla="*/ 6402004 h 6858000"/>
              <a:gd name="connsiteX91" fmla="*/ 624479 w 8040688"/>
              <a:gd name="connsiteY91" fmla="*/ 6384725 h 6858000"/>
              <a:gd name="connsiteX92" fmla="*/ 568575 w 8040688"/>
              <a:gd name="connsiteY92" fmla="*/ 6383429 h 6858000"/>
              <a:gd name="connsiteX93" fmla="*/ 1659953 w 8040688"/>
              <a:gd name="connsiteY93" fmla="*/ 6377201 h 6858000"/>
              <a:gd name="connsiteX94" fmla="*/ 1659953 w 8040688"/>
              <a:gd name="connsiteY94" fmla="*/ 6423290 h 6858000"/>
              <a:gd name="connsiteX95" fmla="*/ 1640662 w 8040688"/>
              <a:gd name="connsiteY95" fmla="*/ 6423290 h 6858000"/>
              <a:gd name="connsiteX96" fmla="*/ 1640662 w 8040688"/>
              <a:gd name="connsiteY96" fmla="*/ 6452426 h 6858000"/>
              <a:gd name="connsiteX97" fmla="*/ 1659953 w 8040688"/>
              <a:gd name="connsiteY97" fmla="*/ 6452426 h 6858000"/>
              <a:gd name="connsiteX98" fmla="*/ 1659953 w 8040688"/>
              <a:gd name="connsiteY98" fmla="*/ 6518911 h 6858000"/>
              <a:gd name="connsiteX99" fmla="*/ 1695318 w 8040688"/>
              <a:gd name="connsiteY99" fmla="*/ 6546194 h 6858000"/>
              <a:gd name="connsiteX100" fmla="*/ 1722377 w 8040688"/>
              <a:gd name="connsiteY100" fmla="*/ 6544604 h 6858000"/>
              <a:gd name="connsiteX101" fmla="*/ 1722377 w 8040688"/>
              <a:gd name="connsiteY101" fmla="*/ 6515203 h 6858000"/>
              <a:gd name="connsiteX102" fmla="*/ 1706303 w 8040688"/>
              <a:gd name="connsiteY102" fmla="*/ 6515998 h 6858000"/>
              <a:gd name="connsiteX103" fmla="*/ 1694780 w 8040688"/>
              <a:gd name="connsiteY103" fmla="*/ 6507256 h 6858000"/>
              <a:gd name="connsiteX104" fmla="*/ 1694780 w 8040688"/>
              <a:gd name="connsiteY104" fmla="*/ 6452426 h 6858000"/>
              <a:gd name="connsiteX105" fmla="*/ 1721302 w 8040688"/>
              <a:gd name="connsiteY105" fmla="*/ 6452426 h 6858000"/>
              <a:gd name="connsiteX106" fmla="*/ 1721302 w 8040688"/>
              <a:gd name="connsiteY106" fmla="*/ 6423290 h 6858000"/>
              <a:gd name="connsiteX107" fmla="*/ 1694780 w 8040688"/>
              <a:gd name="connsiteY107" fmla="*/ 6423290 h 6858000"/>
              <a:gd name="connsiteX108" fmla="*/ 1694780 w 8040688"/>
              <a:gd name="connsiteY108" fmla="*/ 6377201 h 6858000"/>
              <a:gd name="connsiteX109" fmla="*/ 1884617 w 8040688"/>
              <a:gd name="connsiteY109" fmla="*/ 6359355 h 6858000"/>
              <a:gd name="connsiteX110" fmla="*/ 1884617 w 8040688"/>
              <a:gd name="connsiteY110" fmla="*/ 6392335 h 6858000"/>
              <a:gd name="connsiteX111" fmla="*/ 1893998 w 8040688"/>
              <a:gd name="connsiteY111" fmla="*/ 6392335 h 6858000"/>
              <a:gd name="connsiteX112" fmla="*/ 1893998 w 8040688"/>
              <a:gd name="connsiteY112" fmla="*/ 6373492 h 6858000"/>
              <a:gd name="connsiteX113" fmla="*/ 1898291 w 8040688"/>
              <a:gd name="connsiteY113" fmla="*/ 6385270 h 6858000"/>
              <a:gd name="connsiteX114" fmla="*/ 1905819 w 8040688"/>
              <a:gd name="connsiteY114" fmla="*/ 6385270 h 6858000"/>
              <a:gd name="connsiteX115" fmla="*/ 1910111 w 8040688"/>
              <a:gd name="connsiteY115" fmla="*/ 6373492 h 6858000"/>
              <a:gd name="connsiteX116" fmla="*/ 1910111 w 8040688"/>
              <a:gd name="connsiteY116" fmla="*/ 6392335 h 6858000"/>
              <a:gd name="connsiteX117" fmla="*/ 1919685 w 8040688"/>
              <a:gd name="connsiteY117" fmla="*/ 6392335 h 6858000"/>
              <a:gd name="connsiteX118" fmla="*/ 1919685 w 8040688"/>
              <a:gd name="connsiteY118" fmla="*/ 6359355 h 6858000"/>
              <a:gd name="connsiteX119" fmla="*/ 1907566 w 8040688"/>
              <a:gd name="connsiteY119" fmla="*/ 6359355 h 6858000"/>
              <a:gd name="connsiteX120" fmla="*/ 1902362 w 8040688"/>
              <a:gd name="connsiteY120" fmla="*/ 6373114 h 6858000"/>
              <a:gd name="connsiteX121" fmla="*/ 1897494 w 8040688"/>
              <a:gd name="connsiteY121" fmla="*/ 6359355 h 6858000"/>
              <a:gd name="connsiteX122" fmla="*/ 1850683 w 8040688"/>
              <a:gd name="connsiteY122" fmla="*/ 6359355 h 6858000"/>
              <a:gd name="connsiteX123" fmla="*/ 1850683 w 8040688"/>
              <a:gd name="connsiteY123" fmla="*/ 6367929 h 6858000"/>
              <a:gd name="connsiteX124" fmla="*/ 1860074 w 8040688"/>
              <a:gd name="connsiteY124" fmla="*/ 6367929 h 6858000"/>
              <a:gd name="connsiteX125" fmla="*/ 1860074 w 8040688"/>
              <a:gd name="connsiteY125" fmla="*/ 6392335 h 6858000"/>
              <a:gd name="connsiteX126" fmla="*/ 1869839 w 8040688"/>
              <a:gd name="connsiteY126" fmla="*/ 6392335 h 6858000"/>
              <a:gd name="connsiteX127" fmla="*/ 1869839 w 8040688"/>
              <a:gd name="connsiteY127" fmla="*/ 6367929 h 6858000"/>
              <a:gd name="connsiteX128" fmla="*/ 1879230 w 8040688"/>
              <a:gd name="connsiteY128" fmla="*/ 6367929 h 6858000"/>
              <a:gd name="connsiteX129" fmla="*/ 1879230 w 8040688"/>
              <a:gd name="connsiteY129" fmla="*/ 6359355 h 6858000"/>
              <a:gd name="connsiteX130" fmla="*/ 1352105 w 8040688"/>
              <a:gd name="connsiteY130" fmla="*/ 6359189 h 6858000"/>
              <a:gd name="connsiteX131" fmla="*/ 1329868 w 8040688"/>
              <a:gd name="connsiteY131" fmla="*/ 6381439 h 6858000"/>
              <a:gd name="connsiteX132" fmla="*/ 1352108 w 8040688"/>
              <a:gd name="connsiteY132" fmla="*/ 6403427 h 6858000"/>
              <a:gd name="connsiteX133" fmla="*/ 1374610 w 8040688"/>
              <a:gd name="connsiteY133" fmla="*/ 6381439 h 6858000"/>
              <a:gd name="connsiteX134" fmla="*/ 1374610 w 8040688"/>
              <a:gd name="connsiteY134" fmla="*/ 6381364 h 6858000"/>
              <a:gd name="connsiteX135" fmla="*/ 1352105 w 8040688"/>
              <a:gd name="connsiteY135" fmla="*/ 6359189 h 6858000"/>
              <a:gd name="connsiteX136" fmla="*/ 1041583 w 8040688"/>
              <a:gd name="connsiteY136" fmla="*/ 6359189 h 6858000"/>
              <a:gd name="connsiteX137" fmla="*/ 1041583 w 8040688"/>
              <a:gd name="connsiteY137" fmla="*/ 6544604 h 6858000"/>
              <a:gd name="connsiteX138" fmla="*/ 1076143 w 8040688"/>
              <a:gd name="connsiteY138" fmla="*/ 6544604 h 6858000"/>
              <a:gd name="connsiteX139" fmla="*/ 1076143 w 8040688"/>
              <a:gd name="connsiteY139" fmla="*/ 6359189 h 6858000"/>
              <a:gd name="connsiteX140" fmla="*/ 925239 w 8040688"/>
              <a:gd name="connsiteY140" fmla="*/ 6355990 h 6858000"/>
              <a:gd name="connsiteX141" fmla="*/ 832602 w 8040688"/>
              <a:gd name="connsiteY141" fmla="*/ 6451897 h 6858000"/>
              <a:gd name="connsiteX142" fmla="*/ 832623 w 8040688"/>
              <a:gd name="connsiteY142" fmla="*/ 6456990 h 6858000"/>
              <a:gd name="connsiteX143" fmla="*/ 930389 w 8040688"/>
              <a:gd name="connsiteY143" fmla="*/ 6547783 h 6858000"/>
              <a:gd name="connsiteX144" fmla="*/ 1022285 w 8040688"/>
              <a:gd name="connsiteY144" fmla="*/ 6478650 h 6858000"/>
              <a:gd name="connsiteX145" fmla="*/ 981294 w 8040688"/>
              <a:gd name="connsiteY145" fmla="*/ 6478650 h 6858000"/>
              <a:gd name="connsiteX146" fmla="*/ 930389 w 8040688"/>
              <a:gd name="connsiteY146" fmla="*/ 6513878 h 6858000"/>
              <a:gd name="connsiteX147" fmla="*/ 871450 w 8040688"/>
              <a:gd name="connsiteY147" fmla="*/ 6451897 h 6858000"/>
              <a:gd name="connsiteX148" fmla="*/ 930389 w 8040688"/>
              <a:gd name="connsiteY148" fmla="*/ 6389916 h 6858000"/>
              <a:gd name="connsiteX149" fmla="*/ 981294 w 8040688"/>
              <a:gd name="connsiteY149" fmla="*/ 6425144 h 6858000"/>
              <a:gd name="connsiteX150" fmla="*/ 1022285 w 8040688"/>
              <a:gd name="connsiteY150" fmla="*/ 6425144 h 6858000"/>
              <a:gd name="connsiteX151" fmla="*/ 930389 w 8040688"/>
              <a:gd name="connsiteY151" fmla="*/ 6356011 h 6858000"/>
              <a:gd name="connsiteX152" fmla="*/ 925239 w 8040688"/>
              <a:gd name="connsiteY152" fmla="*/ 6355990 h 6858000"/>
              <a:gd name="connsiteX153" fmla="*/ 651232 w 8040688"/>
              <a:gd name="connsiteY153" fmla="*/ 6336161 h 6858000"/>
              <a:gd name="connsiteX154" fmla="*/ 624479 w 8040688"/>
              <a:gd name="connsiteY154" fmla="*/ 6384726 h 6858000"/>
              <a:gd name="connsiteX155" fmla="*/ 742033 w 8040688"/>
              <a:gd name="connsiteY155" fmla="*/ 6451914 h 6858000"/>
              <a:gd name="connsiteX156" fmla="*/ 624512 w 8040688"/>
              <a:gd name="connsiteY156" fmla="*/ 6519097 h 6858000"/>
              <a:gd name="connsiteX157" fmla="*/ 651373 w 8040688"/>
              <a:gd name="connsiteY157" fmla="*/ 6567631 h 6858000"/>
              <a:gd name="connsiteX158" fmla="*/ 771228 w 8040688"/>
              <a:gd name="connsiteY158" fmla="*/ 6499136 h 6858000"/>
              <a:gd name="connsiteX159" fmla="*/ 742033 w 8040688"/>
              <a:gd name="connsiteY159" fmla="*/ 6451914 h 6858000"/>
              <a:gd name="connsiteX160" fmla="*/ 771227 w 8040688"/>
              <a:gd name="connsiteY160" fmla="*/ 6404692 h 6858000"/>
              <a:gd name="connsiteX161" fmla="*/ 651232 w 8040688"/>
              <a:gd name="connsiteY161" fmla="*/ 6336161 h 6858000"/>
              <a:gd name="connsiteX162" fmla="*/ 0 w 8040688"/>
              <a:gd name="connsiteY162" fmla="*/ 0 h 6858000"/>
              <a:gd name="connsiteX163" fmla="*/ 8040688 w 8040688"/>
              <a:gd name="connsiteY163" fmla="*/ 0 h 6858000"/>
              <a:gd name="connsiteX164" fmla="*/ 8040688 w 8040688"/>
              <a:gd name="connsiteY164" fmla="*/ 6858000 h 6858000"/>
              <a:gd name="connsiteX165" fmla="*/ 0 w 8040688"/>
              <a:gd name="connsiteY16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Lst>
            <a:rect l="l" t="t" r="r" b="b"/>
            <a:pathLst>
              <a:path w="8040688" h="6858000">
                <a:moveTo>
                  <a:pt x="1592699" y="6492423"/>
                </a:moveTo>
                <a:lnTo>
                  <a:pt x="1592699" y="6501164"/>
                </a:lnTo>
                <a:cubicBezTo>
                  <a:pt x="1592738" y="6502241"/>
                  <a:pt x="1592680" y="6503319"/>
                  <a:pt x="1592546" y="6504388"/>
                </a:cubicBezTo>
                <a:cubicBezTo>
                  <a:pt x="1591096" y="6515890"/>
                  <a:pt x="1580495" y="6524053"/>
                  <a:pt x="1568857" y="6522619"/>
                </a:cubicBezTo>
                <a:cubicBezTo>
                  <a:pt x="1558141" y="6522619"/>
                  <a:pt x="1551438" y="6516526"/>
                  <a:pt x="1551438" y="6508315"/>
                </a:cubicBezTo>
                <a:cubicBezTo>
                  <a:pt x="1551438" y="6499839"/>
                  <a:pt x="1557872" y="6495071"/>
                  <a:pt x="1568857" y="6495071"/>
                </a:cubicBezTo>
                <a:lnTo>
                  <a:pt x="1581983" y="6495071"/>
                </a:lnTo>
                <a:cubicBezTo>
                  <a:pt x="1585766" y="6495554"/>
                  <a:pt x="1589598" y="6494609"/>
                  <a:pt x="1592699" y="6492423"/>
                </a:cubicBezTo>
                <a:close/>
                <a:moveTo>
                  <a:pt x="1172060" y="6492423"/>
                </a:moveTo>
                <a:lnTo>
                  <a:pt x="1172060" y="6501164"/>
                </a:lnTo>
                <a:cubicBezTo>
                  <a:pt x="1172093" y="6502242"/>
                  <a:pt x="1172042" y="6503320"/>
                  <a:pt x="1171906" y="6504389"/>
                </a:cubicBezTo>
                <a:cubicBezTo>
                  <a:pt x="1170456" y="6515891"/>
                  <a:pt x="1159850" y="6524053"/>
                  <a:pt x="1148216" y="6522619"/>
                </a:cubicBezTo>
                <a:cubicBezTo>
                  <a:pt x="1137499" y="6522619"/>
                  <a:pt x="1130802" y="6516526"/>
                  <a:pt x="1130802" y="6508315"/>
                </a:cubicBezTo>
                <a:cubicBezTo>
                  <a:pt x="1130802" y="6499839"/>
                  <a:pt x="1137232" y="6495071"/>
                  <a:pt x="1148216" y="6495071"/>
                </a:cubicBezTo>
                <a:lnTo>
                  <a:pt x="1161343" y="6495071"/>
                </a:lnTo>
                <a:cubicBezTo>
                  <a:pt x="1165125" y="6495554"/>
                  <a:pt x="1168953" y="6494609"/>
                  <a:pt x="1172060" y="6492423"/>
                </a:cubicBezTo>
                <a:close/>
                <a:moveTo>
                  <a:pt x="1796056" y="6448718"/>
                </a:moveTo>
                <a:cubicBezTo>
                  <a:pt x="1809461" y="6448340"/>
                  <a:pt x="1821051" y="6457873"/>
                  <a:pt x="1823115" y="6470969"/>
                </a:cubicBezTo>
                <a:lnTo>
                  <a:pt x="1768190" y="6470969"/>
                </a:lnTo>
                <a:cubicBezTo>
                  <a:pt x="1770601" y="6457738"/>
                  <a:pt x="1782469" y="6448261"/>
                  <a:pt x="1796056" y="6448718"/>
                </a:cubicBezTo>
                <a:close/>
                <a:moveTo>
                  <a:pt x="1385331" y="6423290"/>
                </a:moveTo>
                <a:lnTo>
                  <a:pt x="1427128" y="6544605"/>
                </a:lnTo>
                <a:lnTo>
                  <a:pt x="1470261" y="6544605"/>
                </a:lnTo>
                <a:lnTo>
                  <a:pt x="1513932" y="6423290"/>
                </a:lnTo>
                <a:lnTo>
                  <a:pt x="1477223" y="6423290"/>
                </a:lnTo>
                <a:lnTo>
                  <a:pt x="1449367" y="6507521"/>
                </a:lnTo>
                <a:lnTo>
                  <a:pt x="1423104" y="6423290"/>
                </a:lnTo>
                <a:close/>
                <a:moveTo>
                  <a:pt x="1319153" y="6423290"/>
                </a:moveTo>
                <a:lnTo>
                  <a:pt x="1319153" y="6452426"/>
                </a:lnTo>
                <a:lnTo>
                  <a:pt x="1336299" y="6452426"/>
                </a:lnTo>
                <a:lnTo>
                  <a:pt x="1336299" y="6544604"/>
                </a:lnTo>
                <a:lnTo>
                  <a:pt x="1371127" y="6544604"/>
                </a:lnTo>
                <a:lnTo>
                  <a:pt x="1371127" y="6423290"/>
                </a:lnTo>
                <a:close/>
                <a:moveTo>
                  <a:pt x="1293161" y="6421700"/>
                </a:moveTo>
                <a:cubicBezTo>
                  <a:pt x="1279051" y="6421037"/>
                  <a:pt x="1266138" y="6429512"/>
                  <a:pt x="1261280" y="6442626"/>
                </a:cubicBezTo>
                <a:lnTo>
                  <a:pt x="1261280" y="6423290"/>
                </a:lnTo>
                <a:lnTo>
                  <a:pt x="1227522" y="6423290"/>
                </a:lnTo>
                <a:lnTo>
                  <a:pt x="1227522" y="6544604"/>
                </a:lnTo>
                <a:lnTo>
                  <a:pt x="1262352" y="6544604"/>
                </a:lnTo>
                <a:lnTo>
                  <a:pt x="1262352" y="6486596"/>
                </a:lnTo>
                <a:cubicBezTo>
                  <a:pt x="1262352" y="6465405"/>
                  <a:pt x="1270389" y="6457194"/>
                  <a:pt x="1288073" y="6457194"/>
                </a:cubicBezTo>
                <a:lnTo>
                  <a:pt x="1302808" y="6457194"/>
                </a:lnTo>
                <a:lnTo>
                  <a:pt x="1302808" y="6422760"/>
                </a:lnTo>
                <a:cubicBezTo>
                  <a:pt x="1299648" y="6422016"/>
                  <a:pt x="1296409" y="6421660"/>
                  <a:pt x="1293161" y="6421700"/>
                </a:cubicBezTo>
                <a:close/>
                <a:moveTo>
                  <a:pt x="1796056" y="6420112"/>
                </a:moveTo>
                <a:cubicBezTo>
                  <a:pt x="1794693" y="6420076"/>
                  <a:pt x="1793320" y="6420084"/>
                  <a:pt x="1791956" y="6420138"/>
                </a:cubicBezTo>
                <a:cubicBezTo>
                  <a:pt x="1757657" y="6421470"/>
                  <a:pt x="1730943" y="6450039"/>
                  <a:pt x="1732297" y="6483948"/>
                </a:cubicBezTo>
                <a:cubicBezTo>
                  <a:pt x="1732749" y="6509035"/>
                  <a:pt x="1747766" y="6531624"/>
                  <a:pt x="1770879" y="6541990"/>
                </a:cubicBezTo>
                <a:cubicBezTo>
                  <a:pt x="1803959" y="6556828"/>
                  <a:pt x="1842934" y="6542344"/>
                  <a:pt x="1857943" y="6509641"/>
                </a:cubicBezTo>
                <a:lnTo>
                  <a:pt x="1821781" y="6505933"/>
                </a:lnTo>
                <a:cubicBezTo>
                  <a:pt x="1817229" y="6512448"/>
                  <a:pt x="1810181" y="6516829"/>
                  <a:pt x="1802269" y="6518046"/>
                </a:cubicBezTo>
                <a:cubicBezTo>
                  <a:pt x="1786368" y="6520493"/>
                  <a:pt x="1771474" y="6509733"/>
                  <a:pt x="1768997" y="6494013"/>
                </a:cubicBezTo>
                <a:lnTo>
                  <a:pt x="1860353" y="6494013"/>
                </a:lnTo>
                <a:lnTo>
                  <a:pt x="1860353" y="6492689"/>
                </a:lnTo>
                <a:cubicBezTo>
                  <a:pt x="1860353" y="6441832"/>
                  <a:pt x="1829808" y="6420112"/>
                  <a:pt x="1796056" y="6420112"/>
                </a:cubicBezTo>
                <a:close/>
                <a:moveTo>
                  <a:pt x="1574215" y="6420111"/>
                </a:moveTo>
                <a:cubicBezTo>
                  <a:pt x="1555692" y="6420390"/>
                  <a:pt x="1537573" y="6425507"/>
                  <a:pt x="1521700" y="6434944"/>
                </a:cubicBezTo>
                <a:lnTo>
                  <a:pt x="1535364" y="6460902"/>
                </a:lnTo>
                <a:cubicBezTo>
                  <a:pt x="1546618" y="6454290"/>
                  <a:pt x="1559283" y="6450388"/>
                  <a:pt x="1572342" y="6449512"/>
                </a:cubicBezTo>
                <a:cubicBezTo>
                  <a:pt x="1585738" y="6449512"/>
                  <a:pt x="1592699" y="6455075"/>
                  <a:pt x="1592699" y="6463816"/>
                </a:cubicBezTo>
                <a:lnTo>
                  <a:pt x="1592699" y="6465140"/>
                </a:lnTo>
                <a:cubicBezTo>
                  <a:pt x="1592699" y="6469643"/>
                  <a:pt x="1590020" y="6472292"/>
                  <a:pt x="1584124" y="6472292"/>
                </a:cubicBezTo>
                <a:lnTo>
                  <a:pt x="1560013" y="6472292"/>
                </a:lnTo>
                <a:cubicBezTo>
                  <a:pt x="1532685" y="6472292"/>
                  <a:pt x="1515545" y="6486595"/>
                  <a:pt x="1515545" y="6509640"/>
                </a:cubicBezTo>
                <a:cubicBezTo>
                  <a:pt x="1515555" y="6510010"/>
                  <a:pt x="1515574" y="6510380"/>
                  <a:pt x="1515603" y="6510750"/>
                </a:cubicBezTo>
                <a:cubicBezTo>
                  <a:pt x="1517081" y="6532663"/>
                  <a:pt x="1536247" y="6549244"/>
                  <a:pt x="1558409" y="6547782"/>
                </a:cubicBezTo>
                <a:cubicBezTo>
                  <a:pt x="1571536" y="6548591"/>
                  <a:pt x="1584259" y="6543183"/>
                  <a:pt x="1592699" y="6533214"/>
                </a:cubicBezTo>
                <a:lnTo>
                  <a:pt x="1592699" y="6544604"/>
                </a:lnTo>
                <a:lnTo>
                  <a:pt x="1627527" y="6544604"/>
                </a:lnTo>
                <a:lnTo>
                  <a:pt x="1627527" y="6464875"/>
                </a:lnTo>
                <a:cubicBezTo>
                  <a:pt x="1627527" y="6432825"/>
                  <a:pt x="1602081" y="6420111"/>
                  <a:pt x="1574215" y="6420111"/>
                </a:cubicBezTo>
                <a:close/>
                <a:moveTo>
                  <a:pt x="1153574" y="6420111"/>
                </a:moveTo>
                <a:cubicBezTo>
                  <a:pt x="1135053" y="6420390"/>
                  <a:pt x="1116936" y="6425508"/>
                  <a:pt x="1101062" y="6434944"/>
                </a:cubicBezTo>
                <a:lnTo>
                  <a:pt x="1114726" y="6460902"/>
                </a:lnTo>
                <a:cubicBezTo>
                  <a:pt x="1125976" y="6454290"/>
                  <a:pt x="1138641" y="6450388"/>
                  <a:pt x="1151699" y="6449512"/>
                </a:cubicBezTo>
                <a:cubicBezTo>
                  <a:pt x="1165095" y="6449512"/>
                  <a:pt x="1172060" y="6455075"/>
                  <a:pt x="1172060" y="6463816"/>
                </a:cubicBezTo>
                <a:lnTo>
                  <a:pt x="1172060" y="6465140"/>
                </a:lnTo>
                <a:cubicBezTo>
                  <a:pt x="1172060" y="6469643"/>
                  <a:pt x="1169381" y="6472292"/>
                  <a:pt x="1163487" y="6472292"/>
                </a:cubicBezTo>
                <a:lnTo>
                  <a:pt x="1139375" y="6472292"/>
                </a:lnTo>
                <a:cubicBezTo>
                  <a:pt x="1112046" y="6472292"/>
                  <a:pt x="1094901" y="6486595"/>
                  <a:pt x="1094901" y="6509640"/>
                </a:cubicBezTo>
                <a:cubicBezTo>
                  <a:pt x="1094915" y="6510010"/>
                  <a:pt x="1094936" y="6510379"/>
                  <a:pt x="1094960" y="6510749"/>
                </a:cubicBezTo>
                <a:cubicBezTo>
                  <a:pt x="1096437" y="6532662"/>
                  <a:pt x="1115603" y="6549243"/>
                  <a:pt x="1137766" y="6547782"/>
                </a:cubicBezTo>
                <a:cubicBezTo>
                  <a:pt x="1150890" y="6548592"/>
                  <a:pt x="1163622" y="6543184"/>
                  <a:pt x="1172060" y="6533214"/>
                </a:cubicBezTo>
                <a:lnTo>
                  <a:pt x="1172060" y="6544604"/>
                </a:lnTo>
                <a:lnTo>
                  <a:pt x="1206890" y="6544604"/>
                </a:lnTo>
                <a:lnTo>
                  <a:pt x="1206890" y="6464875"/>
                </a:lnTo>
                <a:cubicBezTo>
                  <a:pt x="1206890" y="6432825"/>
                  <a:pt x="1181438" y="6420111"/>
                  <a:pt x="1153574" y="6420111"/>
                </a:cubicBezTo>
                <a:close/>
                <a:moveTo>
                  <a:pt x="568575" y="6383429"/>
                </a:moveTo>
                <a:cubicBezTo>
                  <a:pt x="555414" y="6428156"/>
                  <a:pt x="555406" y="6475664"/>
                  <a:pt x="568549" y="6520396"/>
                </a:cubicBezTo>
                <a:cubicBezTo>
                  <a:pt x="587170" y="6522621"/>
                  <a:pt x="606017" y="6522184"/>
                  <a:pt x="624511" y="6519097"/>
                </a:cubicBezTo>
                <a:cubicBezTo>
                  <a:pt x="610287" y="6481610"/>
                  <a:pt x="608324" y="6440654"/>
                  <a:pt x="618898" y="6402004"/>
                </a:cubicBezTo>
                <a:cubicBezTo>
                  <a:pt x="620492" y="6396123"/>
                  <a:pt x="622369" y="6390366"/>
                  <a:pt x="624479" y="6384725"/>
                </a:cubicBezTo>
                <a:cubicBezTo>
                  <a:pt x="606004" y="6381645"/>
                  <a:pt x="587176" y="6381208"/>
                  <a:pt x="568575" y="6383429"/>
                </a:cubicBezTo>
                <a:close/>
                <a:moveTo>
                  <a:pt x="1659953" y="6377201"/>
                </a:moveTo>
                <a:lnTo>
                  <a:pt x="1659953" y="6423290"/>
                </a:lnTo>
                <a:lnTo>
                  <a:pt x="1640662" y="6423290"/>
                </a:lnTo>
                <a:lnTo>
                  <a:pt x="1640662" y="6452426"/>
                </a:lnTo>
                <a:lnTo>
                  <a:pt x="1659953" y="6452426"/>
                </a:lnTo>
                <a:lnTo>
                  <a:pt x="1659953" y="6518911"/>
                </a:lnTo>
                <a:cubicBezTo>
                  <a:pt x="1659953" y="6543280"/>
                  <a:pt x="1677900" y="6546194"/>
                  <a:pt x="1695318" y="6546194"/>
                </a:cubicBezTo>
                <a:cubicBezTo>
                  <a:pt x="1705497" y="6546194"/>
                  <a:pt x="1722377" y="6544604"/>
                  <a:pt x="1722377" y="6544604"/>
                </a:cubicBezTo>
                <a:lnTo>
                  <a:pt x="1722377" y="6515203"/>
                </a:lnTo>
                <a:cubicBezTo>
                  <a:pt x="1722377" y="6515203"/>
                  <a:pt x="1715137" y="6515998"/>
                  <a:pt x="1706303" y="6515998"/>
                </a:cubicBezTo>
                <a:cubicBezTo>
                  <a:pt x="1700945" y="6515998"/>
                  <a:pt x="1694780" y="6514938"/>
                  <a:pt x="1694780" y="6507256"/>
                </a:cubicBezTo>
                <a:lnTo>
                  <a:pt x="1694780" y="6452426"/>
                </a:lnTo>
                <a:lnTo>
                  <a:pt x="1721302" y="6452426"/>
                </a:lnTo>
                <a:lnTo>
                  <a:pt x="1721302" y="6423290"/>
                </a:lnTo>
                <a:lnTo>
                  <a:pt x="1694780" y="6423290"/>
                </a:lnTo>
                <a:lnTo>
                  <a:pt x="1694780" y="6377201"/>
                </a:lnTo>
                <a:close/>
                <a:moveTo>
                  <a:pt x="1884617" y="6359355"/>
                </a:moveTo>
                <a:lnTo>
                  <a:pt x="1884617" y="6392335"/>
                </a:lnTo>
                <a:lnTo>
                  <a:pt x="1893998" y="6392335"/>
                </a:lnTo>
                <a:lnTo>
                  <a:pt x="1893998" y="6373492"/>
                </a:lnTo>
                <a:lnTo>
                  <a:pt x="1898291" y="6385270"/>
                </a:lnTo>
                <a:lnTo>
                  <a:pt x="1905819" y="6385270"/>
                </a:lnTo>
                <a:lnTo>
                  <a:pt x="1910111" y="6373492"/>
                </a:lnTo>
                <a:lnTo>
                  <a:pt x="1910111" y="6392335"/>
                </a:lnTo>
                <a:lnTo>
                  <a:pt x="1919685" y="6392335"/>
                </a:lnTo>
                <a:lnTo>
                  <a:pt x="1919685" y="6359355"/>
                </a:lnTo>
                <a:lnTo>
                  <a:pt x="1907566" y="6359355"/>
                </a:lnTo>
                <a:lnTo>
                  <a:pt x="1902362" y="6373114"/>
                </a:lnTo>
                <a:lnTo>
                  <a:pt x="1897494" y="6359355"/>
                </a:lnTo>
                <a:close/>
                <a:moveTo>
                  <a:pt x="1850683" y="6359355"/>
                </a:moveTo>
                <a:lnTo>
                  <a:pt x="1850683" y="6367929"/>
                </a:lnTo>
                <a:lnTo>
                  <a:pt x="1860074" y="6367929"/>
                </a:lnTo>
                <a:lnTo>
                  <a:pt x="1860074" y="6392335"/>
                </a:lnTo>
                <a:lnTo>
                  <a:pt x="1869839" y="6392335"/>
                </a:lnTo>
                <a:lnTo>
                  <a:pt x="1869839" y="6367929"/>
                </a:lnTo>
                <a:lnTo>
                  <a:pt x="1879230" y="6367929"/>
                </a:lnTo>
                <a:lnTo>
                  <a:pt x="1879230" y="6359355"/>
                </a:lnTo>
                <a:close/>
                <a:moveTo>
                  <a:pt x="1352105" y="6359189"/>
                </a:moveTo>
                <a:cubicBezTo>
                  <a:pt x="1339759" y="6359284"/>
                  <a:pt x="1329816" y="6369233"/>
                  <a:pt x="1329868" y="6381439"/>
                </a:cubicBezTo>
                <a:cubicBezTo>
                  <a:pt x="1329940" y="6393552"/>
                  <a:pt x="1339855" y="6403355"/>
                  <a:pt x="1352108" y="6403427"/>
                </a:cubicBezTo>
                <a:cubicBezTo>
                  <a:pt x="1364463" y="6403498"/>
                  <a:pt x="1374538" y="6393654"/>
                  <a:pt x="1374610" y="6381439"/>
                </a:cubicBezTo>
                <a:cubicBezTo>
                  <a:pt x="1374610" y="6381414"/>
                  <a:pt x="1374610" y="6381388"/>
                  <a:pt x="1374610" y="6381364"/>
                </a:cubicBezTo>
                <a:cubicBezTo>
                  <a:pt x="1374589" y="6369096"/>
                  <a:pt x="1364513" y="6359168"/>
                  <a:pt x="1352105" y="6359189"/>
                </a:cubicBezTo>
                <a:close/>
                <a:moveTo>
                  <a:pt x="1041583" y="6359189"/>
                </a:moveTo>
                <a:lnTo>
                  <a:pt x="1041583" y="6544604"/>
                </a:lnTo>
                <a:lnTo>
                  <a:pt x="1076143" y="6544604"/>
                </a:lnTo>
                <a:lnTo>
                  <a:pt x="1076143" y="6359189"/>
                </a:lnTo>
                <a:close/>
                <a:moveTo>
                  <a:pt x="925239" y="6355990"/>
                </a:moveTo>
                <a:cubicBezTo>
                  <a:pt x="872870" y="6357183"/>
                  <a:pt x="831395" y="6400122"/>
                  <a:pt x="832602" y="6451897"/>
                </a:cubicBezTo>
                <a:cubicBezTo>
                  <a:pt x="832562" y="6453595"/>
                  <a:pt x="832569" y="6455292"/>
                  <a:pt x="832623" y="6456990"/>
                </a:cubicBezTo>
                <a:cubicBezTo>
                  <a:pt x="834261" y="6508753"/>
                  <a:pt x="878033" y="6549402"/>
                  <a:pt x="930389" y="6547783"/>
                </a:cubicBezTo>
                <a:cubicBezTo>
                  <a:pt x="973630" y="6548900"/>
                  <a:pt x="1011845" y="6520151"/>
                  <a:pt x="1022285" y="6478650"/>
                </a:cubicBezTo>
                <a:lnTo>
                  <a:pt x="981294" y="6478650"/>
                </a:lnTo>
                <a:cubicBezTo>
                  <a:pt x="974516" y="6500553"/>
                  <a:pt x="953525" y="6515080"/>
                  <a:pt x="930389" y="6513878"/>
                </a:cubicBezTo>
                <a:cubicBezTo>
                  <a:pt x="895026" y="6513878"/>
                  <a:pt x="871450" y="6487391"/>
                  <a:pt x="871450" y="6451897"/>
                </a:cubicBezTo>
                <a:cubicBezTo>
                  <a:pt x="871450" y="6416403"/>
                  <a:pt x="895026" y="6389916"/>
                  <a:pt x="930389" y="6389916"/>
                </a:cubicBezTo>
                <a:cubicBezTo>
                  <a:pt x="953525" y="6388714"/>
                  <a:pt x="974516" y="6403241"/>
                  <a:pt x="981294" y="6425144"/>
                </a:cubicBezTo>
                <a:lnTo>
                  <a:pt x="1022285" y="6425144"/>
                </a:lnTo>
                <a:cubicBezTo>
                  <a:pt x="1011846" y="6383642"/>
                  <a:pt x="973630" y="6354892"/>
                  <a:pt x="930389" y="6356011"/>
                </a:cubicBezTo>
                <a:cubicBezTo>
                  <a:pt x="928673" y="6355958"/>
                  <a:pt x="926955" y="6355951"/>
                  <a:pt x="925239" y="6355990"/>
                </a:cubicBezTo>
                <a:close/>
                <a:moveTo>
                  <a:pt x="651232" y="6336161"/>
                </a:moveTo>
                <a:cubicBezTo>
                  <a:pt x="639985" y="6350984"/>
                  <a:pt x="630973" y="6367343"/>
                  <a:pt x="624479" y="6384726"/>
                </a:cubicBezTo>
                <a:cubicBezTo>
                  <a:pt x="670541" y="6392471"/>
                  <a:pt x="712258" y="6416315"/>
                  <a:pt x="742033" y="6451914"/>
                </a:cubicBezTo>
                <a:cubicBezTo>
                  <a:pt x="712265" y="6487505"/>
                  <a:pt x="670562" y="6511346"/>
                  <a:pt x="624512" y="6519097"/>
                </a:cubicBezTo>
                <a:cubicBezTo>
                  <a:pt x="631041" y="6536476"/>
                  <a:pt x="640089" y="6552825"/>
                  <a:pt x="651373" y="6567631"/>
                </a:cubicBezTo>
                <a:cubicBezTo>
                  <a:pt x="697088" y="6556502"/>
                  <a:pt x="738657" y="6532746"/>
                  <a:pt x="771228" y="6499136"/>
                </a:cubicBezTo>
                <a:cubicBezTo>
                  <a:pt x="763842" y="6482091"/>
                  <a:pt x="754009" y="6466186"/>
                  <a:pt x="742033" y="6451914"/>
                </a:cubicBezTo>
                <a:cubicBezTo>
                  <a:pt x="754009" y="6437642"/>
                  <a:pt x="763841" y="6421738"/>
                  <a:pt x="771227" y="6404692"/>
                </a:cubicBezTo>
                <a:cubicBezTo>
                  <a:pt x="738623" y="6371047"/>
                  <a:pt x="697001" y="6347276"/>
                  <a:pt x="651232" y="6336161"/>
                </a:cubicBezTo>
                <a:close/>
                <a:moveTo>
                  <a:pt x="0" y="0"/>
                </a:moveTo>
                <a:lnTo>
                  <a:pt x="8040688" y="0"/>
                </a:lnTo>
                <a:lnTo>
                  <a:pt x="8040688" y="6858000"/>
                </a:lnTo>
                <a:lnTo>
                  <a:pt x="0" y="6858000"/>
                </a:lnTo>
                <a:close/>
              </a:path>
            </a:pathLst>
          </a:custGeom>
          <a:solidFill>
            <a:schemeClr val="bg1">
              <a:lumMod val="95000"/>
            </a:schemeClr>
          </a:solidFill>
          <a:ln>
            <a:noFill/>
          </a:ln>
        </p:spPr>
        <p:txBody>
          <a:bodyPr wrap="square" tIns="180000" anchor="t" anchorCtr="0">
            <a:noAutofit/>
          </a:bodyPr>
          <a:lstStyle>
            <a:lvl1pPr marL="0" indent="0" algn="ctr">
              <a:buNone/>
              <a:defRPr sz="1000">
                <a:solidFill>
                  <a:schemeClr val="accent2"/>
                </a:solidFill>
                <a:latin typeface="+mn-lt"/>
              </a:defRPr>
            </a:lvl1pPr>
          </a:lstStyle>
          <a:p>
            <a:pPr lvl="0"/>
            <a:r>
              <a:rPr lang="en-US"/>
              <a:t>Drag picture file here or click </a:t>
            </a:r>
            <a:r>
              <a:rPr lang="en-GB" noProof="0" err="1"/>
              <a:t>center</a:t>
            </a:r>
            <a:r>
              <a:rPr lang="en-US"/>
              <a:t> icon to insert light image</a:t>
            </a:r>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Tree>
    <p:extLst>
      <p:ext uri="{BB962C8B-B14F-4D97-AF65-F5344CB8AC3E}">
        <p14:creationId xmlns:p14="http://schemas.microsoft.com/office/powerpoint/2010/main" val="39754218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amp; 2x Light Image stac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FEB4482-ADD8-A5AC-E88D-E80B1F5288A7}"/>
              </a:ext>
            </a:extLst>
          </p:cNvPr>
          <p:cNvSpPr/>
          <p:nvPr userDrawn="1"/>
        </p:nvSpPr>
        <p:spPr>
          <a:xfrm>
            <a:off x="991235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icture Placeholder 7">
            <a:extLst>
              <a:ext uri="{FF2B5EF4-FFF2-40B4-BE49-F238E27FC236}">
                <a16:creationId xmlns:a16="http://schemas.microsoft.com/office/drawing/2014/main" id="{E521FEA4-99B7-D7D2-C66A-489E89D4E18C}"/>
              </a:ext>
            </a:extLst>
          </p:cNvPr>
          <p:cNvSpPr>
            <a:spLocks noGrp="1"/>
          </p:cNvSpPr>
          <p:nvPr>
            <p:ph type="pic" sz="quarter" idx="21" hasCustomPrompt="1"/>
          </p:nvPr>
        </p:nvSpPr>
        <p:spPr>
          <a:xfrm>
            <a:off x="6096001" y="3429000"/>
            <a:ext cx="6096000"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a:solidFill>
            <a:schemeClr val="bg1">
              <a:lumMod val="85000"/>
            </a:schemeClr>
          </a:solidFill>
          <a:ln>
            <a:noFill/>
          </a:ln>
        </p:spPr>
        <p:txBody>
          <a:bodyPr wrap="square" tIns="108000" anchor="t" anchorCtr="0">
            <a:noAutofit/>
          </a:bodyPr>
          <a:lstStyle>
            <a:lvl1pPr marL="0" indent="0" algn="ctr">
              <a:buNone/>
              <a:defRPr sz="1000">
                <a:solidFill>
                  <a:schemeClr val="accent2"/>
                </a:solidFill>
                <a:latin typeface="+mn-lt"/>
              </a:defRPr>
            </a:lvl1pPr>
          </a:lstStyle>
          <a:p>
            <a:pPr lvl="0"/>
            <a:r>
              <a:rPr lang="en-US"/>
              <a:t>Drag picture file here or click icon to insert bottom image</a:t>
            </a:r>
          </a:p>
        </p:txBody>
      </p:sp>
      <p:sp>
        <p:nvSpPr>
          <p:cNvPr id="6" name="Picture Placeholder 15">
            <a:extLst>
              <a:ext uri="{FF2B5EF4-FFF2-40B4-BE49-F238E27FC236}">
                <a16:creationId xmlns:a16="http://schemas.microsoft.com/office/drawing/2014/main" id="{911CF731-2F05-DD7D-AA0C-2C0C2EA9256F}"/>
              </a:ext>
            </a:extLst>
          </p:cNvPr>
          <p:cNvSpPr>
            <a:spLocks noGrp="1"/>
          </p:cNvSpPr>
          <p:nvPr>
            <p:ph type="pic" sz="quarter" idx="20" hasCustomPrompt="1"/>
          </p:nvPr>
        </p:nvSpPr>
        <p:spPr>
          <a:xfrm>
            <a:off x="6096001" y="0"/>
            <a:ext cx="6096000" cy="3429000"/>
          </a:xfrm>
          <a:solidFill>
            <a:schemeClr val="bg1">
              <a:lumMod val="95000"/>
            </a:schemeClr>
          </a:solidFill>
          <a:ln>
            <a:noFill/>
          </a:ln>
        </p:spPr>
        <p:txBody>
          <a:bodyPr tIns="108000" anchor="t" anchorCtr="0"/>
          <a:lstStyle>
            <a:lvl1pPr marL="0" indent="0" algn="ctr">
              <a:buNone/>
              <a:defRPr sz="1000">
                <a:solidFill>
                  <a:schemeClr val="accent2"/>
                </a:solidFill>
                <a:latin typeface="+mn-lt"/>
              </a:defRPr>
            </a:lvl1pPr>
          </a:lstStyle>
          <a:p>
            <a:pPr lvl="0"/>
            <a:r>
              <a:rPr lang="en-US"/>
              <a:t>Drag picture file here or click icon to insert top image</a:t>
            </a:r>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5076000"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5076000"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5076000" cy="4321175"/>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786035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rgbClr val="5E33BE"/>
                </a:solidFill>
                <a:latin typeface="Calibri"/>
                <a:cs typeface="Calibri"/>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18/2025</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amp; 2x Dark Image stac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45FE163-4C99-A5A6-EBA5-2406214B10A1}"/>
              </a:ext>
            </a:extLst>
          </p:cNvPr>
          <p:cNvSpPr/>
          <p:nvPr userDrawn="1"/>
        </p:nvSpPr>
        <p:spPr>
          <a:xfrm>
            <a:off x="9912350" y="6129338"/>
            <a:ext cx="2279650" cy="7286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icture Placeholder 7">
            <a:extLst>
              <a:ext uri="{FF2B5EF4-FFF2-40B4-BE49-F238E27FC236}">
                <a16:creationId xmlns:a16="http://schemas.microsoft.com/office/drawing/2014/main" id="{9FEFCD9E-E41F-4430-9898-406F2EA0E269}"/>
              </a:ext>
            </a:extLst>
          </p:cNvPr>
          <p:cNvSpPr>
            <a:spLocks noGrp="1"/>
          </p:cNvSpPr>
          <p:nvPr>
            <p:ph type="pic" sz="quarter" idx="21" hasCustomPrompt="1"/>
          </p:nvPr>
        </p:nvSpPr>
        <p:spPr>
          <a:xfrm>
            <a:off x="6096001" y="3429000"/>
            <a:ext cx="6096000"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a:solidFill>
            <a:schemeClr val="tx1">
              <a:lumMod val="75000"/>
              <a:lumOff val="25000"/>
            </a:schemeClr>
          </a:solidFill>
          <a:ln>
            <a:noFill/>
          </a:ln>
        </p:spPr>
        <p:txBody>
          <a:bodyPr wrap="square" tIns="108000" anchor="t" anchorCtr="0">
            <a:noAutofit/>
          </a:bodyPr>
          <a:lstStyle>
            <a:lvl1pPr marL="0" indent="0" algn="ctr">
              <a:buNone/>
              <a:defRPr sz="1000">
                <a:solidFill>
                  <a:schemeClr val="accent1"/>
                </a:solidFill>
                <a:latin typeface="+mn-lt"/>
              </a:defRPr>
            </a:lvl1pPr>
          </a:lstStyle>
          <a:p>
            <a:pPr lvl="0"/>
            <a:r>
              <a:rPr lang="en-US"/>
              <a:t>Drag picture file here or click icon to insert bottom image</a:t>
            </a:r>
          </a:p>
        </p:txBody>
      </p:sp>
      <p:sp>
        <p:nvSpPr>
          <p:cNvPr id="6" name="Picture Placeholder 15">
            <a:extLst>
              <a:ext uri="{FF2B5EF4-FFF2-40B4-BE49-F238E27FC236}">
                <a16:creationId xmlns:a16="http://schemas.microsoft.com/office/drawing/2014/main" id="{911CF731-2F05-DD7D-AA0C-2C0C2EA9256F}"/>
              </a:ext>
            </a:extLst>
          </p:cNvPr>
          <p:cNvSpPr>
            <a:spLocks noGrp="1"/>
          </p:cNvSpPr>
          <p:nvPr>
            <p:ph type="pic" sz="quarter" idx="20" hasCustomPrompt="1"/>
          </p:nvPr>
        </p:nvSpPr>
        <p:spPr>
          <a:xfrm>
            <a:off x="6096001" y="0"/>
            <a:ext cx="6096000" cy="3429000"/>
          </a:xfrm>
          <a:solidFill>
            <a:schemeClr val="tx1">
              <a:lumMod val="65000"/>
              <a:lumOff val="35000"/>
            </a:schemeClr>
          </a:solidFill>
          <a:ln>
            <a:noFill/>
          </a:ln>
        </p:spPr>
        <p:txBody>
          <a:bodyPr tIns="108000" anchor="t" anchorCtr="0"/>
          <a:lstStyle>
            <a:lvl1pPr marL="0" indent="0" algn="ctr">
              <a:buNone/>
              <a:defRPr sz="1000">
                <a:solidFill>
                  <a:schemeClr val="accent1"/>
                </a:solidFill>
                <a:latin typeface="+mn-lt"/>
              </a:defRPr>
            </a:lvl1pPr>
          </a:lstStyle>
          <a:p>
            <a:pPr lvl="0"/>
            <a:r>
              <a:rPr lang="en-US"/>
              <a:t>Drag picture file here or click icon to insert top image</a:t>
            </a:r>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5076000"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5076000"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5076000" cy="4321175"/>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7446274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Horizontal Split - 3x Col / Light Ima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8B8D9C3-5BDF-8ABB-CC9B-760506715205}"/>
              </a:ext>
            </a:extLst>
          </p:cNvPr>
          <p:cNvSpPr/>
          <p:nvPr userDrawn="1"/>
        </p:nvSpPr>
        <p:spPr>
          <a:xfrm>
            <a:off x="991235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Picture Placeholder 11">
            <a:extLst>
              <a:ext uri="{FF2B5EF4-FFF2-40B4-BE49-F238E27FC236}">
                <a16:creationId xmlns:a16="http://schemas.microsoft.com/office/drawing/2014/main" id="{10C57F1D-C950-AFEA-188D-505320175FDB}"/>
              </a:ext>
            </a:extLst>
          </p:cNvPr>
          <p:cNvSpPr>
            <a:spLocks noGrp="1"/>
          </p:cNvSpPr>
          <p:nvPr>
            <p:ph type="pic" sz="quarter" idx="20" hasCustomPrompt="1"/>
          </p:nvPr>
        </p:nvSpPr>
        <p:spPr>
          <a:xfrm>
            <a:off x="0" y="3429000"/>
            <a:ext cx="12192000" cy="3429000"/>
          </a:xfrm>
          <a:custGeom>
            <a:avLst/>
            <a:gdLst>
              <a:gd name="connsiteX0" fmla="*/ 1592699 w 12192000"/>
              <a:gd name="connsiteY0" fmla="*/ 3063423 h 3429000"/>
              <a:gd name="connsiteX1" fmla="*/ 1592699 w 12192000"/>
              <a:gd name="connsiteY1" fmla="*/ 3072164 h 3429000"/>
              <a:gd name="connsiteX2" fmla="*/ 1592546 w 12192000"/>
              <a:gd name="connsiteY2" fmla="*/ 3075388 h 3429000"/>
              <a:gd name="connsiteX3" fmla="*/ 1568857 w 12192000"/>
              <a:gd name="connsiteY3" fmla="*/ 3093619 h 3429000"/>
              <a:gd name="connsiteX4" fmla="*/ 1551438 w 12192000"/>
              <a:gd name="connsiteY4" fmla="*/ 3079315 h 3429000"/>
              <a:gd name="connsiteX5" fmla="*/ 1568857 w 12192000"/>
              <a:gd name="connsiteY5" fmla="*/ 3066071 h 3429000"/>
              <a:gd name="connsiteX6" fmla="*/ 1581983 w 12192000"/>
              <a:gd name="connsiteY6" fmla="*/ 3066071 h 3429000"/>
              <a:gd name="connsiteX7" fmla="*/ 1592699 w 12192000"/>
              <a:gd name="connsiteY7" fmla="*/ 3063423 h 3429000"/>
              <a:gd name="connsiteX8" fmla="*/ 1172060 w 12192000"/>
              <a:gd name="connsiteY8" fmla="*/ 3063423 h 3429000"/>
              <a:gd name="connsiteX9" fmla="*/ 1172060 w 12192000"/>
              <a:gd name="connsiteY9" fmla="*/ 3072164 h 3429000"/>
              <a:gd name="connsiteX10" fmla="*/ 1171906 w 12192000"/>
              <a:gd name="connsiteY10" fmla="*/ 3075389 h 3429000"/>
              <a:gd name="connsiteX11" fmla="*/ 1148216 w 12192000"/>
              <a:gd name="connsiteY11" fmla="*/ 3093619 h 3429000"/>
              <a:gd name="connsiteX12" fmla="*/ 1130802 w 12192000"/>
              <a:gd name="connsiteY12" fmla="*/ 3079315 h 3429000"/>
              <a:gd name="connsiteX13" fmla="*/ 1148216 w 12192000"/>
              <a:gd name="connsiteY13" fmla="*/ 3066071 h 3429000"/>
              <a:gd name="connsiteX14" fmla="*/ 1161343 w 12192000"/>
              <a:gd name="connsiteY14" fmla="*/ 3066071 h 3429000"/>
              <a:gd name="connsiteX15" fmla="*/ 1172060 w 12192000"/>
              <a:gd name="connsiteY15" fmla="*/ 3063423 h 3429000"/>
              <a:gd name="connsiteX16" fmla="*/ 1796056 w 12192000"/>
              <a:gd name="connsiteY16" fmla="*/ 3019718 h 3429000"/>
              <a:gd name="connsiteX17" fmla="*/ 1823115 w 12192000"/>
              <a:gd name="connsiteY17" fmla="*/ 3041969 h 3429000"/>
              <a:gd name="connsiteX18" fmla="*/ 1768190 w 12192000"/>
              <a:gd name="connsiteY18" fmla="*/ 3041969 h 3429000"/>
              <a:gd name="connsiteX19" fmla="*/ 1796056 w 12192000"/>
              <a:gd name="connsiteY19" fmla="*/ 3019718 h 3429000"/>
              <a:gd name="connsiteX20" fmla="*/ 1385331 w 12192000"/>
              <a:gd name="connsiteY20" fmla="*/ 2994290 h 3429000"/>
              <a:gd name="connsiteX21" fmla="*/ 1427128 w 12192000"/>
              <a:gd name="connsiteY21" fmla="*/ 3115605 h 3429000"/>
              <a:gd name="connsiteX22" fmla="*/ 1470261 w 12192000"/>
              <a:gd name="connsiteY22" fmla="*/ 3115605 h 3429000"/>
              <a:gd name="connsiteX23" fmla="*/ 1513932 w 12192000"/>
              <a:gd name="connsiteY23" fmla="*/ 2994290 h 3429000"/>
              <a:gd name="connsiteX24" fmla="*/ 1477223 w 12192000"/>
              <a:gd name="connsiteY24" fmla="*/ 2994290 h 3429000"/>
              <a:gd name="connsiteX25" fmla="*/ 1449367 w 12192000"/>
              <a:gd name="connsiteY25" fmla="*/ 3078521 h 3429000"/>
              <a:gd name="connsiteX26" fmla="*/ 1423104 w 12192000"/>
              <a:gd name="connsiteY26" fmla="*/ 2994290 h 3429000"/>
              <a:gd name="connsiteX27" fmla="*/ 1319153 w 12192000"/>
              <a:gd name="connsiteY27" fmla="*/ 2994290 h 3429000"/>
              <a:gd name="connsiteX28" fmla="*/ 1319153 w 12192000"/>
              <a:gd name="connsiteY28" fmla="*/ 3023426 h 3429000"/>
              <a:gd name="connsiteX29" fmla="*/ 1336299 w 12192000"/>
              <a:gd name="connsiteY29" fmla="*/ 3023426 h 3429000"/>
              <a:gd name="connsiteX30" fmla="*/ 1336299 w 12192000"/>
              <a:gd name="connsiteY30" fmla="*/ 3115604 h 3429000"/>
              <a:gd name="connsiteX31" fmla="*/ 1371127 w 12192000"/>
              <a:gd name="connsiteY31" fmla="*/ 3115604 h 3429000"/>
              <a:gd name="connsiteX32" fmla="*/ 1371127 w 12192000"/>
              <a:gd name="connsiteY32" fmla="*/ 2994290 h 3429000"/>
              <a:gd name="connsiteX33" fmla="*/ 1293161 w 12192000"/>
              <a:gd name="connsiteY33" fmla="*/ 2992700 h 3429000"/>
              <a:gd name="connsiteX34" fmla="*/ 1261280 w 12192000"/>
              <a:gd name="connsiteY34" fmla="*/ 3013626 h 3429000"/>
              <a:gd name="connsiteX35" fmla="*/ 1261280 w 12192000"/>
              <a:gd name="connsiteY35" fmla="*/ 2994290 h 3429000"/>
              <a:gd name="connsiteX36" fmla="*/ 1227522 w 12192000"/>
              <a:gd name="connsiteY36" fmla="*/ 2994290 h 3429000"/>
              <a:gd name="connsiteX37" fmla="*/ 1227522 w 12192000"/>
              <a:gd name="connsiteY37" fmla="*/ 3115604 h 3429000"/>
              <a:gd name="connsiteX38" fmla="*/ 1262352 w 12192000"/>
              <a:gd name="connsiteY38" fmla="*/ 3115604 h 3429000"/>
              <a:gd name="connsiteX39" fmla="*/ 1262352 w 12192000"/>
              <a:gd name="connsiteY39" fmla="*/ 3057596 h 3429000"/>
              <a:gd name="connsiteX40" fmla="*/ 1288073 w 12192000"/>
              <a:gd name="connsiteY40" fmla="*/ 3028194 h 3429000"/>
              <a:gd name="connsiteX41" fmla="*/ 1302808 w 12192000"/>
              <a:gd name="connsiteY41" fmla="*/ 3028194 h 3429000"/>
              <a:gd name="connsiteX42" fmla="*/ 1302808 w 12192000"/>
              <a:gd name="connsiteY42" fmla="*/ 2993760 h 3429000"/>
              <a:gd name="connsiteX43" fmla="*/ 1293161 w 12192000"/>
              <a:gd name="connsiteY43" fmla="*/ 2992700 h 3429000"/>
              <a:gd name="connsiteX44" fmla="*/ 1796056 w 12192000"/>
              <a:gd name="connsiteY44" fmla="*/ 2991112 h 3429000"/>
              <a:gd name="connsiteX45" fmla="*/ 1791956 w 12192000"/>
              <a:gd name="connsiteY45" fmla="*/ 2991138 h 3429000"/>
              <a:gd name="connsiteX46" fmla="*/ 1732297 w 12192000"/>
              <a:gd name="connsiteY46" fmla="*/ 3054948 h 3429000"/>
              <a:gd name="connsiteX47" fmla="*/ 1770879 w 12192000"/>
              <a:gd name="connsiteY47" fmla="*/ 3112990 h 3429000"/>
              <a:gd name="connsiteX48" fmla="*/ 1857943 w 12192000"/>
              <a:gd name="connsiteY48" fmla="*/ 3080641 h 3429000"/>
              <a:gd name="connsiteX49" fmla="*/ 1821781 w 12192000"/>
              <a:gd name="connsiteY49" fmla="*/ 3076933 h 3429000"/>
              <a:gd name="connsiteX50" fmla="*/ 1802269 w 12192000"/>
              <a:gd name="connsiteY50" fmla="*/ 3089046 h 3429000"/>
              <a:gd name="connsiteX51" fmla="*/ 1768997 w 12192000"/>
              <a:gd name="connsiteY51" fmla="*/ 3065013 h 3429000"/>
              <a:gd name="connsiteX52" fmla="*/ 1860353 w 12192000"/>
              <a:gd name="connsiteY52" fmla="*/ 3065013 h 3429000"/>
              <a:gd name="connsiteX53" fmla="*/ 1860353 w 12192000"/>
              <a:gd name="connsiteY53" fmla="*/ 3063689 h 3429000"/>
              <a:gd name="connsiteX54" fmla="*/ 1796056 w 12192000"/>
              <a:gd name="connsiteY54" fmla="*/ 2991112 h 3429000"/>
              <a:gd name="connsiteX55" fmla="*/ 1574215 w 12192000"/>
              <a:gd name="connsiteY55" fmla="*/ 2991111 h 3429000"/>
              <a:gd name="connsiteX56" fmla="*/ 1521700 w 12192000"/>
              <a:gd name="connsiteY56" fmla="*/ 3005944 h 3429000"/>
              <a:gd name="connsiteX57" fmla="*/ 1535364 w 12192000"/>
              <a:gd name="connsiteY57" fmla="*/ 3031902 h 3429000"/>
              <a:gd name="connsiteX58" fmla="*/ 1572342 w 12192000"/>
              <a:gd name="connsiteY58" fmla="*/ 3020512 h 3429000"/>
              <a:gd name="connsiteX59" fmla="*/ 1592699 w 12192000"/>
              <a:gd name="connsiteY59" fmla="*/ 3034816 h 3429000"/>
              <a:gd name="connsiteX60" fmla="*/ 1592699 w 12192000"/>
              <a:gd name="connsiteY60" fmla="*/ 3036140 h 3429000"/>
              <a:gd name="connsiteX61" fmla="*/ 1584124 w 12192000"/>
              <a:gd name="connsiteY61" fmla="*/ 3043292 h 3429000"/>
              <a:gd name="connsiteX62" fmla="*/ 1560013 w 12192000"/>
              <a:gd name="connsiteY62" fmla="*/ 3043292 h 3429000"/>
              <a:gd name="connsiteX63" fmla="*/ 1515545 w 12192000"/>
              <a:gd name="connsiteY63" fmla="*/ 3080640 h 3429000"/>
              <a:gd name="connsiteX64" fmla="*/ 1515603 w 12192000"/>
              <a:gd name="connsiteY64" fmla="*/ 3081750 h 3429000"/>
              <a:gd name="connsiteX65" fmla="*/ 1558409 w 12192000"/>
              <a:gd name="connsiteY65" fmla="*/ 3118782 h 3429000"/>
              <a:gd name="connsiteX66" fmla="*/ 1592699 w 12192000"/>
              <a:gd name="connsiteY66" fmla="*/ 3104214 h 3429000"/>
              <a:gd name="connsiteX67" fmla="*/ 1592699 w 12192000"/>
              <a:gd name="connsiteY67" fmla="*/ 3115604 h 3429000"/>
              <a:gd name="connsiteX68" fmla="*/ 1627527 w 12192000"/>
              <a:gd name="connsiteY68" fmla="*/ 3115604 h 3429000"/>
              <a:gd name="connsiteX69" fmla="*/ 1627527 w 12192000"/>
              <a:gd name="connsiteY69" fmla="*/ 3035875 h 3429000"/>
              <a:gd name="connsiteX70" fmla="*/ 1574215 w 12192000"/>
              <a:gd name="connsiteY70" fmla="*/ 2991111 h 3429000"/>
              <a:gd name="connsiteX71" fmla="*/ 1153574 w 12192000"/>
              <a:gd name="connsiteY71" fmla="*/ 2991111 h 3429000"/>
              <a:gd name="connsiteX72" fmla="*/ 1101062 w 12192000"/>
              <a:gd name="connsiteY72" fmla="*/ 3005944 h 3429000"/>
              <a:gd name="connsiteX73" fmla="*/ 1114726 w 12192000"/>
              <a:gd name="connsiteY73" fmla="*/ 3031902 h 3429000"/>
              <a:gd name="connsiteX74" fmla="*/ 1151699 w 12192000"/>
              <a:gd name="connsiteY74" fmla="*/ 3020512 h 3429000"/>
              <a:gd name="connsiteX75" fmla="*/ 1172060 w 12192000"/>
              <a:gd name="connsiteY75" fmla="*/ 3034816 h 3429000"/>
              <a:gd name="connsiteX76" fmla="*/ 1172060 w 12192000"/>
              <a:gd name="connsiteY76" fmla="*/ 3036140 h 3429000"/>
              <a:gd name="connsiteX77" fmla="*/ 1163487 w 12192000"/>
              <a:gd name="connsiteY77" fmla="*/ 3043292 h 3429000"/>
              <a:gd name="connsiteX78" fmla="*/ 1139375 w 12192000"/>
              <a:gd name="connsiteY78" fmla="*/ 3043292 h 3429000"/>
              <a:gd name="connsiteX79" fmla="*/ 1094901 w 12192000"/>
              <a:gd name="connsiteY79" fmla="*/ 3080640 h 3429000"/>
              <a:gd name="connsiteX80" fmla="*/ 1094960 w 12192000"/>
              <a:gd name="connsiteY80" fmla="*/ 3081749 h 3429000"/>
              <a:gd name="connsiteX81" fmla="*/ 1137766 w 12192000"/>
              <a:gd name="connsiteY81" fmla="*/ 3118782 h 3429000"/>
              <a:gd name="connsiteX82" fmla="*/ 1172060 w 12192000"/>
              <a:gd name="connsiteY82" fmla="*/ 3104214 h 3429000"/>
              <a:gd name="connsiteX83" fmla="*/ 1172060 w 12192000"/>
              <a:gd name="connsiteY83" fmla="*/ 3115604 h 3429000"/>
              <a:gd name="connsiteX84" fmla="*/ 1206890 w 12192000"/>
              <a:gd name="connsiteY84" fmla="*/ 3115604 h 3429000"/>
              <a:gd name="connsiteX85" fmla="*/ 1206890 w 12192000"/>
              <a:gd name="connsiteY85" fmla="*/ 3035875 h 3429000"/>
              <a:gd name="connsiteX86" fmla="*/ 1153574 w 12192000"/>
              <a:gd name="connsiteY86" fmla="*/ 2991111 h 3429000"/>
              <a:gd name="connsiteX87" fmla="*/ 568575 w 12192000"/>
              <a:gd name="connsiteY87" fmla="*/ 2954429 h 3429000"/>
              <a:gd name="connsiteX88" fmla="*/ 568549 w 12192000"/>
              <a:gd name="connsiteY88" fmla="*/ 3091396 h 3429000"/>
              <a:gd name="connsiteX89" fmla="*/ 624511 w 12192000"/>
              <a:gd name="connsiteY89" fmla="*/ 3090097 h 3429000"/>
              <a:gd name="connsiteX90" fmla="*/ 618898 w 12192000"/>
              <a:gd name="connsiteY90" fmla="*/ 2973004 h 3429000"/>
              <a:gd name="connsiteX91" fmla="*/ 624479 w 12192000"/>
              <a:gd name="connsiteY91" fmla="*/ 2955725 h 3429000"/>
              <a:gd name="connsiteX92" fmla="*/ 568575 w 12192000"/>
              <a:gd name="connsiteY92" fmla="*/ 2954429 h 3429000"/>
              <a:gd name="connsiteX93" fmla="*/ 1659953 w 12192000"/>
              <a:gd name="connsiteY93" fmla="*/ 2948201 h 3429000"/>
              <a:gd name="connsiteX94" fmla="*/ 1659953 w 12192000"/>
              <a:gd name="connsiteY94" fmla="*/ 2994290 h 3429000"/>
              <a:gd name="connsiteX95" fmla="*/ 1640662 w 12192000"/>
              <a:gd name="connsiteY95" fmla="*/ 2994290 h 3429000"/>
              <a:gd name="connsiteX96" fmla="*/ 1640662 w 12192000"/>
              <a:gd name="connsiteY96" fmla="*/ 3023426 h 3429000"/>
              <a:gd name="connsiteX97" fmla="*/ 1659953 w 12192000"/>
              <a:gd name="connsiteY97" fmla="*/ 3023426 h 3429000"/>
              <a:gd name="connsiteX98" fmla="*/ 1659953 w 12192000"/>
              <a:gd name="connsiteY98" fmla="*/ 3089911 h 3429000"/>
              <a:gd name="connsiteX99" fmla="*/ 1695318 w 12192000"/>
              <a:gd name="connsiteY99" fmla="*/ 3117194 h 3429000"/>
              <a:gd name="connsiteX100" fmla="*/ 1722377 w 12192000"/>
              <a:gd name="connsiteY100" fmla="*/ 3115604 h 3429000"/>
              <a:gd name="connsiteX101" fmla="*/ 1722377 w 12192000"/>
              <a:gd name="connsiteY101" fmla="*/ 3086203 h 3429000"/>
              <a:gd name="connsiteX102" fmla="*/ 1706303 w 12192000"/>
              <a:gd name="connsiteY102" fmla="*/ 3086998 h 3429000"/>
              <a:gd name="connsiteX103" fmla="*/ 1694780 w 12192000"/>
              <a:gd name="connsiteY103" fmla="*/ 3078256 h 3429000"/>
              <a:gd name="connsiteX104" fmla="*/ 1694780 w 12192000"/>
              <a:gd name="connsiteY104" fmla="*/ 3023426 h 3429000"/>
              <a:gd name="connsiteX105" fmla="*/ 1721302 w 12192000"/>
              <a:gd name="connsiteY105" fmla="*/ 3023426 h 3429000"/>
              <a:gd name="connsiteX106" fmla="*/ 1721302 w 12192000"/>
              <a:gd name="connsiteY106" fmla="*/ 2994290 h 3429000"/>
              <a:gd name="connsiteX107" fmla="*/ 1694780 w 12192000"/>
              <a:gd name="connsiteY107" fmla="*/ 2994290 h 3429000"/>
              <a:gd name="connsiteX108" fmla="*/ 1694780 w 12192000"/>
              <a:gd name="connsiteY108" fmla="*/ 2948201 h 3429000"/>
              <a:gd name="connsiteX109" fmla="*/ 1884617 w 12192000"/>
              <a:gd name="connsiteY109" fmla="*/ 2930355 h 3429000"/>
              <a:gd name="connsiteX110" fmla="*/ 1884617 w 12192000"/>
              <a:gd name="connsiteY110" fmla="*/ 2963335 h 3429000"/>
              <a:gd name="connsiteX111" fmla="*/ 1893998 w 12192000"/>
              <a:gd name="connsiteY111" fmla="*/ 2963335 h 3429000"/>
              <a:gd name="connsiteX112" fmla="*/ 1893998 w 12192000"/>
              <a:gd name="connsiteY112" fmla="*/ 2944492 h 3429000"/>
              <a:gd name="connsiteX113" fmla="*/ 1898291 w 12192000"/>
              <a:gd name="connsiteY113" fmla="*/ 2956270 h 3429000"/>
              <a:gd name="connsiteX114" fmla="*/ 1905819 w 12192000"/>
              <a:gd name="connsiteY114" fmla="*/ 2956270 h 3429000"/>
              <a:gd name="connsiteX115" fmla="*/ 1910111 w 12192000"/>
              <a:gd name="connsiteY115" fmla="*/ 2944492 h 3429000"/>
              <a:gd name="connsiteX116" fmla="*/ 1910111 w 12192000"/>
              <a:gd name="connsiteY116" fmla="*/ 2963335 h 3429000"/>
              <a:gd name="connsiteX117" fmla="*/ 1919685 w 12192000"/>
              <a:gd name="connsiteY117" fmla="*/ 2963335 h 3429000"/>
              <a:gd name="connsiteX118" fmla="*/ 1919685 w 12192000"/>
              <a:gd name="connsiteY118" fmla="*/ 2930355 h 3429000"/>
              <a:gd name="connsiteX119" fmla="*/ 1907566 w 12192000"/>
              <a:gd name="connsiteY119" fmla="*/ 2930355 h 3429000"/>
              <a:gd name="connsiteX120" fmla="*/ 1902362 w 12192000"/>
              <a:gd name="connsiteY120" fmla="*/ 2944114 h 3429000"/>
              <a:gd name="connsiteX121" fmla="*/ 1897494 w 12192000"/>
              <a:gd name="connsiteY121" fmla="*/ 2930355 h 3429000"/>
              <a:gd name="connsiteX122" fmla="*/ 1850683 w 12192000"/>
              <a:gd name="connsiteY122" fmla="*/ 2930355 h 3429000"/>
              <a:gd name="connsiteX123" fmla="*/ 1850683 w 12192000"/>
              <a:gd name="connsiteY123" fmla="*/ 2938929 h 3429000"/>
              <a:gd name="connsiteX124" fmla="*/ 1860074 w 12192000"/>
              <a:gd name="connsiteY124" fmla="*/ 2938929 h 3429000"/>
              <a:gd name="connsiteX125" fmla="*/ 1860074 w 12192000"/>
              <a:gd name="connsiteY125" fmla="*/ 2963335 h 3429000"/>
              <a:gd name="connsiteX126" fmla="*/ 1869839 w 12192000"/>
              <a:gd name="connsiteY126" fmla="*/ 2963335 h 3429000"/>
              <a:gd name="connsiteX127" fmla="*/ 1869839 w 12192000"/>
              <a:gd name="connsiteY127" fmla="*/ 2938929 h 3429000"/>
              <a:gd name="connsiteX128" fmla="*/ 1879230 w 12192000"/>
              <a:gd name="connsiteY128" fmla="*/ 2938929 h 3429000"/>
              <a:gd name="connsiteX129" fmla="*/ 1879230 w 12192000"/>
              <a:gd name="connsiteY129" fmla="*/ 2930355 h 3429000"/>
              <a:gd name="connsiteX130" fmla="*/ 1352105 w 12192000"/>
              <a:gd name="connsiteY130" fmla="*/ 2930189 h 3429000"/>
              <a:gd name="connsiteX131" fmla="*/ 1329868 w 12192000"/>
              <a:gd name="connsiteY131" fmla="*/ 2952439 h 3429000"/>
              <a:gd name="connsiteX132" fmla="*/ 1352108 w 12192000"/>
              <a:gd name="connsiteY132" fmla="*/ 2974427 h 3429000"/>
              <a:gd name="connsiteX133" fmla="*/ 1374610 w 12192000"/>
              <a:gd name="connsiteY133" fmla="*/ 2952439 h 3429000"/>
              <a:gd name="connsiteX134" fmla="*/ 1374610 w 12192000"/>
              <a:gd name="connsiteY134" fmla="*/ 2952364 h 3429000"/>
              <a:gd name="connsiteX135" fmla="*/ 1352105 w 12192000"/>
              <a:gd name="connsiteY135" fmla="*/ 2930189 h 3429000"/>
              <a:gd name="connsiteX136" fmla="*/ 1041583 w 12192000"/>
              <a:gd name="connsiteY136" fmla="*/ 2930189 h 3429000"/>
              <a:gd name="connsiteX137" fmla="*/ 1041583 w 12192000"/>
              <a:gd name="connsiteY137" fmla="*/ 3115604 h 3429000"/>
              <a:gd name="connsiteX138" fmla="*/ 1076143 w 12192000"/>
              <a:gd name="connsiteY138" fmla="*/ 3115604 h 3429000"/>
              <a:gd name="connsiteX139" fmla="*/ 1076143 w 12192000"/>
              <a:gd name="connsiteY139" fmla="*/ 2930189 h 3429000"/>
              <a:gd name="connsiteX140" fmla="*/ 925239 w 12192000"/>
              <a:gd name="connsiteY140" fmla="*/ 2926990 h 3429000"/>
              <a:gd name="connsiteX141" fmla="*/ 832602 w 12192000"/>
              <a:gd name="connsiteY141" fmla="*/ 3022897 h 3429000"/>
              <a:gd name="connsiteX142" fmla="*/ 832623 w 12192000"/>
              <a:gd name="connsiteY142" fmla="*/ 3027990 h 3429000"/>
              <a:gd name="connsiteX143" fmla="*/ 930389 w 12192000"/>
              <a:gd name="connsiteY143" fmla="*/ 3118783 h 3429000"/>
              <a:gd name="connsiteX144" fmla="*/ 1022285 w 12192000"/>
              <a:gd name="connsiteY144" fmla="*/ 3049650 h 3429000"/>
              <a:gd name="connsiteX145" fmla="*/ 981294 w 12192000"/>
              <a:gd name="connsiteY145" fmla="*/ 3049650 h 3429000"/>
              <a:gd name="connsiteX146" fmla="*/ 930389 w 12192000"/>
              <a:gd name="connsiteY146" fmla="*/ 3084878 h 3429000"/>
              <a:gd name="connsiteX147" fmla="*/ 871450 w 12192000"/>
              <a:gd name="connsiteY147" fmla="*/ 3022897 h 3429000"/>
              <a:gd name="connsiteX148" fmla="*/ 930389 w 12192000"/>
              <a:gd name="connsiteY148" fmla="*/ 2960916 h 3429000"/>
              <a:gd name="connsiteX149" fmla="*/ 981294 w 12192000"/>
              <a:gd name="connsiteY149" fmla="*/ 2996144 h 3429000"/>
              <a:gd name="connsiteX150" fmla="*/ 1022285 w 12192000"/>
              <a:gd name="connsiteY150" fmla="*/ 2996144 h 3429000"/>
              <a:gd name="connsiteX151" fmla="*/ 930389 w 12192000"/>
              <a:gd name="connsiteY151" fmla="*/ 2927011 h 3429000"/>
              <a:gd name="connsiteX152" fmla="*/ 925239 w 12192000"/>
              <a:gd name="connsiteY152" fmla="*/ 2926990 h 3429000"/>
              <a:gd name="connsiteX153" fmla="*/ 651232 w 12192000"/>
              <a:gd name="connsiteY153" fmla="*/ 2907161 h 3429000"/>
              <a:gd name="connsiteX154" fmla="*/ 624479 w 12192000"/>
              <a:gd name="connsiteY154" fmla="*/ 2955726 h 3429000"/>
              <a:gd name="connsiteX155" fmla="*/ 742033 w 12192000"/>
              <a:gd name="connsiteY155" fmla="*/ 3022914 h 3429000"/>
              <a:gd name="connsiteX156" fmla="*/ 624512 w 12192000"/>
              <a:gd name="connsiteY156" fmla="*/ 3090097 h 3429000"/>
              <a:gd name="connsiteX157" fmla="*/ 651373 w 12192000"/>
              <a:gd name="connsiteY157" fmla="*/ 3138631 h 3429000"/>
              <a:gd name="connsiteX158" fmla="*/ 771228 w 12192000"/>
              <a:gd name="connsiteY158" fmla="*/ 3070136 h 3429000"/>
              <a:gd name="connsiteX159" fmla="*/ 742033 w 12192000"/>
              <a:gd name="connsiteY159" fmla="*/ 3022914 h 3429000"/>
              <a:gd name="connsiteX160" fmla="*/ 771227 w 12192000"/>
              <a:gd name="connsiteY160" fmla="*/ 2975692 h 3429000"/>
              <a:gd name="connsiteX161" fmla="*/ 651232 w 12192000"/>
              <a:gd name="connsiteY161" fmla="*/ 2907161 h 3429000"/>
              <a:gd name="connsiteX162" fmla="*/ 0 w 12192000"/>
              <a:gd name="connsiteY162" fmla="*/ 0 h 3429000"/>
              <a:gd name="connsiteX163" fmla="*/ 12192000 w 12192000"/>
              <a:gd name="connsiteY163" fmla="*/ 0 h 3429000"/>
              <a:gd name="connsiteX164" fmla="*/ 12192000 w 12192000"/>
              <a:gd name="connsiteY164" fmla="*/ 3429000 h 3429000"/>
              <a:gd name="connsiteX165" fmla="*/ 8040688 w 12192000"/>
              <a:gd name="connsiteY165" fmla="*/ 3429000 h 3429000"/>
              <a:gd name="connsiteX166" fmla="*/ 7499776 w 12192000"/>
              <a:gd name="connsiteY166" fmla="*/ 3429000 h 3429000"/>
              <a:gd name="connsiteX167" fmla="*/ 0 w 12192000"/>
              <a:gd name="connsiteY167" fmla="*/ 3429000 h 34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12192000" h="3429000">
                <a:moveTo>
                  <a:pt x="1592699" y="3063423"/>
                </a:moveTo>
                <a:lnTo>
                  <a:pt x="1592699" y="3072164"/>
                </a:lnTo>
                <a:cubicBezTo>
                  <a:pt x="1592738" y="3073241"/>
                  <a:pt x="1592680" y="3074319"/>
                  <a:pt x="1592546" y="3075388"/>
                </a:cubicBezTo>
                <a:cubicBezTo>
                  <a:pt x="1591096" y="3086890"/>
                  <a:pt x="1580495" y="3095053"/>
                  <a:pt x="1568857" y="3093619"/>
                </a:cubicBezTo>
                <a:cubicBezTo>
                  <a:pt x="1558141" y="3093619"/>
                  <a:pt x="1551438" y="3087526"/>
                  <a:pt x="1551438" y="3079315"/>
                </a:cubicBezTo>
                <a:cubicBezTo>
                  <a:pt x="1551438" y="3070839"/>
                  <a:pt x="1557872" y="3066071"/>
                  <a:pt x="1568857" y="3066071"/>
                </a:cubicBezTo>
                <a:lnTo>
                  <a:pt x="1581983" y="3066071"/>
                </a:lnTo>
                <a:cubicBezTo>
                  <a:pt x="1585766" y="3066554"/>
                  <a:pt x="1589598" y="3065609"/>
                  <a:pt x="1592699" y="3063423"/>
                </a:cubicBezTo>
                <a:close/>
                <a:moveTo>
                  <a:pt x="1172060" y="3063423"/>
                </a:moveTo>
                <a:lnTo>
                  <a:pt x="1172060" y="3072164"/>
                </a:lnTo>
                <a:cubicBezTo>
                  <a:pt x="1172093" y="3073242"/>
                  <a:pt x="1172042" y="3074320"/>
                  <a:pt x="1171906" y="3075389"/>
                </a:cubicBezTo>
                <a:cubicBezTo>
                  <a:pt x="1170456" y="3086891"/>
                  <a:pt x="1159850" y="3095053"/>
                  <a:pt x="1148216" y="3093619"/>
                </a:cubicBezTo>
                <a:cubicBezTo>
                  <a:pt x="1137499" y="3093619"/>
                  <a:pt x="1130802" y="3087526"/>
                  <a:pt x="1130802" y="3079315"/>
                </a:cubicBezTo>
                <a:cubicBezTo>
                  <a:pt x="1130802" y="3070839"/>
                  <a:pt x="1137232" y="3066071"/>
                  <a:pt x="1148216" y="3066071"/>
                </a:cubicBezTo>
                <a:lnTo>
                  <a:pt x="1161343" y="3066071"/>
                </a:lnTo>
                <a:cubicBezTo>
                  <a:pt x="1165125" y="3066554"/>
                  <a:pt x="1168953" y="3065609"/>
                  <a:pt x="1172060" y="3063423"/>
                </a:cubicBezTo>
                <a:close/>
                <a:moveTo>
                  <a:pt x="1796056" y="3019718"/>
                </a:moveTo>
                <a:cubicBezTo>
                  <a:pt x="1809461" y="3019340"/>
                  <a:pt x="1821051" y="3028873"/>
                  <a:pt x="1823115" y="3041969"/>
                </a:cubicBezTo>
                <a:lnTo>
                  <a:pt x="1768190" y="3041969"/>
                </a:lnTo>
                <a:cubicBezTo>
                  <a:pt x="1770601" y="3028738"/>
                  <a:pt x="1782469" y="3019261"/>
                  <a:pt x="1796056" y="3019718"/>
                </a:cubicBezTo>
                <a:close/>
                <a:moveTo>
                  <a:pt x="1385331" y="2994290"/>
                </a:moveTo>
                <a:lnTo>
                  <a:pt x="1427128" y="3115605"/>
                </a:lnTo>
                <a:lnTo>
                  <a:pt x="1470261" y="3115605"/>
                </a:lnTo>
                <a:lnTo>
                  <a:pt x="1513932" y="2994290"/>
                </a:lnTo>
                <a:lnTo>
                  <a:pt x="1477223" y="2994290"/>
                </a:lnTo>
                <a:lnTo>
                  <a:pt x="1449367" y="3078521"/>
                </a:lnTo>
                <a:lnTo>
                  <a:pt x="1423104" y="2994290"/>
                </a:lnTo>
                <a:close/>
                <a:moveTo>
                  <a:pt x="1319153" y="2994290"/>
                </a:moveTo>
                <a:lnTo>
                  <a:pt x="1319153" y="3023426"/>
                </a:lnTo>
                <a:lnTo>
                  <a:pt x="1336299" y="3023426"/>
                </a:lnTo>
                <a:lnTo>
                  <a:pt x="1336299" y="3115604"/>
                </a:lnTo>
                <a:lnTo>
                  <a:pt x="1371127" y="3115604"/>
                </a:lnTo>
                <a:lnTo>
                  <a:pt x="1371127" y="2994290"/>
                </a:lnTo>
                <a:close/>
                <a:moveTo>
                  <a:pt x="1293161" y="2992700"/>
                </a:moveTo>
                <a:cubicBezTo>
                  <a:pt x="1279051" y="2992037"/>
                  <a:pt x="1266138" y="3000512"/>
                  <a:pt x="1261280" y="3013626"/>
                </a:cubicBezTo>
                <a:lnTo>
                  <a:pt x="1261280" y="2994290"/>
                </a:lnTo>
                <a:lnTo>
                  <a:pt x="1227522" y="2994290"/>
                </a:lnTo>
                <a:lnTo>
                  <a:pt x="1227522" y="3115604"/>
                </a:lnTo>
                <a:lnTo>
                  <a:pt x="1262352" y="3115604"/>
                </a:lnTo>
                <a:lnTo>
                  <a:pt x="1262352" y="3057596"/>
                </a:lnTo>
                <a:cubicBezTo>
                  <a:pt x="1262352" y="3036405"/>
                  <a:pt x="1270389" y="3028194"/>
                  <a:pt x="1288073" y="3028194"/>
                </a:cubicBezTo>
                <a:lnTo>
                  <a:pt x="1302808" y="3028194"/>
                </a:lnTo>
                <a:lnTo>
                  <a:pt x="1302808" y="2993760"/>
                </a:lnTo>
                <a:cubicBezTo>
                  <a:pt x="1299648" y="2993016"/>
                  <a:pt x="1296409" y="2992660"/>
                  <a:pt x="1293161" y="2992700"/>
                </a:cubicBezTo>
                <a:close/>
                <a:moveTo>
                  <a:pt x="1796056" y="2991112"/>
                </a:moveTo>
                <a:cubicBezTo>
                  <a:pt x="1794693" y="2991076"/>
                  <a:pt x="1793320" y="2991084"/>
                  <a:pt x="1791956" y="2991138"/>
                </a:cubicBezTo>
                <a:cubicBezTo>
                  <a:pt x="1757657" y="2992470"/>
                  <a:pt x="1730943" y="3021039"/>
                  <a:pt x="1732297" y="3054948"/>
                </a:cubicBezTo>
                <a:cubicBezTo>
                  <a:pt x="1732749" y="3080035"/>
                  <a:pt x="1747766" y="3102624"/>
                  <a:pt x="1770879" y="3112990"/>
                </a:cubicBezTo>
                <a:cubicBezTo>
                  <a:pt x="1803959" y="3127828"/>
                  <a:pt x="1842934" y="3113344"/>
                  <a:pt x="1857943" y="3080641"/>
                </a:cubicBezTo>
                <a:lnTo>
                  <a:pt x="1821781" y="3076933"/>
                </a:lnTo>
                <a:cubicBezTo>
                  <a:pt x="1817229" y="3083448"/>
                  <a:pt x="1810181" y="3087829"/>
                  <a:pt x="1802269" y="3089046"/>
                </a:cubicBezTo>
                <a:cubicBezTo>
                  <a:pt x="1786368" y="3091493"/>
                  <a:pt x="1771474" y="3080733"/>
                  <a:pt x="1768997" y="3065013"/>
                </a:cubicBezTo>
                <a:lnTo>
                  <a:pt x="1860353" y="3065013"/>
                </a:lnTo>
                <a:lnTo>
                  <a:pt x="1860353" y="3063689"/>
                </a:lnTo>
                <a:cubicBezTo>
                  <a:pt x="1860353" y="3012832"/>
                  <a:pt x="1829808" y="2991112"/>
                  <a:pt x="1796056" y="2991112"/>
                </a:cubicBezTo>
                <a:close/>
                <a:moveTo>
                  <a:pt x="1574215" y="2991111"/>
                </a:moveTo>
                <a:cubicBezTo>
                  <a:pt x="1555692" y="2991390"/>
                  <a:pt x="1537573" y="2996507"/>
                  <a:pt x="1521700" y="3005944"/>
                </a:cubicBezTo>
                <a:lnTo>
                  <a:pt x="1535364" y="3031902"/>
                </a:lnTo>
                <a:cubicBezTo>
                  <a:pt x="1546618" y="3025290"/>
                  <a:pt x="1559283" y="3021388"/>
                  <a:pt x="1572342" y="3020512"/>
                </a:cubicBezTo>
                <a:cubicBezTo>
                  <a:pt x="1585738" y="3020512"/>
                  <a:pt x="1592699" y="3026075"/>
                  <a:pt x="1592699" y="3034816"/>
                </a:cubicBezTo>
                <a:lnTo>
                  <a:pt x="1592699" y="3036140"/>
                </a:lnTo>
                <a:cubicBezTo>
                  <a:pt x="1592699" y="3040643"/>
                  <a:pt x="1590020" y="3043292"/>
                  <a:pt x="1584124" y="3043292"/>
                </a:cubicBezTo>
                <a:lnTo>
                  <a:pt x="1560013" y="3043292"/>
                </a:lnTo>
                <a:cubicBezTo>
                  <a:pt x="1532685" y="3043292"/>
                  <a:pt x="1515545" y="3057595"/>
                  <a:pt x="1515545" y="3080640"/>
                </a:cubicBezTo>
                <a:cubicBezTo>
                  <a:pt x="1515555" y="3081010"/>
                  <a:pt x="1515574" y="3081380"/>
                  <a:pt x="1515603" y="3081750"/>
                </a:cubicBezTo>
                <a:cubicBezTo>
                  <a:pt x="1517081" y="3103663"/>
                  <a:pt x="1536247" y="3120244"/>
                  <a:pt x="1558409" y="3118782"/>
                </a:cubicBezTo>
                <a:cubicBezTo>
                  <a:pt x="1571536" y="3119591"/>
                  <a:pt x="1584259" y="3114183"/>
                  <a:pt x="1592699" y="3104214"/>
                </a:cubicBezTo>
                <a:lnTo>
                  <a:pt x="1592699" y="3115604"/>
                </a:lnTo>
                <a:lnTo>
                  <a:pt x="1627527" y="3115604"/>
                </a:lnTo>
                <a:lnTo>
                  <a:pt x="1627527" y="3035875"/>
                </a:lnTo>
                <a:cubicBezTo>
                  <a:pt x="1627527" y="3003825"/>
                  <a:pt x="1602081" y="2991111"/>
                  <a:pt x="1574215" y="2991111"/>
                </a:cubicBezTo>
                <a:close/>
                <a:moveTo>
                  <a:pt x="1153574" y="2991111"/>
                </a:moveTo>
                <a:cubicBezTo>
                  <a:pt x="1135053" y="2991390"/>
                  <a:pt x="1116936" y="2996508"/>
                  <a:pt x="1101062" y="3005944"/>
                </a:cubicBezTo>
                <a:lnTo>
                  <a:pt x="1114726" y="3031902"/>
                </a:lnTo>
                <a:cubicBezTo>
                  <a:pt x="1125976" y="3025290"/>
                  <a:pt x="1138641" y="3021388"/>
                  <a:pt x="1151699" y="3020512"/>
                </a:cubicBezTo>
                <a:cubicBezTo>
                  <a:pt x="1165095" y="3020512"/>
                  <a:pt x="1172060" y="3026075"/>
                  <a:pt x="1172060" y="3034816"/>
                </a:cubicBezTo>
                <a:lnTo>
                  <a:pt x="1172060" y="3036140"/>
                </a:lnTo>
                <a:cubicBezTo>
                  <a:pt x="1172060" y="3040643"/>
                  <a:pt x="1169381" y="3043292"/>
                  <a:pt x="1163487" y="3043292"/>
                </a:cubicBezTo>
                <a:lnTo>
                  <a:pt x="1139375" y="3043292"/>
                </a:lnTo>
                <a:cubicBezTo>
                  <a:pt x="1112046" y="3043292"/>
                  <a:pt x="1094901" y="3057595"/>
                  <a:pt x="1094901" y="3080640"/>
                </a:cubicBezTo>
                <a:cubicBezTo>
                  <a:pt x="1094915" y="3081010"/>
                  <a:pt x="1094936" y="3081379"/>
                  <a:pt x="1094960" y="3081749"/>
                </a:cubicBezTo>
                <a:cubicBezTo>
                  <a:pt x="1096437" y="3103662"/>
                  <a:pt x="1115603" y="3120243"/>
                  <a:pt x="1137766" y="3118782"/>
                </a:cubicBezTo>
                <a:cubicBezTo>
                  <a:pt x="1150890" y="3119592"/>
                  <a:pt x="1163622" y="3114184"/>
                  <a:pt x="1172060" y="3104214"/>
                </a:cubicBezTo>
                <a:lnTo>
                  <a:pt x="1172060" y="3115604"/>
                </a:lnTo>
                <a:lnTo>
                  <a:pt x="1206890" y="3115604"/>
                </a:lnTo>
                <a:lnTo>
                  <a:pt x="1206890" y="3035875"/>
                </a:lnTo>
                <a:cubicBezTo>
                  <a:pt x="1206890" y="3003825"/>
                  <a:pt x="1181438" y="2991111"/>
                  <a:pt x="1153574" y="2991111"/>
                </a:cubicBezTo>
                <a:close/>
                <a:moveTo>
                  <a:pt x="568575" y="2954429"/>
                </a:moveTo>
                <a:cubicBezTo>
                  <a:pt x="555414" y="2999156"/>
                  <a:pt x="555406" y="3046664"/>
                  <a:pt x="568549" y="3091396"/>
                </a:cubicBezTo>
                <a:cubicBezTo>
                  <a:pt x="587170" y="3093621"/>
                  <a:pt x="606017" y="3093184"/>
                  <a:pt x="624511" y="3090097"/>
                </a:cubicBezTo>
                <a:cubicBezTo>
                  <a:pt x="610287" y="3052610"/>
                  <a:pt x="608324" y="3011654"/>
                  <a:pt x="618898" y="2973004"/>
                </a:cubicBezTo>
                <a:cubicBezTo>
                  <a:pt x="620492" y="2967123"/>
                  <a:pt x="622369" y="2961366"/>
                  <a:pt x="624479" y="2955725"/>
                </a:cubicBezTo>
                <a:cubicBezTo>
                  <a:pt x="606004" y="2952645"/>
                  <a:pt x="587176" y="2952208"/>
                  <a:pt x="568575" y="2954429"/>
                </a:cubicBezTo>
                <a:close/>
                <a:moveTo>
                  <a:pt x="1659953" y="2948201"/>
                </a:moveTo>
                <a:lnTo>
                  <a:pt x="1659953" y="2994290"/>
                </a:lnTo>
                <a:lnTo>
                  <a:pt x="1640662" y="2994290"/>
                </a:lnTo>
                <a:lnTo>
                  <a:pt x="1640662" y="3023426"/>
                </a:lnTo>
                <a:lnTo>
                  <a:pt x="1659953" y="3023426"/>
                </a:lnTo>
                <a:lnTo>
                  <a:pt x="1659953" y="3089911"/>
                </a:lnTo>
                <a:cubicBezTo>
                  <a:pt x="1659953" y="3114280"/>
                  <a:pt x="1677900" y="3117194"/>
                  <a:pt x="1695318" y="3117194"/>
                </a:cubicBezTo>
                <a:cubicBezTo>
                  <a:pt x="1705497" y="3117194"/>
                  <a:pt x="1722377" y="3115604"/>
                  <a:pt x="1722377" y="3115604"/>
                </a:cubicBezTo>
                <a:lnTo>
                  <a:pt x="1722377" y="3086203"/>
                </a:lnTo>
                <a:cubicBezTo>
                  <a:pt x="1722377" y="3086203"/>
                  <a:pt x="1715137" y="3086998"/>
                  <a:pt x="1706303" y="3086998"/>
                </a:cubicBezTo>
                <a:cubicBezTo>
                  <a:pt x="1700945" y="3086998"/>
                  <a:pt x="1694780" y="3085938"/>
                  <a:pt x="1694780" y="3078256"/>
                </a:cubicBezTo>
                <a:lnTo>
                  <a:pt x="1694780" y="3023426"/>
                </a:lnTo>
                <a:lnTo>
                  <a:pt x="1721302" y="3023426"/>
                </a:lnTo>
                <a:lnTo>
                  <a:pt x="1721302" y="2994290"/>
                </a:lnTo>
                <a:lnTo>
                  <a:pt x="1694780" y="2994290"/>
                </a:lnTo>
                <a:lnTo>
                  <a:pt x="1694780" y="2948201"/>
                </a:lnTo>
                <a:close/>
                <a:moveTo>
                  <a:pt x="1884617" y="2930355"/>
                </a:moveTo>
                <a:lnTo>
                  <a:pt x="1884617" y="2963335"/>
                </a:lnTo>
                <a:lnTo>
                  <a:pt x="1893998" y="2963335"/>
                </a:lnTo>
                <a:lnTo>
                  <a:pt x="1893998" y="2944492"/>
                </a:lnTo>
                <a:lnTo>
                  <a:pt x="1898291" y="2956270"/>
                </a:lnTo>
                <a:lnTo>
                  <a:pt x="1905819" y="2956270"/>
                </a:lnTo>
                <a:lnTo>
                  <a:pt x="1910111" y="2944492"/>
                </a:lnTo>
                <a:lnTo>
                  <a:pt x="1910111" y="2963335"/>
                </a:lnTo>
                <a:lnTo>
                  <a:pt x="1919685" y="2963335"/>
                </a:lnTo>
                <a:lnTo>
                  <a:pt x="1919685" y="2930355"/>
                </a:lnTo>
                <a:lnTo>
                  <a:pt x="1907566" y="2930355"/>
                </a:lnTo>
                <a:lnTo>
                  <a:pt x="1902362" y="2944114"/>
                </a:lnTo>
                <a:lnTo>
                  <a:pt x="1897494" y="2930355"/>
                </a:lnTo>
                <a:close/>
                <a:moveTo>
                  <a:pt x="1850683" y="2930355"/>
                </a:moveTo>
                <a:lnTo>
                  <a:pt x="1850683" y="2938929"/>
                </a:lnTo>
                <a:lnTo>
                  <a:pt x="1860074" y="2938929"/>
                </a:lnTo>
                <a:lnTo>
                  <a:pt x="1860074" y="2963335"/>
                </a:lnTo>
                <a:lnTo>
                  <a:pt x="1869839" y="2963335"/>
                </a:lnTo>
                <a:lnTo>
                  <a:pt x="1869839" y="2938929"/>
                </a:lnTo>
                <a:lnTo>
                  <a:pt x="1879230" y="2938929"/>
                </a:lnTo>
                <a:lnTo>
                  <a:pt x="1879230" y="2930355"/>
                </a:lnTo>
                <a:close/>
                <a:moveTo>
                  <a:pt x="1352105" y="2930189"/>
                </a:moveTo>
                <a:cubicBezTo>
                  <a:pt x="1339759" y="2930284"/>
                  <a:pt x="1329816" y="2940233"/>
                  <a:pt x="1329868" y="2952439"/>
                </a:cubicBezTo>
                <a:cubicBezTo>
                  <a:pt x="1329940" y="2964552"/>
                  <a:pt x="1339855" y="2974355"/>
                  <a:pt x="1352108" y="2974427"/>
                </a:cubicBezTo>
                <a:cubicBezTo>
                  <a:pt x="1364463" y="2974498"/>
                  <a:pt x="1374538" y="2964654"/>
                  <a:pt x="1374610" y="2952439"/>
                </a:cubicBezTo>
                <a:cubicBezTo>
                  <a:pt x="1374610" y="2952414"/>
                  <a:pt x="1374610" y="2952388"/>
                  <a:pt x="1374610" y="2952364"/>
                </a:cubicBezTo>
                <a:cubicBezTo>
                  <a:pt x="1374589" y="2940096"/>
                  <a:pt x="1364513" y="2930168"/>
                  <a:pt x="1352105" y="2930189"/>
                </a:cubicBezTo>
                <a:close/>
                <a:moveTo>
                  <a:pt x="1041583" y="2930189"/>
                </a:moveTo>
                <a:lnTo>
                  <a:pt x="1041583" y="3115604"/>
                </a:lnTo>
                <a:lnTo>
                  <a:pt x="1076143" y="3115604"/>
                </a:lnTo>
                <a:lnTo>
                  <a:pt x="1076143" y="2930189"/>
                </a:lnTo>
                <a:close/>
                <a:moveTo>
                  <a:pt x="925239" y="2926990"/>
                </a:moveTo>
                <a:cubicBezTo>
                  <a:pt x="872870" y="2928183"/>
                  <a:pt x="831395" y="2971122"/>
                  <a:pt x="832602" y="3022897"/>
                </a:cubicBezTo>
                <a:cubicBezTo>
                  <a:pt x="832562" y="3024595"/>
                  <a:pt x="832569" y="3026292"/>
                  <a:pt x="832623" y="3027990"/>
                </a:cubicBezTo>
                <a:cubicBezTo>
                  <a:pt x="834261" y="3079753"/>
                  <a:pt x="878033" y="3120402"/>
                  <a:pt x="930389" y="3118783"/>
                </a:cubicBezTo>
                <a:cubicBezTo>
                  <a:pt x="973630" y="3119900"/>
                  <a:pt x="1011845" y="3091151"/>
                  <a:pt x="1022285" y="3049650"/>
                </a:cubicBezTo>
                <a:lnTo>
                  <a:pt x="981294" y="3049650"/>
                </a:lnTo>
                <a:cubicBezTo>
                  <a:pt x="974516" y="3071553"/>
                  <a:pt x="953525" y="3086080"/>
                  <a:pt x="930389" y="3084878"/>
                </a:cubicBezTo>
                <a:cubicBezTo>
                  <a:pt x="895026" y="3084878"/>
                  <a:pt x="871450" y="3058391"/>
                  <a:pt x="871450" y="3022897"/>
                </a:cubicBezTo>
                <a:cubicBezTo>
                  <a:pt x="871450" y="2987403"/>
                  <a:pt x="895026" y="2960916"/>
                  <a:pt x="930389" y="2960916"/>
                </a:cubicBezTo>
                <a:cubicBezTo>
                  <a:pt x="953525" y="2959714"/>
                  <a:pt x="974516" y="2974241"/>
                  <a:pt x="981294" y="2996144"/>
                </a:cubicBezTo>
                <a:lnTo>
                  <a:pt x="1022285" y="2996144"/>
                </a:lnTo>
                <a:cubicBezTo>
                  <a:pt x="1011846" y="2954642"/>
                  <a:pt x="973630" y="2925892"/>
                  <a:pt x="930389" y="2927011"/>
                </a:cubicBezTo>
                <a:cubicBezTo>
                  <a:pt x="928673" y="2926958"/>
                  <a:pt x="926955" y="2926951"/>
                  <a:pt x="925239" y="2926990"/>
                </a:cubicBezTo>
                <a:close/>
                <a:moveTo>
                  <a:pt x="651232" y="2907161"/>
                </a:moveTo>
                <a:cubicBezTo>
                  <a:pt x="639985" y="2921984"/>
                  <a:pt x="630973" y="2938343"/>
                  <a:pt x="624479" y="2955726"/>
                </a:cubicBezTo>
                <a:cubicBezTo>
                  <a:pt x="670541" y="2963471"/>
                  <a:pt x="712258" y="2987315"/>
                  <a:pt x="742033" y="3022914"/>
                </a:cubicBezTo>
                <a:cubicBezTo>
                  <a:pt x="712265" y="3058505"/>
                  <a:pt x="670562" y="3082346"/>
                  <a:pt x="624512" y="3090097"/>
                </a:cubicBezTo>
                <a:cubicBezTo>
                  <a:pt x="631041" y="3107476"/>
                  <a:pt x="640089" y="3123825"/>
                  <a:pt x="651373" y="3138631"/>
                </a:cubicBezTo>
                <a:cubicBezTo>
                  <a:pt x="697088" y="3127502"/>
                  <a:pt x="738657" y="3103746"/>
                  <a:pt x="771228" y="3070136"/>
                </a:cubicBezTo>
                <a:cubicBezTo>
                  <a:pt x="763842" y="3053091"/>
                  <a:pt x="754009" y="3037186"/>
                  <a:pt x="742033" y="3022914"/>
                </a:cubicBezTo>
                <a:cubicBezTo>
                  <a:pt x="754009" y="3008642"/>
                  <a:pt x="763841" y="2992738"/>
                  <a:pt x="771227" y="2975692"/>
                </a:cubicBezTo>
                <a:cubicBezTo>
                  <a:pt x="738623" y="2942047"/>
                  <a:pt x="697001" y="2918276"/>
                  <a:pt x="651232" y="2907161"/>
                </a:cubicBezTo>
                <a:close/>
                <a:moveTo>
                  <a:pt x="0" y="0"/>
                </a:moveTo>
                <a:lnTo>
                  <a:pt x="12192000" y="0"/>
                </a:lnTo>
                <a:lnTo>
                  <a:pt x="12192000" y="3429000"/>
                </a:lnTo>
                <a:lnTo>
                  <a:pt x="8040688" y="3429000"/>
                </a:lnTo>
                <a:lnTo>
                  <a:pt x="7499776" y="3429000"/>
                </a:lnTo>
                <a:lnTo>
                  <a:pt x="0" y="3429000"/>
                </a:lnTo>
                <a:close/>
              </a:path>
            </a:pathLst>
          </a:custGeom>
          <a:solidFill>
            <a:schemeClr val="bg1">
              <a:lumMod val="95000"/>
            </a:schemeClr>
          </a:solidFill>
          <a:ln>
            <a:noFill/>
          </a:ln>
        </p:spPr>
        <p:txBody>
          <a:bodyPr wrap="square" tIns="108000" anchor="t" anchorCtr="0">
            <a:noAutofit/>
          </a:bodyPr>
          <a:lstStyle>
            <a:lvl1pPr marL="0" indent="0" algn="ctr">
              <a:buNone/>
              <a:defRPr sz="1000">
                <a:solidFill>
                  <a:schemeClr val="accent2"/>
                </a:solidFill>
                <a:latin typeface="+mn-lt"/>
              </a:defRPr>
            </a:lvl1pPr>
          </a:lstStyle>
          <a:p>
            <a:pPr lvl="0"/>
            <a:r>
              <a:rPr lang="en-US"/>
              <a:t>Drag picture file here or click </a:t>
            </a:r>
            <a:r>
              <a:rPr lang="en-US" noProof="0"/>
              <a:t>center</a:t>
            </a:r>
            <a:r>
              <a:rPr lang="en-US"/>
              <a:t> icon to insert light image</a:t>
            </a:r>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7" y="6348353"/>
            <a:ext cx="3292474" cy="215901"/>
          </a:xfrm>
        </p:spPr>
        <p:txBody>
          <a:bodyPr/>
          <a:lstStyle>
            <a:lvl1pPr>
              <a:defRPr>
                <a:solidFill>
                  <a:schemeClr val="tx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251885"/>
          </a:xfrm>
        </p:spPr>
        <p:txBody>
          <a:bodyPr/>
          <a:lstStyle>
            <a:lvl1pPr>
              <a:defRPr/>
            </a:lvl1pPr>
          </a:lstStyle>
          <a:p>
            <a:r>
              <a:rPr lang="en-US"/>
              <a:t>Header avenir demi</a:t>
            </a:r>
            <a:endParaRPr lang="en-GB"/>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7" name="Text Placeholder 12">
            <a:extLst>
              <a:ext uri="{FF2B5EF4-FFF2-40B4-BE49-F238E27FC236}">
                <a16:creationId xmlns:a16="http://schemas.microsoft.com/office/drawing/2014/main" id="{841E26EB-9911-0A6E-407B-8667159EEC13}"/>
              </a:ext>
            </a:extLst>
          </p:cNvPr>
          <p:cNvSpPr>
            <a:spLocks noGrp="1"/>
          </p:cNvSpPr>
          <p:nvPr>
            <p:ph type="body" sz="quarter" idx="14"/>
          </p:nvPr>
        </p:nvSpPr>
        <p:spPr>
          <a:xfrm>
            <a:off x="550863" y="1808164"/>
            <a:ext cx="3204000" cy="1441450"/>
          </a:xfrm>
        </p:spPr>
        <p:txBody>
          <a:bodyPr/>
          <a:lstStyle/>
          <a:p>
            <a:pPr lvl="0"/>
            <a:r>
              <a:rPr lang="en-US"/>
              <a:t>Click to edit Master text styles</a:t>
            </a:r>
          </a:p>
          <a:p>
            <a:pPr lvl="1"/>
            <a:r>
              <a:rPr lang="en-US"/>
              <a:t>Second level</a:t>
            </a:r>
          </a:p>
          <a:p>
            <a:pPr lvl="2"/>
            <a:r>
              <a:rPr lang="en-US"/>
              <a:t>Third level</a:t>
            </a:r>
          </a:p>
        </p:txBody>
      </p:sp>
      <p:sp>
        <p:nvSpPr>
          <p:cNvPr id="10" name="Text Placeholder 12">
            <a:extLst>
              <a:ext uri="{FF2B5EF4-FFF2-40B4-BE49-F238E27FC236}">
                <a16:creationId xmlns:a16="http://schemas.microsoft.com/office/drawing/2014/main" id="{45BEBC43-8186-4AEB-F4CF-271F011B0368}"/>
              </a:ext>
            </a:extLst>
          </p:cNvPr>
          <p:cNvSpPr>
            <a:spLocks noGrp="1"/>
          </p:cNvSpPr>
          <p:nvPr>
            <p:ph type="body" sz="quarter" idx="15"/>
          </p:nvPr>
        </p:nvSpPr>
        <p:spPr>
          <a:xfrm>
            <a:off x="4295776" y="1808164"/>
            <a:ext cx="3204000" cy="1441450"/>
          </a:xfrm>
        </p:spPr>
        <p:txBody>
          <a:bodyPr/>
          <a:lstStyle/>
          <a:p>
            <a:pPr lvl="0"/>
            <a:r>
              <a:rPr lang="en-US"/>
              <a:t>Click to edit Master text styles</a:t>
            </a:r>
          </a:p>
          <a:p>
            <a:pPr lvl="1"/>
            <a:r>
              <a:rPr lang="en-US"/>
              <a:t>Second level</a:t>
            </a:r>
          </a:p>
          <a:p>
            <a:pPr lvl="2"/>
            <a:r>
              <a:rPr lang="en-US"/>
              <a:t>Third level</a:t>
            </a:r>
          </a:p>
        </p:txBody>
      </p:sp>
      <p:sp>
        <p:nvSpPr>
          <p:cNvPr id="11" name="Text Placeholder 12">
            <a:extLst>
              <a:ext uri="{FF2B5EF4-FFF2-40B4-BE49-F238E27FC236}">
                <a16:creationId xmlns:a16="http://schemas.microsoft.com/office/drawing/2014/main" id="{042CC176-3CD8-0372-5942-EAD056B059E7}"/>
              </a:ext>
            </a:extLst>
          </p:cNvPr>
          <p:cNvSpPr>
            <a:spLocks noGrp="1"/>
          </p:cNvSpPr>
          <p:nvPr>
            <p:ph type="body" sz="quarter" idx="16"/>
          </p:nvPr>
        </p:nvSpPr>
        <p:spPr>
          <a:xfrm>
            <a:off x="8040687" y="1808164"/>
            <a:ext cx="3204000" cy="1441450"/>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6203957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Horizontal Split - 3x Col / Dark Ima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8B8D9C3-5BDF-8ABB-CC9B-760506715205}"/>
              </a:ext>
            </a:extLst>
          </p:cNvPr>
          <p:cNvSpPr/>
          <p:nvPr userDrawn="1"/>
        </p:nvSpPr>
        <p:spPr>
          <a:xfrm>
            <a:off x="9912350" y="6129338"/>
            <a:ext cx="2279650" cy="7286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Rectangle 4">
            <a:extLst>
              <a:ext uri="{FF2B5EF4-FFF2-40B4-BE49-F238E27FC236}">
                <a16:creationId xmlns:a16="http://schemas.microsoft.com/office/drawing/2014/main" id="{C58867A9-9407-75CF-0561-28134BDEED22}"/>
              </a:ext>
            </a:extLst>
          </p:cNvPr>
          <p:cNvSpPr/>
          <p:nvPr userDrawn="1"/>
        </p:nvSpPr>
        <p:spPr>
          <a:xfrm>
            <a:off x="0" y="6129338"/>
            <a:ext cx="2279650" cy="7286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Picture Placeholder 11">
            <a:extLst>
              <a:ext uri="{FF2B5EF4-FFF2-40B4-BE49-F238E27FC236}">
                <a16:creationId xmlns:a16="http://schemas.microsoft.com/office/drawing/2014/main" id="{8BA68AC2-1837-231B-AFE1-BE116D250A39}"/>
              </a:ext>
            </a:extLst>
          </p:cNvPr>
          <p:cNvSpPr>
            <a:spLocks noGrp="1"/>
          </p:cNvSpPr>
          <p:nvPr>
            <p:ph type="pic" sz="quarter" idx="20" hasCustomPrompt="1"/>
          </p:nvPr>
        </p:nvSpPr>
        <p:spPr>
          <a:xfrm>
            <a:off x="0" y="3429000"/>
            <a:ext cx="12192000" cy="3429000"/>
          </a:xfrm>
          <a:custGeom>
            <a:avLst/>
            <a:gdLst>
              <a:gd name="connsiteX0" fmla="*/ 1592699 w 12192000"/>
              <a:gd name="connsiteY0" fmla="*/ 3063423 h 3429000"/>
              <a:gd name="connsiteX1" fmla="*/ 1592699 w 12192000"/>
              <a:gd name="connsiteY1" fmla="*/ 3072164 h 3429000"/>
              <a:gd name="connsiteX2" fmla="*/ 1592546 w 12192000"/>
              <a:gd name="connsiteY2" fmla="*/ 3075388 h 3429000"/>
              <a:gd name="connsiteX3" fmla="*/ 1568857 w 12192000"/>
              <a:gd name="connsiteY3" fmla="*/ 3093619 h 3429000"/>
              <a:gd name="connsiteX4" fmla="*/ 1551438 w 12192000"/>
              <a:gd name="connsiteY4" fmla="*/ 3079315 h 3429000"/>
              <a:gd name="connsiteX5" fmla="*/ 1568857 w 12192000"/>
              <a:gd name="connsiteY5" fmla="*/ 3066071 h 3429000"/>
              <a:gd name="connsiteX6" fmla="*/ 1581983 w 12192000"/>
              <a:gd name="connsiteY6" fmla="*/ 3066071 h 3429000"/>
              <a:gd name="connsiteX7" fmla="*/ 1592699 w 12192000"/>
              <a:gd name="connsiteY7" fmla="*/ 3063423 h 3429000"/>
              <a:gd name="connsiteX8" fmla="*/ 1172060 w 12192000"/>
              <a:gd name="connsiteY8" fmla="*/ 3063423 h 3429000"/>
              <a:gd name="connsiteX9" fmla="*/ 1172060 w 12192000"/>
              <a:gd name="connsiteY9" fmla="*/ 3072164 h 3429000"/>
              <a:gd name="connsiteX10" fmla="*/ 1171906 w 12192000"/>
              <a:gd name="connsiteY10" fmla="*/ 3075389 h 3429000"/>
              <a:gd name="connsiteX11" fmla="*/ 1148216 w 12192000"/>
              <a:gd name="connsiteY11" fmla="*/ 3093619 h 3429000"/>
              <a:gd name="connsiteX12" fmla="*/ 1130802 w 12192000"/>
              <a:gd name="connsiteY12" fmla="*/ 3079315 h 3429000"/>
              <a:gd name="connsiteX13" fmla="*/ 1148216 w 12192000"/>
              <a:gd name="connsiteY13" fmla="*/ 3066071 h 3429000"/>
              <a:gd name="connsiteX14" fmla="*/ 1161343 w 12192000"/>
              <a:gd name="connsiteY14" fmla="*/ 3066071 h 3429000"/>
              <a:gd name="connsiteX15" fmla="*/ 1172060 w 12192000"/>
              <a:gd name="connsiteY15" fmla="*/ 3063423 h 3429000"/>
              <a:gd name="connsiteX16" fmla="*/ 1796056 w 12192000"/>
              <a:gd name="connsiteY16" fmla="*/ 3019718 h 3429000"/>
              <a:gd name="connsiteX17" fmla="*/ 1823115 w 12192000"/>
              <a:gd name="connsiteY17" fmla="*/ 3041969 h 3429000"/>
              <a:gd name="connsiteX18" fmla="*/ 1768190 w 12192000"/>
              <a:gd name="connsiteY18" fmla="*/ 3041969 h 3429000"/>
              <a:gd name="connsiteX19" fmla="*/ 1796056 w 12192000"/>
              <a:gd name="connsiteY19" fmla="*/ 3019718 h 3429000"/>
              <a:gd name="connsiteX20" fmla="*/ 1385331 w 12192000"/>
              <a:gd name="connsiteY20" fmla="*/ 2994290 h 3429000"/>
              <a:gd name="connsiteX21" fmla="*/ 1427128 w 12192000"/>
              <a:gd name="connsiteY21" fmla="*/ 3115605 h 3429000"/>
              <a:gd name="connsiteX22" fmla="*/ 1470261 w 12192000"/>
              <a:gd name="connsiteY22" fmla="*/ 3115605 h 3429000"/>
              <a:gd name="connsiteX23" fmla="*/ 1513932 w 12192000"/>
              <a:gd name="connsiteY23" fmla="*/ 2994290 h 3429000"/>
              <a:gd name="connsiteX24" fmla="*/ 1477223 w 12192000"/>
              <a:gd name="connsiteY24" fmla="*/ 2994290 h 3429000"/>
              <a:gd name="connsiteX25" fmla="*/ 1449367 w 12192000"/>
              <a:gd name="connsiteY25" fmla="*/ 3078521 h 3429000"/>
              <a:gd name="connsiteX26" fmla="*/ 1423104 w 12192000"/>
              <a:gd name="connsiteY26" fmla="*/ 2994290 h 3429000"/>
              <a:gd name="connsiteX27" fmla="*/ 1319153 w 12192000"/>
              <a:gd name="connsiteY27" fmla="*/ 2994290 h 3429000"/>
              <a:gd name="connsiteX28" fmla="*/ 1319153 w 12192000"/>
              <a:gd name="connsiteY28" fmla="*/ 3023426 h 3429000"/>
              <a:gd name="connsiteX29" fmla="*/ 1336299 w 12192000"/>
              <a:gd name="connsiteY29" fmla="*/ 3023426 h 3429000"/>
              <a:gd name="connsiteX30" fmla="*/ 1336299 w 12192000"/>
              <a:gd name="connsiteY30" fmla="*/ 3115604 h 3429000"/>
              <a:gd name="connsiteX31" fmla="*/ 1371127 w 12192000"/>
              <a:gd name="connsiteY31" fmla="*/ 3115604 h 3429000"/>
              <a:gd name="connsiteX32" fmla="*/ 1371127 w 12192000"/>
              <a:gd name="connsiteY32" fmla="*/ 2994290 h 3429000"/>
              <a:gd name="connsiteX33" fmla="*/ 1293161 w 12192000"/>
              <a:gd name="connsiteY33" fmla="*/ 2992700 h 3429000"/>
              <a:gd name="connsiteX34" fmla="*/ 1261280 w 12192000"/>
              <a:gd name="connsiteY34" fmla="*/ 3013626 h 3429000"/>
              <a:gd name="connsiteX35" fmla="*/ 1261280 w 12192000"/>
              <a:gd name="connsiteY35" fmla="*/ 2994290 h 3429000"/>
              <a:gd name="connsiteX36" fmla="*/ 1227522 w 12192000"/>
              <a:gd name="connsiteY36" fmla="*/ 2994290 h 3429000"/>
              <a:gd name="connsiteX37" fmla="*/ 1227522 w 12192000"/>
              <a:gd name="connsiteY37" fmla="*/ 3115604 h 3429000"/>
              <a:gd name="connsiteX38" fmla="*/ 1262352 w 12192000"/>
              <a:gd name="connsiteY38" fmla="*/ 3115604 h 3429000"/>
              <a:gd name="connsiteX39" fmla="*/ 1262352 w 12192000"/>
              <a:gd name="connsiteY39" fmla="*/ 3057596 h 3429000"/>
              <a:gd name="connsiteX40" fmla="*/ 1288073 w 12192000"/>
              <a:gd name="connsiteY40" fmla="*/ 3028194 h 3429000"/>
              <a:gd name="connsiteX41" fmla="*/ 1302808 w 12192000"/>
              <a:gd name="connsiteY41" fmla="*/ 3028194 h 3429000"/>
              <a:gd name="connsiteX42" fmla="*/ 1302808 w 12192000"/>
              <a:gd name="connsiteY42" fmla="*/ 2993760 h 3429000"/>
              <a:gd name="connsiteX43" fmla="*/ 1293161 w 12192000"/>
              <a:gd name="connsiteY43" fmla="*/ 2992700 h 3429000"/>
              <a:gd name="connsiteX44" fmla="*/ 1796056 w 12192000"/>
              <a:gd name="connsiteY44" fmla="*/ 2991112 h 3429000"/>
              <a:gd name="connsiteX45" fmla="*/ 1791956 w 12192000"/>
              <a:gd name="connsiteY45" fmla="*/ 2991138 h 3429000"/>
              <a:gd name="connsiteX46" fmla="*/ 1732297 w 12192000"/>
              <a:gd name="connsiteY46" fmla="*/ 3054948 h 3429000"/>
              <a:gd name="connsiteX47" fmla="*/ 1770879 w 12192000"/>
              <a:gd name="connsiteY47" fmla="*/ 3112990 h 3429000"/>
              <a:gd name="connsiteX48" fmla="*/ 1857943 w 12192000"/>
              <a:gd name="connsiteY48" fmla="*/ 3080641 h 3429000"/>
              <a:gd name="connsiteX49" fmla="*/ 1821781 w 12192000"/>
              <a:gd name="connsiteY49" fmla="*/ 3076933 h 3429000"/>
              <a:gd name="connsiteX50" fmla="*/ 1802269 w 12192000"/>
              <a:gd name="connsiteY50" fmla="*/ 3089046 h 3429000"/>
              <a:gd name="connsiteX51" fmla="*/ 1768997 w 12192000"/>
              <a:gd name="connsiteY51" fmla="*/ 3065013 h 3429000"/>
              <a:gd name="connsiteX52" fmla="*/ 1860353 w 12192000"/>
              <a:gd name="connsiteY52" fmla="*/ 3065013 h 3429000"/>
              <a:gd name="connsiteX53" fmla="*/ 1860353 w 12192000"/>
              <a:gd name="connsiteY53" fmla="*/ 3063689 h 3429000"/>
              <a:gd name="connsiteX54" fmla="*/ 1796056 w 12192000"/>
              <a:gd name="connsiteY54" fmla="*/ 2991112 h 3429000"/>
              <a:gd name="connsiteX55" fmla="*/ 1574215 w 12192000"/>
              <a:gd name="connsiteY55" fmla="*/ 2991111 h 3429000"/>
              <a:gd name="connsiteX56" fmla="*/ 1521700 w 12192000"/>
              <a:gd name="connsiteY56" fmla="*/ 3005944 h 3429000"/>
              <a:gd name="connsiteX57" fmla="*/ 1535364 w 12192000"/>
              <a:gd name="connsiteY57" fmla="*/ 3031902 h 3429000"/>
              <a:gd name="connsiteX58" fmla="*/ 1572342 w 12192000"/>
              <a:gd name="connsiteY58" fmla="*/ 3020512 h 3429000"/>
              <a:gd name="connsiteX59" fmla="*/ 1592699 w 12192000"/>
              <a:gd name="connsiteY59" fmla="*/ 3034816 h 3429000"/>
              <a:gd name="connsiteX60" fmla="*/ 1592699 w 12192000"/>
              <a:gd name="connsiteY60" fmla="*/ 3036140 h 3429000"/>
              <a:gd name="connsiteX61" fmla="*/ 1584124 w 12192000"/>
              <a:gd name="connsiteY61" fmla="*/ 3043292 h 3429000"/>
              <a:gd name="connsiteX62" fmla="*/ 1560013 w 12192000"/>
              <a:gd name="connsiteY62" fmla="*/ 3043292 h 3429000"/>
              <a:gd name="connsiteX63" fmla="*/ 1515545 w 12192000"/>
              <a:gd name="connsiteY63" fmla="*/ 3080640 h 3429000"/>
              <a:gd name="connsiteX64" fmla="*/ 1515603 w 12192000"/>
              <a:gd name="connsiteY64" fmla="*/ 3081750 h 3429000"/>
              <a:gd name="connsiteX65" fmla="*/ 1558409 w 12192000"/>
              <a:gd name="connsiteY65" fmla="*/ 3118782 h 3429000"/>
              <a:gd name="connsiteX66" fmla="*/ 1592699 w 12192000"/>
              <a:gd name="connsiteY66" fmla="*/ 3104214 h 3429000"/>
              <a:gd name="connsiteX67" fmla="*/ 1592699 w 12192000"/>
              <a:gd name="connsiteY67" fmla="*/ 3115604 h 3429000"/>
              <a:gd name="connsiteX68" fmla="*/ 1627527 w 12192000"/>
              <a:gd name="connsiteY68" fmla="*/ 3115604 h 3429000"/>
              <a:gd name="connsiteX69" fmla="*/ 1627527 w 12192000"/>
              <a:gd name="connsiteY69" fmla="*/ 3035875 h 3429000"/>
              <a:gd name="connsiteX70" fmla="*/ 1574215 w 12192000"/>
              <a:gd name="connsiteY70" fmla="*/ 2991111 h 3429000"/>
              <a:gd name="connsiteX71" fmla="*/ 1153574 w 12192000"/>
              <a:gd name="connsiteY71" fmla="*/ 2991111 h 3429000"/>
              <a:gd name="connsiteX72" fmla="*/ 1101062 w 12192000"/>
              <a:gd name="connsiteY72" fmla="*/ 3005944 h 3429000"/>
              <a:gd name="connsiteX73" fmla="*/ 1114726 w 12192000"/>
              <a:gd name="connsiteY73" fmla="*/ 3031902 h 3429000"/>
              <a:gd name="connsiteX74" fmla="*/ 1151699 w 12192000"/>
              <a:gd name="connsiteY74" fmla="*/ 3020512 h 3429000"/>
              <a:gd name="connsiteX75" fmla="*/ 1172060 w 12192000"/>
              <a:gd name="connsiteY75" fmla="*/ 3034816 h 3429000"/>
              <a:gd name="connsiteX76" fmla="*/ 1172060 w 12192000"/>
              <a:gd name="connsiteY76" fmla="*/ 3036140 h 3429000"/>
              <a:gd name="connsiteX77" fmla="*/ 1163487 w 12192000"/>
              <a:gd name="connsiteY77" fmla="*/ 3043292 h 3429000"/>
              <a:gd name="connsiteX78" fmla="*/ 1139375 w 12192000"/>
              <a:gd name="connsiteY78" fmla="*/ 3043292 h 3429000"/>
              <a:gd name="connsiteX79" fmla="*/ 1094901 w 12192000"/>
              <a:gd name="connsiteY79" fmla="*/ 3080640 h 3429000"/>
              <a:gd name="connsiteX80" fmla="*/ 1094960 w 12192000"/>
              <a:gd name="connsiteY80" fmla="*/ 3081749 h 3429000"/>
              <a:gd name="connsiteX81" fmla="*/ 1137766 w 12192000"/>
              <a:gd name="connsiteY81" fmla="*/ 3118782 h 3429000"/>
              <a:gd name="connsiteX82" fmla="*/ 1172060 w 12192000"/>
              <a:gd name="connsiteY82" fmla="*/ 3104214 h 3429000"/>
              <a:gd name="connsiteX83" fmla="*/ 1172060 w 12192000"/>
              <a:gd name="connsiteY83" fmla="*/ 3115604 h 3429000"/>
              <a:gd name="connsiteX84" fmla="*/ 1206890 w 12192000"/>
              <a:gd name="connsiteY84" fmla="*/ 3115604 h 3429000"/>
              <a:gd name="connsiteX85" fmla="*/ 1206890 w 12192000"/>
              <a:gd name="connsiteY85" fmla="*/ 3035875 h 3429000"/>
              <a:gd name="connsiteX86" fmla="*/ 1153574 w 12192000"/>
              <a:gd name="connsiteY86" fmla="*/ 2991111 h 3429000"/>
              <a:gd name="connsiteX87" fmla="*/ 568575 w 12192000"/>
              <a:gd name="connsiteY87" fmla="*/ 2954429 h 3429000"/>
              <a:gd name="connsiteX88" fmla="*/ 568549 w 12192000"/>
              <a:gd name="connsiteY88" fmla="*/ 3091396 h 3429000"/>
              <a:gd name="connsiteX89" fmla="*/ 624511 w 12192000"/>
              <a:gd name="connsiteY89" fmla="*/ 3090097 h 3429000"/>
              <a:gd name="connsiteX90" fmla="*/ 618898 w 12192000"/>
              <a:gd name="connsiteY90" fmla="*/ 2973004 h 3429000"/>
              <a:gd name="connsiteX91" fmla="*/ 624479 w 12192000"/>
              <a:gd name="connsiteY91" fmla="*/ 2955725 h 3429000"/>
              <a:gd name="connsiteX92" fmla="*/ 568575 w 12192000"/>
              <a:gd name="connsiteY92" fmla="*/ 2954429 h 3429000"/>
              <a:gd name="connsiteX93" fmla="*/ 1659953 w 12192000"/>
              <a:gd name="connsiteY93" fmla="*/ 2948201 h 3429000"/>
              <a:gd name="connsiteX94" fmla="*/ 1659953 w 12192000"/>
              <a:gd name="connsiteY94" fmla="*/ 2994290 h 3429000"/>
              <a:gd name="connsiteX95" fmla="*/ 1640662 w 12192000"/>
              <a:gd name="connsiteY95" fmla="*/ 2994290 h 3429000"/>
              <a:gd name="connsiteX96" fmla="*/ 1640662 w 12192000"/>
              <a:gd name="connsiteY96" fmla="*/ 3023426 h 3429000"/>
              <a:gd name="connsiteX97" fmla="*/ 1659953 w 12192000"/>
              <a:gd name="connsiteY97" fmla="*/ 3023426 h 3429000"/>
              <a:gd name="connsiteX98" fmla="*/ 1659953 w 12192000"/>
              <a:gd name="connsiteY98" fmla="*/ 3089911 h 3429000"/>
              <a:gd name="connsiteX99" fmla="*/ 1695318 w 12192000"/>
              <a:gd name="connsiteY99" fmla="*/ 3117194 h 3429000"/>
              <a:gd name="connsiteX100" fmla="*/ 1722377 w 12192000"/>
              <a:gd name="connsiteY100" fmla="*/ 3115604 h 3429000"/>
              <a:gd name="connsiteX101" fmla="*/ 1722377 w 12192000"/>
              <a:gd name="connsiteY101" fmla="*/ 3086203 h 3429000"/>
              <a:gd name="connsiteX102" fmla="*/ 1706303 w 12192000"/>
              <a:gd name="connsiteY102" fmla="*/ 3086998 h 3429000"/>
              <a:gd name="connsiteX103" fmla="*/ 1694780 w 12192000"/>
              <a:gd name="connsiteY103" fmla="*/ 3078256 h 3429000"/>
              <a:gd name="connsiteX104" fmla="*/ 1694780 w 12192000"/>
              <a:gd name="connsiteY104" fmla="*/ 3023426 h 3429000"/>
              <a:gd name="connsiteX105" fmla="*/ 1721302 w 12192000"/>
              <a:gd name="connsiteY105" fmla="*/ 3023426 h 3429000"/>
              <a:gd name="connsiteX106" fmla="*/ 1721302 w 12192000"/>
              <a:gd name="connsiteY106" fmla="*/ 2994290 h 3429000"/>
              <a:gd name="connsiteX107" fmla="*/ 1694780 w 12192000"/>
              <a:gd name="connsiteY107" fmla="*/ 2994290 h 3429000"/>
              <a:gd name="connsiteX108" fmla="*/ 1694780 w 12192000"/>
              <a:gd name="connsiteY108" fmla="*/ 2948201 h 3429000"/>
              <a:gd name="connsiteX109" fmla="*/ 1884617 w 12192000"/>
              <a:gd name="connsiteY109" fmla="*/ 2930355 h 3429000"/>
              <a:gd name="connsiteX110" fmla="*/ 1884617 w 12192000"/>
              <a:gd name="connsiteY110" fmla="*/ 2963335 h 3429000"/>
              <a:gd name="connsiteX111" fmla="*/ 1893998 w 12192000"/>
              <a:gd name="connsiteY111" fmla="*/ 2963335 h 3429000"/>
              <a:gd name="connsiteX112" fmla="*/ 1893998 w 12192000"/>
              <a:gd name="connsiteY112" fmla="*/ 2944492 h 3429000"/>
              <a:gd name="connsiteX113" fmla="*/ 1898291 w 12192000"/>
              <a:gd name="connsiteY113" fmla="*/ 2956270 h 3429000"/>
              <a:gd name="connsiteX114" fmla="*/ 1905819 w 12192000"/>
              <a:gd name="connsiteY114" fmla="*/ 2956270 h 3429000"/>
              <a:gd name="connsiteX115" fmla="*/ 1910111 w 12192000"/>
              <a:gd name="connsiteY115" fmla="*/ 2944492 h 3429000"/>
              <a:gd name="connsiteX116" fmla="*/ 1910111 w 12192000"/>
              <a:gd name="connsiteY116" fmla="*/ 2963335 h 3429000"/>
              <a:gd name="connsiteX117" fmla="*/ 1919685 w 12192000"/>
              <a:gd name="connsiteY117" fmla="*/ 2963335 h 3429000"/>
              <a:gd name="connsiteX118" fmla="*/ 1919685 w 12192000"/>
              <a:gd name="connsiteY118" fmla="*/ 2930355 h 3429000"/>
              <a:gd name="connsiteX119" fmla="*/ 1907566 w 12192000"/>
              <a:gd name="connsiteY119" fmla="*/ 2930355 h 3429000"/>
              <a:gd name="connsiteX120" fmla="*/ 1902362 w 12192000"/>
              <a:gd name="connsiteY120" fmla="*/ 2944114 h 3429000"/>
              <a:gd name="connsiteX121" fmla="*/ 1897494 w 12192000"/>
              <a:gd name="connsiteY121" fmla="*/ 2930355 h 3429000"/>
              <a:gd name="connsiteX122" fmla="*/ 1850683 w 12192000"/>
              <a:gd name="connsiteY122" fmla="*/ 2930355 h 3429000"/>
              <a:gd name="connsiteX123" fmla="*/ 1850683 w 12192000"/>
              <a:gd name="connsiteY123" fmla="*/ 2938929 h 3429000"/>
              <a:gd name="connsiteX124" fmla="*/ 1860074 w 12192000"/>
              <a:gd name="connsiteY124" fmla="*/ 2938929 h 3429000"/>
              <a:gd name="connsiteX125" fmla="*/ 1860074 w 12192000"/>
              <a:gd name="connsiteY125" fmla="*/ 2963335 h 3429000"/>
              <a:gd name="connsiteX126" fmla="*/ 1869839 w 12192000"/>
              <a:gd name="connsiteY126" fmla="*/ 2963335 h 3429000"/>
              <a:gd name="connsiteX127" fmla="*/ 1869839 w 12192000"/>
              <a:gd name="connsiteY127" fmla="*/ 2938929 h 3429000"/>
              <a:gd name="connsiteX128" fmla="*/ 1879230 w 12192000"/>
              <a:gd name="connsiteY128" fmla="*/ 2938929 h 3429000"/>
              <a:gd name="connsiteX129" fmla="*/ 1879230 w 12192000"/>
              <a:gd name="connsiteY129" fmla="*/ 2930355 h 3429000"/>
              <a:gd name="connsiteX130" fmla="*/ 1352105 w 12192000"/>
              <a:gd name="connsiteY130" fmla="*/ 2930189 h 3429000"/>
              <a:gd name="connsiteX131" fmla="*/ 1329868 w 12192000"/>
              <a:gd name="connsiteY131" fmla="*/ 2952439 h 3429000"/>
              <a:gd name="connsiteX132" fmla="*/ 1352108 w 12192000"/>
              <a:gd name="connsiteY132" fmla="*/ 2974427 h 3429000"/>
              <a:gd name="connsiteX133" fmla="*/ 1374610 w 12192000"/>
              <a:gd name="connsiteY133" fmla="*/ 2952439 h 3429000"/>
              <a:gd name="connsiteX134" fmla="*/ 1374610 w 12192000"/>
              <a:gd name="connsiteY134" fmla="*/ 2952364 h 3429000"/>
              <a:gd name="connsiteX135" fmla="*/ 1352105 w 12192000"/>
              <a:gd name="connsiteY135" fmla="*/ 2930189 h 3429000"/>
              <a:gd name="connsiteX136" fmla="*/ 1041583 w 12192000"/>
              <a:gd name="connsiteY136" fmla="*/ 2930189 h 3429000"/>
              <a:gd name="connsiteX137" fmla="*/ 1041583 w 12192000"/>
              <a:gd name="connsiteY137" fmla="*/ 3115604 h 3429000"/>
              <a:gd name="connsiteX138" fmla="*/ 1076143 w 12192000"/>
              <a:gd name="connsiteY138" fmla="*/ 3115604 h 3429000"/>
              <a:gd name="connsiteX139" fmla="*/ 1076143 w 12192000"/>
              <a:gd name="connsiteY139" fmla="*/ 2930189 h 3429000"/>
              <a:gd name="connsiteX140" fmla="*/ 925239 w 12192000"/>
              <a:gd name="connsiteY140" fmla="*/ 2926990 h 3429000"/>
              <a:gd name="connsiteX141" fmla="*/ 832602 w 12192000"/>
              <a:gd name="connsiteY141" fmla="*/ 3022897 h 3429000"/>
              <a:gd name="connsiteX142" fmla="*/ 832623 w 12192000"/>
              <a:gd name="connsiteY142" fmla="*/ 3027990 h 3429000"/>
              <a:gd name="connsiteX143" fmla="*/ 930389 w 12192000"/>
              <a:gd name="connsiteY143" fmla="*/ 3118783 h 3429000"/>
              <a:gd name="connsiteX144" fmla="*/ 1022285 w 12192000"/>
              <a:gd name="connsiteY144" fmla="*/ 3049650 h 3429000"/>
              <a:gd name="connsiteX145" fmla="*/ 981294 w 12192000"/>
              <a:gd name="connsiteY145" fmla="*/ 3049650 h 3429000"/>
              <a:gd name="connsiteX146" fmla="*/ 930389 w 12192000"/>
              <a:gd name="connsiteY146" fmla="*/ 3084878 h 3429000"/>
              <a:gd name="connsiteX147" fmla="*/ 871450 w 12192000"/>
              <a:gd name="connsiteY147" fmla="*/ 3022897 h 3429000"/>
              <a:gd name="connsiteX148" fmla="*/ 930389 w 12192000"/>
              <a:gd name="connsiteY148" fmla="*/ 2960916 h 3429000"/>
              <a:gd name="connsiteX149" fmla="*/ 981294 w 12192000"/>
              <a:gd name="connsiteY149" fmla="*/ 2996144 h 3429000"/>
              <a:gd name="connsiteX150" fmla="*/ 1022285 w 12192000"/>
              <a:gd name="connsiteY150" fmla="*/ 2996144 h 3429000"/>
              <a:gd name="connsiteX151" fmla="*/ 930389 w 12192000"/>
              <a:gd name="connsiteY151" fmla="*/ 2927011 h 3429000"/>
              <a:gd name="connsiteX152" fmla="*/ 925239 w 12192000"/>
              <a:gd name="connsiteY152" fmla="*/ 2926990 h 3429000"/>
              <a:gd name="connsiteX153" fmla="*/ 651232 w 12192000"/>
              <a:gd name="connsiteY153" fmla="*/ 2907161 h 3429000"/>
              <a:gd name="connsiteX154" fmla="*/ 624479 w 12192000"/>
              <a:gd name="connsiteY154" fmla="*/ 2955726 h 3429000"/>
              <a:gd name="connsiteX155" fmla="*/ 742033 w 12192000"/>
              <a:gd name="connsiteY155" fmla="*/ 3022914 h 3429000"/>
              <a:gd name="connsiteX156" fmla="*/ 624512 w 12192000"/>
              <a:gd name="connsiteY156" fmla="*/ 3090097 h 3429000"/>
              <a:gd name="connsiteX157" fmla="*/ 651373 w 12192000"/>
              <a:gd name="connsiteY157" fmla="*/ 3138631 h 3429000"/>
              <a:gd name="connsiteX158" fmla="*/ 771228 w 12192000"/>
              <a:gd name="connsiteY158" fmla="*/ 3070136 h 3429000"/>
              <a:gd name="connsiteX159" fmla="*/ 742033 w 12192000"/>
              <a:gd name="connsiteY159" fmla="*/ 3022914 h 3429000"/>
              <a:gd name="connsiteX160" fmla="*/ 771227 w 12192000"/>
              <a:gd name="connsiteY160" fmla="*/ 2975692 h 3429000"/>
              <a:gd name="connsiteX161" fmla="*/ 651232 w 12192000"/>
              <a:gd name="connsiteY161" fmla="*/ 2907161 h 3429000"/>
              <a:gd name="connsiteX162" fmla="*/ 0 w 12192000"/>
              <a:gd name="connsiteY162" fmla="*/ 0 h 3429000"/>
              <a:gd name="connsiteX163" fmla="*/ 12192000 w 12192000"/>
              <a:gd name="connsiteY163" fmla="*/ 0 h 3429000"/>
              <a:gd name="connsiteX164" fmla="*/ 12192000 w 12192000"/>
              <a:gd name="connsiteY164" fmla="*/ 3429000 h 3429000"/>
              <a:gd name="connsiteX165" fmla="*/ 8040688 w 12192000"/>
              <a:gd name="connsiteY165" fmla="*/ 3429000 h 3429000"/>
              <a:gd name="connsiteX166" fmla="*/ 7499776 w 12192000"/>
              <a:gd name="connsiteY166" fmla="*/ 3429000 h 3429000"/>
              <a:gd name="connsiteX167" fmla="*/ 0 w 12192000"/>
              <a:gd name="connsiteY167" fmla="*/ 3429000 h 34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12192000" h="3429000">
                <a:moveTo>
                  <a:pt x="1592699" y="3063423"/>
                </a:moveTo>
                <a:lnTo>
                  <a:pt x="1592699" y="3072164"/>
                </a:lnTo>
                <a:cubicBezTo>
                  <a:pt x="1592738" y="3073241"/>
                  <a:pt x="1592680" y="3074319"/>
                  <a:pt x="1592546" y="3075388"/>
                </a:cubicBezTo>
                <a:cubicBezTo>
                  <a:pt x="1591096" y="3086890"/>
                  <a:pt x="1580495" y="3095053"/>
                  <a:pt x="1568857" y="3093619"/>
                </a:cubicBezTo>
                <a:cubicBezTo>
                  <a:pt x="1558141" y="3093619"/>
                  <a:pt x="1551438" y="3087526"/>
                  <a:pt x="1551438" y="3079315"/>
                </a:cubicBezTo>
                <a:cubicBezTo>
                  <a:pt x="1551438" y="3070839"/>
                  <a:pt x="1557872" y="3066071"/>
                  <a:pt x="1568857" y="3066071"/>
                </a:cubicBezTo>
                <a:lnTo>
                  <a:pt x="1581983" y="3066071"/>
                </a:lnTo>
                <a:cubicBezTo>
                  <a:pt x="1585766" y="3066554"/>
                  <a:pt x="1589598" y="3065609"/>
                  <a:pt x="1592699" y="3063423"/>
                </a:cubicBezTo>
                <a:close/>
                <a:moveTo>
                  <a:pt x="1172060" y="3063423"/>
                </a:moveTo>
                <a:lnTo>
                  <a:pt x="1172060" y="3072164"/>
                </a:lnTo>
                <a:cubicBezTo>
                  <a:pt x="1172093" y="3073242"/>
                  <a:pt x="1172042" y="3074320"/>
                  <a:pt x="1171906" y="3075389"/>
                </a:cubicBezTo>
                <a:cubicBezTo>
                  <a:pt x="1170456" y="3086891"/>
                  <a:pt x="1159850" y="3095053"/>
                  <a:pt x="1148216" y="3093619"/>
                </a:cubicBezTo>
                <a:cubicBezTo>
                  <a:pt x="1137499" y="3093619"/>
                  <a:pt x="1130802" y="3087526"/>
                  <a:pt x="1130802" y="3079315"/>
                </a:cubicBezTo>
                <a:cubicBezTo>
                  <a:pt x="1130802" y="3070839"/>
                  <a:pt x="1137232" y="3066071"/>
                  <a:pt x="1148216" y="3066071"/>
                </a:cubicBezTo>
                <a:lnTo>
                  <a:pt x="1161343" y="3066071"/>
                </a:lnTo>
                <a:cubicBezTo>
                  <a:pt x="1165125" y="3066554"/>
                  <a:pt x="1168953" y="3065609"/>
                  <a:pt x="1172060" y="3063423"/>
                </a:cubicBezTo>
                <a:close/>
                <a:moveTo>
                  <a:pt x="1796056" y="3019718"/>
                </a:moveTo>
                <a:cubicBezTo>
                  <a:pt x="1809461" y="3019340"/>
                  <a:pt x="1821051" y="3028873"/>
                  <a:pt x="1823115" y="3041969"/>
                </a:cubicBezTo>
                <a:lnTo>
                  <a:pt x="1768190" y="3041969"/>
                </a:lnTo>
                <a:cubicBezTo>
                  <a:pt x="1770601" y="3028738"/>
                  <a:pt x="1782469" y="3019261"/>
                  <a:pt x="1796056" y="3019718"/>
                </a:cubicBezTo>
                <a:close/>
                <a:moveTo>
                  <a:pt x="1385331" y="2994290"/>
                </a:moveTo>
                <a:lnTo>
                  <a:pt x="1427128" y="3115605"/>
                </a:lnTo>
                <a:lnTo>
                  <a:pt x="1470261" y="3115605"/>
                </a:lnTo>
                <a:lnTo>
                  <a:pt x="1513932" y="2994290"/>
                </a:lnTo>
                <a:lnTo>
                  <a:pt x="1477223" y="2994290"/>
                </a:lnTo>
                <a:lnTo>
                  <a:pt x="1449367" y="3078521"/>
                </a:lnTo>
                <a:lnTo>
                  <a:pt x="1423104" y="2994290"/>
                </a:lnTo>
                <a:close/>
                <a:moveTo>
                  <a:pt x="1319153" y="2994290"/>
                </a:moveTo>
                <a:lnTo>
                  <a:pt x="1319153" y="3023426"/>
                </a:lnTo>
                <a:lnTo>
                  <a:pt x="1336299" y="3023426"/>
                </a:lnTo>
                <a:lnTo>
                  <a:pt x="1336299" y="3115604"/>
                </a:lnTo>
                <a:lnTo>
                  <a:pt x="1371127" y="3115604"/>
                </a:lnTo>
                <a:lnTo>
                  <a:pt x="1371127" y="2994290"/>
                </a:lnTo>
                <a:close/>
                <a:moveTo>
                  <a:pt x="1293161" y="2992700"/>
                </a:moveTo>
                <a:cubicBezTo>
                  <a:pt x="1279051" y="2992037"/>
                  <a:pt x="1266138" y="3000512"/>
                  <a:pt x="1261280" y="3013626"/>
                </a:cubicBezTo>
                <a:lnTo>
                  <a:pt x="1261280" y="2994290"/>
                </a:lnTo>
                <a:lnTo>
                  <a:pt x="1227522" y="2994290"/>
                </a:lnTo>
                <a:lnTo>
                  <a:pt x="1227522" y="3115604"/>
                </a:lnTo>
                <a:lnTo>
                  <a:pt x="1262352" y="3115604"/>
                </a:lnTo>
                <a:lnTo>
                  <a:pt x="1262352" y="3057596"/>
                </a:lnTo>
                <a:cubicBezTo>
                  <a:pt x="1262352" y="3036405"/>
                  <a:pt x="1270389" y="3028194"/>
                  <a:pt x="1288073" y="3028194"/>
                </a:cubicBezTo>
                <a:lnTo>
                  <a:pt x="1302808" y="3028194"/>
                </a:lnTo>
                <a:lnTo>
                  <a:pt x="1302808" y="2993760"/>
                </a:lnTo>
                <a:cubicBezTo>
                  <a:pt x="1299648" y="2993016"/>
                  <a:pt x="1296409" y="2992660"/>
                  <a:pt x="1293161" y="2992700"/>
                </a:cubicBezTo>
                <a:close/>
                <a:moveTo>
                  <a:pt x="1796056" y="2991112"/>
                </a:moveTo>
                <a:cubicBezTo>
                  <a:pt x="1794693" y="2991076"/>
                  <a:pt x="1793320" y="2991084"/>
                  <a:pt x="1791956" y="2991138"/>
                </a:cubicBezTo>
                <a:cubicBezTo>
                  <a:pt x="1757657" y="2992470"/>
                  <a:pt x="1730943" y="3021039"/>
                  <a:pt x="1732297" y="3054948"/>
                </a:cubicBezTo>
                <a:cubicBezTo>
                  <a:pt x="1732749" y="3080035"/>
                  <a:pt x="1747766" y="3102624"/>
                  <a:pt x="1770879" y="3112990"/>
                </a:cubicBezTo>
                <a:cubicBezTo>
                  <a:pt x="1803959" y="3127828"/>
                  <a:pt x="1842934" y="3113344"/>
                  <a:pt x="1857943" y="3080641"/>
                </a:cubicBezTo>
                <a:lnTo>
                  <a:pt x="1821781" y="3076933"/>
                </a:lnTo>
                <a:cubicBezTo>
                  <a:pt x="1817229" y="3083448"/>
                  <a:pt x="1810181" y="3087829"/>
                  <a:pt x="1802269" y="3089046"/>
                </a:cubicBezTo>
                <a:cubicBezTo>
                  <a:pt x="1786368" y="3091493"/>
                  <a:pt x="1771474" y="3080733"/>
                  <a:pt x="1768997" y="3065013"/>
                </a:cubicBezTo>
                <a:lnTo>
                  <a:pt x="1860353" y="3065013"/>
                </a:lnTo>
                <a:lnTo>
                  <a:pt x="1860353" y="3063689"/>
                </a:lnTo>
                <a:cubicBezTo>
                  <a:pt x="1860353" y="3012832"/>
                  <a:pt x="1829808" y="2991112"/>
                  <a:pt x="1796056" y="2991112"/>
                </a:cubicBezTo>
                <a:close/>
                <a:moveTo>
                  <a:pt x="1574215" y="2991111"/>
                </a:moveTo>
                <a:cubicBezTo>
                  <a:pt x="1555692" y="2991390"/>
                  <a:pt x="1537573" y="2996507"/>
                  <a:pt x="1521700" y="3005944"/>
                </a:cubicBezTo>
                <a:lnTo>
                  <a:pt x="1535364" y="3031902"/>
                </a:lnTo>
                <a:cubicBezTo>
                  <a:pt x="1546618" y="3025290"/>
                  <a:pt x="1559283" y="3021388"/>
                  <a:pt x="1572342" y="3020512"/>
                </a:cubicBezTo>
                <a:cubicBezTo>
                  <a:pt x="1585738" y="3020512"/>
                  <a:pt x="1592699" y="3026075"/>
                  <a:pt x="1592699" y="3034816"/>
                </a:cubicBezTo>
                <a:lnTo>
                  <a:pt x="1592699" y="3036140"/>
                </a:lnTo>
                <a:cubicBezTo>
                  <a:pt x="1592699" y="3040643"/>
                  <a:pt x="1590020" y="3043292"/>
                  <a:pt x="1584124" y="3043292"/>
                </a:cubicBezTo>
                <a:lnTo>
                  <a:pt x="1560013" y="3043292"/>
                </a:lnTo>
                <a:cubicBezTo>
                  <a:pt x="1532685" y="3043292"/>
                  <a:pt x="1515545" y="3057595"/>
                  <a:pt x="1515545" y="3080640"/>
                </a:cubicBezTo>
                <a:cubicBezTo>
                  <a:pt x="1515555" y="3081010"/>
                  <a:pt x="1515574" y="3081380"/>
                  <a:pt x="1515603" y="3081750"/>
                </a:cubicBezTo>
                <a:cubicBezTo>
                  <a:pt x="1517081" y="3103663"/>
                  <a:pt x="1536247" y="3120244"/>
                  <a:pt x="1558409" y="3118782"/>
                </a:cubicBezTo>
                <a:cubicBezTo>
                  <a:pt x="1571536" y="3119591"/>
                  <a:pt x="1584259" y="3114183"/>
                  <a:pt x="1592699" y="3104214"/>
                </a:cubicBezTo>
                <a:lnTo>
                  <a:pt x="1592699" y="3115604"/>
                </a:lnTo>
                <a:lnTo>
                  <a:pt x="1627527" y="3115604"/>
                </a:lnTo>
                <a:lnTo>
                  <a:pt x="1627527" y="3035875"/>
                </a:lnTo>
                <a:cubicBezTo>
                  <a:pt x="1627527" y="3003825"/>
                  <a:pt x="1602081" y="2991111"/>
                  <a:pt x="1574215" y="2991111"/>
                </a:cubicBezTo>
                <a:close/>
                <a:moveTo>
                  <a:pt x="1153574" y="2991111"/>
                </a:moveTo>
                <a:cubicBezTo>
                  <a:pt x="1135053" y="2991390"/>
                  <a:pt x="1116936" y="2996508"/>
                  <a:pt x="1101062" y="3005944"/>
                </a:cubicBezTo>
                <a:lnTo>
                  <a:pt x="1114726" y="3031902"/>
                </a:lnTo>
                <a:cubicBezTo>
                  <a:pt x="1125976" y="3025290"/>
                  <a:pt x="1138641" y="3021388"/>
                  <a:pt x="1151699" y="3020512"/>
                </a:cubicBezTo>
                <a:cubicBezTo>
                  <a:pt x="1165095" y="3020512"/>
                  <a:pt x="1172060" y="3026075"/>
                  <a:pt x="1172060" y="3034816"/>
                </a:cubicBezTo>
                <a:lnTo>
                  <a:pt x="1172060" y="3036140"/>
                </a:lnTo>
                <a:cubicBezTo>
                  <a:pt x="1172060" y="3040643"/>
                  <a:pt x="1169381" y="3043292"/>
                  <a:pt x="1163487" y="3043292"/>
                </a:cubicBezTo>
                <a:lnTo>
                  <a:pt x="1139375" y="3043292"/>
                </a:lnTo>
                <a:cubicBezTo>
                  <a:pt x="1112046" y="3043292"/>
                  <a:pt x="1094901" y="3057595"/>
                  <a:pt x="1094901" y="3080640"/>
                </a:cubicBezTo>
                <a:cubicBezTo>
                  <a:pt x="1094915" y="3081010"/>
                  <a:pt x="1094936" y="3081379"/>
                  <a:pt x="1094960" y="3081749"/>
                </a:cubicBezTo>
                <a:cubicBezTo>
                  <a:pt x="1096437" y="3103662"/>
                  <a:pt x="1115603" y="3120243"/>
                  <a:pt x="1137766" y="3118782"/>
                </a:cubicBezTo>
                <a:cubicBezTo>
                  <a:pt x="1150890" y="3119592"/>
                  <a:pt x="1163622" y="3114184"/>
                  <a:pt x="1172060" y="3104214"/>
                </a:cubicBezTo>
                <a:lnTo>
                  <a:pt x="1172060" y="3115604"/>
                </a:lnTo>
                <a:lnTo>
                  <a:pt x="1206890" y="3115604"/>
                </a:lnTo>
                <a:lnTo>
                  <a:pt x="1206890" y="3035875"/>
                </a:lnTo>
                <a:cubicBezTo>
                  <a:pt x="1206890" y="3003825"/>
                  <a:pt x="1181438" y="2991111"/>
                  <a:pt x="1153574" y="2991111"/>
                </a:cubicBezTo>
                <a:close/>
                <a:moveTo>
                  <a:pt x="568575" y="2954429"/>
                </a:moveTo>
                <a:cubicBezTo>
                  <a:pt x="555414" y="2999156"/>
                  <a:pt x="555406" y="3046664"/>
                  <a:pt x="568549" y="3091396"/>
                </a:cubicBezTo>
                <a:cubicBezTo>
                  <a:pt x="587170" y="3093621"/>
                  <a:pt x="606017" y="3093184"/>
                  <a:pt x="624511" y="3090097"/>
                </a:cubicBezTo>
                <a:cubicBezTo>
                  <a:pt x="610287" y="3052610"/>
                  <a:pt x="608324" y="3011654"/>
                  <a:pt x="618898" y="2973004"/>
                </a:cubicBezTo>
                <a:cubicBezTo>
                  <a:pt x="620492" y="2967123"/>
                  <a:pt x="622369" y="2961366"/>
                  <a:pt x="624479" y="2955725"/>
                </a:cubicBezTo>
                <a:cubicBezTo>
                  <a:pt x="606004" y="2952645"/>
                  <a:pt x="587176" y="2952208"/>
                  <a:pt x="568575" y="2954429"/>
                </a:cubicBezTo>
                <a:close/>
                <a:moveTo>
                  <a:pt x="1659953" y="2948201"/>
                </a:moveTo>
                <a:lnTo>
                  <a:pt x="1659953" y="2994290"/>
                </a:lnTo>
                <a:lnTo>
                  <a:pt x="1640662" y="2994290"/>
                </a:lnTo>
                <a:lnTo>
                  <a:pt x="1640662" y="3023426"/>
                </a:lnTo>
                <a:lnTo>
                  <a:pt x="1659953" y="3023426"/>
                </a:lnTo>
                <a:lnTo>
                  <a:pt x="1659953" y="3089911"/>
                </a:lnTo>
                <a:cubicBezTo>
                  <a:pt x="1659953" y="3114280"/>
                  <a:pt x="1677900" y="3117194"/>
                  <a:pt x="1695318" y="3117194"/>
                </a:cubicBezTo>
                <a:cubicBezTo>
                  <a:pt x="1705497" y="3117194"/>
                  <a:pt x="1722377" y="3115604"/>
                  <a:pt x="1722377" y="3115604"/>
                </a:cubicBezTo>
                <a:lnTo>
                  <a:pt x="1722377" y="3086203"/>
                </a:lnTo>
                <a:cubicBezTo>
                  <a:pt x="1722377" y="3086203"/>
                  <a:pt x="1715137" y="3086998"/>
                  <a:pt x="1706303" y="3086998"/>
                </a:cubicBezTo>
                <a:cubicBezTo>
                  <a:pt x="1700945" y="3086998"/>
                  <a:pt x="1694780" y="3085938"/>
                  <a:pt x="1694780" y="3078256"/>
                </a:cubicBezTo>
                <a:lnTo>
                  <a:pt x="1694780" y="3023426"/>
                </a:lnTo>
                <a:lnTo>
                  <a:pt x="1721302" y="3023426"/>
                </a:lnTo>
                <a:lnTo>
                  <a:pt x="1721302" y="2994290"/>
                </a:lnTo>
                <a:lnTo>
                  <a:pt x="1694780" y="2994290"/>
                </a:lnTo>
                <a:lnTo>
                  <a:pt x="1694780" y="2948201"/>
                </a:lnTo>
                <a:close/>
                <a:moveTo>
                  <a:pt x="1884617" y="2930355"/>
                </a:moveTo>
                <a:lnTo>
                  <a:pt x="1884617" y="2963335"/>
                </a:lnTo>
                <a:lnTo>
                  <a:pt x="1893998" y="2963335"/>
                </a:lnTo>
                <a:lnTo>
                  <a:pt x="1893998" y="2944492"/>
                </a:lnTo>
                <a:lnTo>
                  <a:pt x="1898291" y="2956270"/>
                </a:lnTo>
                <a:lnTo>
                  <a:pt x="1905819" y="2956270"/>
                </a:lnTo>
                <a:lnTo>
                  <a:pt x="1910111" y="2944492"/>
                </a:lnTo>
                <a:lnTo>
                  <a:pt x="1910111" y="2963335"/>
                </a:lnTo>
                <a:lnTo>
                  <a:pt x="1919685" y="2963335"/>
                </a:lnTo>
                <a:lnTo>
                  <a:pt x="1919685" y="2930355"/>
                </a:lnTo>
                <a:lnTo>
                  <a:pt x="1907566" y="2930355"/>
                </a:lnTo>
                <a:lnTo>
                  <a:pt x="1902362" y="2944114"/>
                </a:lnTo>
                <a:lnTo>
                  <a:pt x="1897494" y="2930355"/>
                </a:lnTo>
                <a:close/>
                <a:moveTo>
                  <a:pt x="1850683" y="2930355"/>
                </a:moveTo>
                <a:lnTo>
                  <a:pt x="1850683" y="2938929"/>
                </a:lnTo>
                <a:lnTo>
                  <a:pt x="1860074" y="2938929"/>
                </a:lnTo>
                <a:lnTo>
                  <a:pt x="1860074" y="2963335"/>
                </a:lnTo>
                <a:lnTo>
                  <a:pt x="1869839" y="2963335"/>
                </a:lnTo>
                <a:lnTo>
                  <a:pt x="1869839" y="2938929"/>
                </a:lnTo>
                <a:lnTo>
                  <a:pt x="1879230" y="2938929"/>
                </a:lnTo>
                <a:lnTo>
                  <a:pt x="1879230" y="2930355"/>
                </a:lnTo>
                <a:close/>
                <a:moveTo>
                  <a:pt x="1352105" y="2930189"/>
                </a:moveTo>
                <a:cubicBezTo>
                  <a:pt x="1339759" y="2930284"/>
                  <a:pt x="1329816" y="2940233"/>
                  <a:pt x="1329868" y="2952439"/>
                </a:cubicBezTo>
                <a:cubicBezTo>
                  <a:pt x="1329940" y="2964552"/>
                  <a:pt x="1339855" y="2974355"/>
                  <a:pt x="1352108" y="2974427"/>
                </a:cubicBezTo>
                <a:cubicBezTo>
                  <a:pt x="1364463" y="2974498"/>
                  <a:pt x="1374538" y="2964654"/>
                  <a:pt x="1374610" y="2952439"/>
                </a:cubicBezTo>
                <a:cubicBezTo>
                  <a:pt x="1374610" y="2952414"/>
                  <a:pt x="1374610" y="2952388"/>
                  <a:pt x="1374610" y="2952364"/>
                </a:cubicBezTo>
                <a:cubicBezTo>
                  <a:pt x="1374589" y="2940096"/>
                  <a:pt x="1364513" y="2930168"/>
                  <a:pt x="1352105" y="2930189"/>
                </a:cubicBezTo>
                <a:close/>
                <a:moveTo>
                  <a:pt x="1041583" y="2930189"/>
                </a:moveTo>
                <a:lnTo>
                  <a:pt x="1041583" y="3115604"/>
                </a:lnTo>
                <a:lnTo>
                  <a:pt x="1076143" y="3115604"/>
                </a:lnTo>
                <a:lnTo>
                  <a:pt x="1076143" y="2930189"/>
                </a:lnTo>
                <a:close/>
                <a:moveTo>
                  <a:pt x="925239" y="2926990"/>
                </a:moveTo>
                <a:cubicBezTo>
                  <a:pt x="872870" y="2928183"/>
                  <a:pt x="831395" y="2971122"/>
                  <a:pt x="832602" y="3022897"/>
                </a:cubicBezTo>
                <a:cubicBezTo>
                  <a:pt x="832562" y="3024595"/>
                  <a:pt x="832569" y="3026292"/>
                  <a:pt x="832623" y="3027990"/>
                </a:cubicBezTo>
                <a:cubicBezTo>
                  <a:pt x="834261" y="3079753"/>
                  <a:pt x="878033" y="3120402"/>
                  <a:pt x="930389" y="3118783"/>
                </a:cubicBezTo>
                <a:cubicBezTo>
                  <a:pt x="973630" y="3119900"/>
                  <a:pt x="1011845" y="3091151"/>
                  <a:pt x="1022285" y="3049650"/>
                </a:cubicBezTo>
                <a:lnTo>
                  <a:pt x="981294" y="3049650"/>
                </a:lnTo>
                <a:cubicBezTo>
                  <a:pt x="974516" y="3071553"/>
                  <a:pt x="953525" y="3086080"/>
                  <a:pt x="930389" y="3084878"/>
                </a:cubicBezTo>
                <a:cubicBezTo>
                  <a:pt x="895026" y="3084878"/>
                  <a:pt x="871450" y="3058391"/>
                  <a:pt x="871450" y="3022897"/>
                </a:cubicBezTo>
                <a:cubicBezTo>
                  <a:pt x="871450" y="2987403"/>
                  <a:pt x="895026" y="2960916"/>
                  <a:pt x="930389" y="2960916"/>
                </a:cubicBezTo>
                <a:cubicBezTo>
                  <a:pt x="953525" y="2959714"/>
                  <a:pt x="974516" y="2974241"/>
                  <a:pt x="981294" y="2996144"/>
                </a:cubicBezTo>
                <a:lnTo>
                  <a:pt x="1022285" y="2996144"/>
                </a:lnTo>
                <a:cubicBezTo>
                  <a:pt x="1011846" y="2954642"/>
                  <a:pt x="973630" y="2925892"/>
                  <a:pt x="930389" y="2927011"/>
                </a:cubicBezTo>
                <a:cubicBezTo>
                  <a:pt x="928673" y="2926958"/>
                  <a:pt x="926955" y="2926951"/>
                  <a:pt x="925239" y="2926990"/>
                </a:cubicBezTo>
                <a:close/>
                <a:moveTo>
                  <a:pt x="651232" y="2907161"/>
                </a:moveTo>
                <a:cubicBezTo>
                  <a:pt x="639985" y="2921984"/>
                  <a:pt x="630973" y="2938343"/>
                  <a:pt x="624479" y="2955726"/>
                </a:cubicBezTo>
                <a:cubicBezTo>
                  <a:pt x="670541" y="2963471"/>
                  <a:pt x="712258" y="2987315"/>
                  <a:pt x="742033" y="3022914"/>
                </a:cubicBezTo>
                <a:cubicBezTo>
                  <a:pt x="712265" y="3058505"/>
                  <a:pt x="670562" y="3082346"/>
                  <a:pt x="624512" y="3090097"/>
                </a:cubicBezTo>
                <a:cubicBezTo>
                  <a:pt x="631041" y="3107476"/>
                  <a:pt x="640089" y="3123825"/>
                  <a:pt x="651373" y="3138631"/>
                </a:cubicBezTo>
                <a:cubicBezTo>
                  <a:pt x="697088" y="3127502"/>
                  <a:pt x="738657" y="3103746"/>
                  <a:pt x="771228" y="3070136"/>
                </a:cubicBezTo>
                <a:cubicBezTo>
                  <a:pt x="763842" y="3053091"/>
                  <a:pt x="754009" y="3037186"/>
                  <a:pt x="742033" y="3022914"/>
                </a:cubicBezTo>
                <a:cubicBezTo>
                  <a:pt x="754009" y="3008642"/>
                  <a:pt x="763841" y="2992738"/>
                  <a:pt x="771227" y="2975692"/>
                </a:cubicBezTo>
                <a:cubicBezTo>
                  <a:pt x="738623" y="2942047"/>
                  <a:pt x="697001" y="2918276"/>
                  <a:pt x="651232" y="2907161"/>
                </a:cubicBezTo>
                <a:close/>
                <a:moveTo>
                  <a:pt x="0" y="0"/>
                </a:moveTo>
                <a:lnTo>
                  <a:pt x="12192000" y="0"/>
                </a:lnTo>
                <a:lnTo>
                  <a:pt x="12192000" y="3429000"/>
                </a:lnTo>
                <a:lnTo>
                  <a:pt x="8040688" y="3429000"/>
                </a:lnTo>
                <a:lnTo>
                  <a:pt x="7499776" y="3429000"/>
                </a:lnTo>
                <a:lnTo>
                  <a:pt x="0" y="3429000"/>
                </a:lnTo>
                <a:close/>
              </a:path>
            </a:pathLst>
          </a:custGeom>
          <a:solidFill>
            <a:schemeClr val="tx1">
              <a:lumMod val="75000"/>
              <a:lumOff val="25000"/>
            </a:schemeClr>
          </a:solidFill>
          <a:ln>
            <a:noFill/>
          </a:ln>
        </p:spPr>
        <p:txBody>
          <a:bodyPr wrap="square" tIns="108000" anchor="t" anchorCtr="0">
            <a:noAutofit/>
          </a:bodyPr>
          <a:lstStyle>
            <a:lvl1pPr marL="0" indent="0" algn="ctr">
              <a:buNone/>
              <a:defRPr sz="1000">
                <a:solidFill>
                  <a:schemeClr val="accent1"/>
                </a:solidFill>
                <a:latin typeface="+mn-lt"/>
              </a:defRPr>
            </a:lvl1pPr>
          </a:lstStyle>
          <a:p>
            <a:pPr lvl="0"/>
            <a:r>
              <a:rPr lang="en-US"/>
              <a:t>Drag picture file here or click </a:t>
            </a:r>
            <a:r>
              <a:rPr lang="en-US" noProof="0"/>
              <a:t>center</a:t>
            </a:r>
            <a:r>
              <a:rPr lang="en-US"/>
              <a:t> icon to insert dark image</a:t>
            </a:r>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7" y="6348353"/>
            <a:ext cx="3292474" cy="215901"/>
          </a:xfrm>
        </p:spPr>
        <p:txBody>
          <a:bodyPr/>
          <a:lstStyle>
            <a:lvl1pPr>
              <a:defRPr>
                <a:solidFill>
                  <a:schemeClr val="bg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251885"/>
          </a:xfrm>
        </p:spPr>
        <p:txBody>
          <a:bodyPr/>
          <a:lstStyle>
            <a:lvl1pPr>
              <a:defRPr/>
            </a:lvl1pPr>
          </a:lstStyle>
          <a:p>
            <a:r>
              <a:rPr lang="en-US"/>
              <a:t>Header avenir demi</a:t>
            </a:r>
            <a:endParaRPr lang="en-GB"/>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7" name="Text Placeholder 12">
            <a:extLst>
              <a:ext uri="{FF2B5EF4-FFF2-40B4-BE49-F238E27FC236}">
                <a16:creationId xmlns:a16="http://schemas.microsoft.com/office/drawing/2014/main" id="{841E26EB-9911-0A6E-407B-8667159EEC13}"/>
              </a:ext>
            </a:extLst>
          </p:cNvPr>
          <p:cNvSpPr>
            <a:spLocks noGrp="1"/>
          </p:cNvSpPr>
          <p:nvPr>
            <p:ph type="body" sz="quarter" idx="14"/>
          </p:nvPr>
        </p:nvSpPr>
        <p:spPr>
          <a:xfrm>
            <a:off x="550863" y="1808164"/>
            <a:ext cx="3204000" cy="1441450"/>
          </a:xfrm>
        </p:spPr>
        <p:txBody>
          <a:bodyPr/>
          <a:lstStyle/>
          <a:p>
            <a:pPr lvl="0"/>
            <a:r>
              <a:rPr lang="en-US"/>
              <a:t>Click to edit Master text styles</a:t>
            </a:r>
          </a:p>
          <a:p>
            <a:pPr lvl="1"/>
            <a:r>
              <a:rPr lang="en-US"/>
              <a:t>Second level</a:t>
            </a:r>
          </a:p>
          <a:p>
            <a:pPr lvl="2"/>
            <a:r>
              <a:rPr lang="en-US"/>
              <a:t>Third level</a:t>
            </a:r>
          </a:p>
        </p:txBody>
      </p:sp>
      <p:sp>
        <p:nvSpPr>
          <p:cNvPr id="10" name="Text Placeholder 12">
            <a:extLst>
              <a:ext uri="{FF2B5EF4-FFF2-40B4-BE49-F238E27FC236}">
                <a16:creationId xmlns:a16="http://schemas.microsoft.com/office/drawing/2014/main" id="{45BEBC43-8186-4AEB-F4CF-271F011B0368}"/>
              </a:ext>
            </a:extLst>
          </p:cNvPr>
          <p:cNvSpPr>
            <a:spLocks noGrp="1"/>
          </p:cNvSpPr>
          <p:nvPr>
            <p:ph type="body" sz="quarter" idx="15"/>
          </p:nvPr>
        </p:nvSpPr>
        <p:spPr>
          <a:xfrm>
            <a:off x="4295776" y="1808164"/>
            <a:ext cx="3204000" cy="1441450"/>
          </a:xfrm>
        </p:spPr>
        <p:txBody>
          <a:bodyPr/>
          <a:lstStyle/>
          <a:p>
            <a:pPr lvl="0"/>
            <a:r>
              <a:rPr lang="en-US"/>
              <a:t>Click to edit Master text styles</a:t>
            </a:r>
          </a:p>
          <a:p>
            <a:pPr lvl="1"/>
            <a:r>
              <a:rPr lang="en-US"/>
              <a:t>Second level</a:t>
            </a:r>
          </a:p>
          <a:p>
            <a:pPr lvl="2"/>
            <a:r>
              <a:rPr lang="en-US"/>
              <a:t>Third level</a:t>
            </a:r>
          </a:p>
        </p:txBody>
      </p:sp>
      <p:sp>
        <p:nvSpPr>
          <p:cNvPr id="11" name="Text Placeholder 12">
            <a:extLst>
              <a:ext uri="{FF2B5EF4-FFF2-40B4-BE49-F238E27FC236}">
                <a16:creationId xmlns:a16="http://schemas.microsoft.com/office/drawing/2014/main" id="{042CC176-3CD8-0372-5942-EAD056B059E7}"/>
              </a:ext>
            </a:extLst>
          </p:cNvPr>
          <p:cNvSpPr>
            <a:spLocks noGrp="1"/>
          </p:cNvSpPr>
          <p:nvPr>
            <p:ph type="body" sz="quarter" idx="16"/>
          </p:nvPr>
        </p:nvSpPr>
        <p:spPr>
          <a:xfrm>
            <a:off x="8040687" y="1808164"/>
            <a:ext cx="3204000" cy="1441450"/>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2737947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itrus/mint pattern - Black quote">
    <p:bg>
      <p:bgPr>
        <a:solidFill>
          <a:schemeClr val="bg1"/>
        </a:solidFill>
        <a:effectLst/>
      </p:bgPr>
    </p:bg>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25659636-78CF-6EFF-68F5-52F1AB62035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9200" y="6348353"/>
            <a:ext cx="215899" cy="215900"/>
          </a:xfrm>
        </p:spPr>
        <p:txBody>
          <a:bodyPr/>
          <a:lstStyle>
            <a:lvl1pPr>
              <a:defRPr>
                <a:solidFill>
                  <a:schemeClr val="tx1"/>
                </a:solidFill>
              </a:defRPr>
            </a:lvl1pPr>
          </a:lstStyle>
          <a:p>
            <a:fld id="{F59CD943-D024-467A-B36E-F11E1285ED75}" type="slidenum">
              <a:rPr lang="en-GB" smtClean="0"/>
              <a:pPr/>
              <a:t>‹#›</a:t>
            </a:fld>
            <a:endParaRPr lang="en-GB"/>
          </a:p>
        </p:txBody>
      </p:sp>
      <p:sp>
        <p:nvSpPr>
          <p:cNvPr id="2" name="Text Placeholder 12">
            <a:extLst>
              <a:ext uri="{FF2B5EF4-FFF2-40B4-BE49-F238E27FC236}">
                <a16:creationId xmlns:a16="http://schemas.microsoft.com/office/drawing/2014/main" id="{51D1D711-9691-BEE7-727A-A074BC47FEA0}"/>
              </a:ext>
            </a:extLst>
          </p:cNvPr>
          <p:cNvSpPr>
            <a:spLocks noGrp="1"/>
          </p:cNvSpPr>
          <p:nvPr>
            <p:ph type="body" sz="quarter" idx="28" hasCustomPrompt="1"/>
          </p:nvPr>
        </p:nvSpPr>
        <p:spPr>
          <a:xfrm>
            <a:off x="1487488" y="4286568"/>
            <a:ext cx="3600450" cy="259239"/>
          </a:xfrm>
          <a:noFill/>
        </p:spPr>
        <p:txBody>
          <a:bodyPr/>
          <a:lstStyle>
            <a:lvl1pPr marL="0" indent="0" algn="l">
              <a:buNone/>
              <a:defRPr sz="16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6" name="Text Placeholder 12">
            <a:extLst>
              <a:ext uri="{FF2B5EF4-FFF2-40B4-BE49-F238E27FC236}">
                <a16:creationId xmlns:a16="http://schemas.microsoft.com/office/drawing/2014/main" id="{0EFA41F3-CF2B-F07E-F3DA-DC0602B25A9D}"/>
              </a:ext>
            </a:extLst>
          </p:cNvPr>
          <p:cNvSpPr>
            <a:spLocks noGrp="1"/>
          </p:cNvSpPr>
          <p:nvPr>
            <p:ph type="body" sz="quarter" idx="29" hasCustomPrompt="1"/>
          </p:nvPr>
        </p:nvSpPr>
        <p:spPr>
          <a:xfrm>
            <a:off x="1487488" y="4543748"/>
            <a:ext cx="3600450" cy="259239"/>
          </a:xfrm>
          <a:noFill/>
        </p:spPr>
        <p:txBody>
          <a:bodyPr/>
          <a:lstStyle>
            <a:lvl1pPr marL="0" indent="0" algn="l">
              <a:buNone/>
              <a:defRPr sz="1500">
                <a:solidFill>
                  <a:schemeClr val="tx1"/>
                </a:solidFill>
                <a:latin typeface="+mn-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Company name</a:t>
            </a:r>
          </a:p>
        </p:txBody>
      </p:sp>
      <p:sp>
        <p:nvSpPr>
          <p:cNvPr id="18" name="Text Placeholder 9">
            <a:extLst>
              <a:ext uri="{FF2B5EF4-FFF2-40B4-BE49-F238E27FC236}">
                <a16:creationId xmlns:a16="http://schemas.microsoft.com/office/drawing/2014/main" id="{6A6F47D2-4DE8-3A51-AB24-AA4D5A7F13E9}"/>
              </a:ext>
            </a:extLst>
          </p:cNvPr>
          <p:cNvSpPr>
            <a:spLocks noGrp="1"/>
          </p:cNvSpPr>
          <p:nvPr>
            <p:ph type="body" sz="quarter" idx="26" hasCustomPrompt="1"/>
          </p:nvPr>
        </p:nvSpPr>
        <p:spPr>
          <a:xfrm>
            <a:off x="1487488" y="2979813"/>
            <a:ext cx="8280400" cy="1107996"/>
          </a:xfrm>
          <a:prstGeom prst="rect">
            <a:avLst/>
          </a:prstGeom>
          <a:noFill/>
        </p:spPr>
        <p:txBody>
          <a:bodyPr wrap="square" lIns="0" tIns="0" rIns="0" bIns="0" anchor="b" anchorCtr="0">
            <a:spAutoFit/>
          </a:bodyPr>
          <a:lstStyle>
            <a:lvl1pPr marL="0" indent="0" algn="l">
              <a:buNone/>
              <a:tabLst/>
              <a:defRPr sz="3600">
                <a:solidFill>
                  <a:schemeClr val="tx1"/>
                </a:solidFill>
                <a:latin typeface="+mj-lt"/>
              </a:defRPr>
            </a:lvl1pPr>
          </a:lstStyle>
          <a:p>
            <a:pPr lvl="0"/>
            <a:r>
              <a:rPr lang="en-US"/>
              <a:t>“Quote copy, resize textbox horizontally as required”.</a:t>
            </a:r>
            <a:endParaRPr lang="en-GB"/>
          </a:p>
        </p:txBody>
      </p:sp>
      <p:pic>
        <p:nvPicPr>
          <p:cNvPr id="7" name="Graphic 6">
            <a:extLst>
              <a:ext uri="{FF2B5EF4-FFF2-40B4-BE49-F238E27FC236}">
                <a16:creationId xmlns:a16="http://schemas.microsoft.com/office/drawing/2014/main" id="{861E0A2F-248F-8E7B-8F36-71FDC08C0E7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50863" y="6336448"/>
            <a:ext cx="1381417" cy="233480"/>
          </a:xfrm>
          <a:prstGeom prst="rect">
            <a:avLst/>
          </a:prstGeom>
        </p:spPr>
      </p:pic>
    </p:spTree>
    <p:extLst>
      <p:ext uri="{BB962C8B-B14F-4D97-AF65-F5344CB8AC3E}">
        <p14:creationId xmlns:p14="http://schemas.microsoft.com/office/powerpoint/2010/main" val="316402761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ull Light Image - Quot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B24388A-E89F-1465-CB42-4F8D1E8B7BCE}"/>
              </a:ext>
            </a:extLst>
          </p:cNvPr>
          <p:cNvSpPr/>
          <p:nvPr userDrawn="1"/>
        </p:nvSpPr>
        <p:spPr>
          <a:xfrm>
            <a:off x="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icture Placeholder 5">
            <a:extLst>
              <a:ext uri="{FF2B5EF4-FFF2-40B4-BE49-F238E27FC236}">
                <a16:creationId xmlns:a16="http://schemas.microsoft.com/office/drawing/2014/main" id="{E7B1683A-D886-9B6C-2690-189E65E5E8DC}"/>
              </a:ext>
            </a:extLst>
          </p:cNvPr>
          <p:cNvSpPr>
            <a:spLocks noGrp="1"/>
          </p:cNvSpPr>
          <p:nvPr>
            <p:ph type="pic" sz="quarter" idx="20" hasCustomPrompt="1"/>
          </p:nvPr>
        </p:nvSpPr>
        <p:spPr>
          <a:xfrm>
            <a:off x="0" y="0"/>
            <a:ext cx="12192000" cy="6858000"/>
          </a:xfrm>
          <a:custGeom>
            <a:avLst/>
            <a:gdLst>
              <a:gd name="connsiteX0" fmla="*/ 1592699 w 12192000"/>
              <a:gd name="connsiteY0" fmla="*/ 6492423 h 6858000"/>
              <a:gd name="connsiteX1" fmla="*/ 1592699 w 12192000"/>
              <a:gd name="connsiteY1" fmla="*/ 6501164 h 6858000"/>
              <a:gd name="connsiteX2" fmla="*/ 1592546 w 12192000"/>
              <a:gd name="connsiteY2" fmla="*/ 6504388 h 6858000"/>
              <a:gd name="connsiteX3" fmla="*/ 1568857 w 12192000"/>
              <a:gd name="connsiteY3" fmla="*/ 6522619 h 6858000"/>
              <a:gd name="connsiteX4" fmla="*/ 1551438 w 12192000"/>
              <a:gd name="connsiteY4" fmla="*/ 6508315 h 6858000"/>
              <a:gd name="connsiteX5" fmla="*/ 1568857 w 12192000"/>
              <a:gd name="connsiteY5" fmla="*/ 6495071 h 6858000"/>
              <a:gd name="connsiteX6" fmla="*/ 1581983 w 12192000"/>
              <a:gd name="connsiteY6" fmla="*/ 6495071 h 6858000"/>
              <a:gd name="connsiteX7" fmla="*/ 1592699 w 12192000"/>
              <a:gd name="connsiteY7" fmla="*/ 6492423 h 6858000"/>
              <a:gd name="connsiteX8" fmla="*/ 1172060 w 12192000"/>
              <a:gd name="connsiteY8" fmla="*/ 6492423 h 6858000"/>
              <a:gd name="connsiteX9" fmla="*/ 1172060 w 12192000"/>
              <a:gd name="connsiteY9" fmla="*/ 6501164 h 6858000"/>
              <a:gd name="connsiteX10" fmla="*/ 1171906 w 12192000"/>
              <a:gd name="connsiteY10" fmla="*/ 6504389 h 6858000"/>
              <a:gd name="connsiteX11" fmla="*/ 1148216 w 12192000"/>
              <a:gd name="connsiteY11" fmla="*/ 6522619 h 6858000"/>
              <a:gd name="connsiteX12" fmla="*/ 1130802 w 12192000"/>
              <a:gd name="connsiteY12" fmla="*/ 6508315 h 6858000"/>
              <a:gd name="connsiteX13" fmla="*/ 1148216 w 12192000"/>
              <a:gd name="connsiteY13" fmla="*/ 6495071 h 6858000"/>
              <a:gd name="connsiteX14" fmla="*/ 1161343 w 12192000"/>
              <a:gd name="connsiteY14" fmla="*/ 6495071 h 6858000"/>
              <a:gd name="connsiteX15" fmla="*/ 1172060 w 12192000"/>
              <a:gd name="connsiteY15" fmla="*/ 6492423 h 6858000"/>
              <a:gd name="connsiteX16" fmla="*/ 1796056 w 12192000"/>
              <a:gd name="connsiteY16" fmla="*/ 6448718 h 6858000"/>
              <a:gd name="connsiteX17" fmla="*/ 1823115 w 12192000"/>
              <a:gd name="connsiteY17" fmla="*/ 6470969 h 6858000"/>
              <a:gd name="connsiteX18" fmla="*/ 1768190 w 12192000"/>
              <a:gd name="connsiteY18" fmla="*/ 6470969 h 6858000"/>
              <a:gd name="connsiteX19" fmla="*/ 1796056 w 12192000"/>
              <a:gd name="connsiteY19" fmla="*/ 6448718 h 6858000"/>
              <a:gd name="connsiteX20" fmla="*/ 1385331 w 12192000"/>
              <a:gd name="connsiteY20" fmla="*/ 6423290 h 6858000"/>
              <a:gd name="connsiteX21" fmla="*/ 1427128 w 12192000"/>
              <a:gd name="connsiteY21" fmla="*/ 6544605 h 6858000"/>
              <a:gd name="connsiteX22" fmla="*/ 1470261 w 12192000"/>
              <a:gd name="connsiteY22" fmla="*/ 6544605 h 6858000"/>
              <a:gd name="connsiteX23" fmla="*/ 1513932 w 12192000"/>
              <a:gd name="connsiteY23" fmla="*/ 6423290 h 6858000"/>
              <a:gd name="connsiteX24" fmla="*/ 1477223 w 12192000"/>
              <a:gd name="connsiteY24" fmla="*/ 6423290 h 6858000"/>
              <a:gd name="connsiteX25" fmla="*/ 1449367 w 12192000"/>
              <a:gd name="connsiteY25" fmla="*/ 6507521 h 6858000"/>
              <a:gd name="connsiteX26" fmla="*/ 1423104 w 12192000"/>
              <a:gd name="connsiteY26" fmla="*/ 6423290 h 6858000"/>
              <a:gd name="connsiteX27" fmla="*/ 1319153 w 12192000"/>
              <a:gd name="connsiteY27" fmla="*/ 6423290 h 6858000"/>
              <a:gd name="connsiteX28" fmla="*/ 1319153 w 12192000"/>
              <a:gd name="connsiteY28" fmla="*/ 6452426 h 6858000"/>
              <a:gd name="connsiteX29" fmla="*/ 1336299 w 12192000"/>
              <a:gd name="connsiteY29" fmla="*/ 6452426 h 6858000"/>
              <a:gd name="connsiteX30" fmla="*/ 1336299 w 12192000"/>
              <a:gd name="connsiteY30" fmla="*/ 6544604 h 6858000"/>
              <a:gd name="connsiteX31" fmla="*/ 1371127 w 12192000"/>
              <a:gd name="connsiteY31" fmla="*/ 6544604 h 6858000"/>
              <a:gd name="connsiteX32" fmla="*/ 1371127 w 12192000"/>
              <a:gd name="connsiteY32" fmla="*/ 6423290 h 6858000"/>
              <a:gd name="connsiteX33" fmla="*/ 1293161 w 12192000"/>
              <a:gd name="connsiteY33" fmla="*/ 6421700 h 6858000"/>
              <a:gd name="connsiteX34" fmla="*/ 1261280 w 12192000"/>
              <a:gd name="connsiteY34" fmla="*/ 6442626 h 6858000"/>
              <a:gd name="connsiteX35" fmla="*/ 1261280 w 12192000"/>
              <a:gd name="connsiteY35" fmla="*/ 6423290 h 6858000"/>
              <a:gd name="connsiteX36" fmla="*/ 1227522 w 12192000"/>
              <a:gd name="connsiteY36" fmla="*/ 6423290 h 6858000"/>
              <a:gd name="connsiteX37" fmla="*/ 1227522 w 12192000"/>
              <a:gd name="connsiteY37" fmla="*/ 6544604 h 6858000"/>
              <a:gd name="connsiteX38" fmla="*/ 1262352 w 12192000"/>
              <a:gd name="connsiteY38" fmla="*/ 6544604 h 6858000"/>
              <a:gd name="connsiteX39" fmla="*/ 1262352 w 12192000"/>
              <a:gd name="connsiteY39" fmla="*/ 6486596 h 6858000"/>
              <a:gd name="connsiteX40" fmla="*/ 1288073 w 12192000"/>
              <a:gd name="connsiteY40" fmla="*/ 6457194 h 6858000"/>
              <a:gd name="connsiteX41" fmla="*/ 1302808 w 12192000"/>
              <a:gd name="connsiteY41" fmla="*/ 6457194 h 6858000"/>
              <a:gd name="connsiteX42" fmla="*/ 1302808 w 12192000"/>
              <a:gd name="connsiteY42" fmla="*/ 6422760 h 6858000"/>
              <a:gd name="connsiteX43" fmla="*/ 1293161 w 12192000"/>
              <a:gd name="connsiteY43" fmla="*/ 6421700 h 6858000"/>
              <a:gd name="connsiteX44" fmla="*/ 1796056 w 12192000"/>
              <a:gd name="connsiteY44" fmla="*/ 6420112 h 6858000"/>
              <a:gd name="connsiteX45" fmla="*/ 1791956 w 12192000"/>
              <a:gd name="connsiteY45" fmla="*/ 6420138 h 6858000"/>
              <a:gd name="connsiteX46" fmla="*/ 1732297 w 12192000"/>
              <a:gd name="connsiteY46" fmla="*/ 6483948 h 6858000"/>
              <a:gd name="connsiteX47" fmla="*/ 1770879 w 12192000"/>
              <a:gd name="connsiteY47" fmla="*/ 6541990 h 6858000"/>
              <a:gd name="connsiteX48" fmla="*/ 1857943 w 12192000"/>
              <a:gd name="connsiteY48" fmla="*/ 6509641 h 6858000"/>
              <a:gd name="connsiteX49" fmla="*/ 1821781 w 12192000"/>
              <a:gd name="connsiteY49" fmla="*/ 6505933 h 6858000"/>
              <a:gd name="connsiteX50" fmla="*/ 1802269 w 12192000"/>
              <a:gd name="connsiteY50" fmla="*/ 6518046 h 6858000"/>
              <a:gd name="connsiteX51" fmla="*/ 1768997 w 12192000"/>
              <a:gd name="connsiteY51" fmla="*/ 6494013 h 6858000"/>
              <a:gd name="connsiteX52" fmla="*/ 1860353 w 12192000"/>
              <a:gd name="connsiteY52" fmla="*/ 6494013 h 6858000"/>
              <a:gd name="connsiteX53" fmla="*/ 1860353 w 12192000"/>
              <a:gd name="connsiteY53" fmla="*/ 6492689 h 6858000"/>
              <a:gd name="connsiteX54" fmla="*/ 1796056 w 12192000"/>
              <a:gd name="connsiteY54" fmla="*/ 6420112 h 6858000"/>
              <a:gd name="connsiteX55" fmla="*/ 1574215 w 12192000"/>
              <a:gd name="connsiteY55" fmla="*/ 6420111 h 6858000"/>
              <a:gd name="connsiteX56" fmla="*/ 1521700 w 12192000"/>
              <a:gd name="connsiteY56" fmla="*/ 6434944 h 6858000"/>
              <a:gd name="connsiteX57" fmla="*/ 1535364 w 12192000"/>
              <a:gd name="connsiteY57" fmla="*/ 6460902 h 6858000"/>
              <a:gd name="connsiteX58" fmla="*/ 1572342 w 12192000"/>
              <a:gd name="connsiteY58" fmla="*/ 6449512 h 6858000"/>
              <a:gd name="connsiteX59" fmla="*/ 1592699 w 12192000"/>
              <a:gd name="connsiteY59" fmla="*/ 6463816 h 6858000"/>
              <a:gd name="connsiteX60" fmla="*/ 1592699 w 12192000"/>
              <a:gd name="connsiteY60" fmla="*/ 6465140 h 6858000"/>
              <a:gd name="connsiteX61" fmla="*/ 1584124 w 12192000"/>
              <a:gd name="connsiteY61" fmla="*/ 6472292 h 6858000"/>
              <a:gd name="connsiteX62" fmla="*/ 1560013 w 12192000"/>
              <a:gd name="connsiteY62" fmla="*/ 6472292 h 6858000"/>
              <a:gd name="connsiteX63" fmla="*/ 1515545 w 12192000"/>
              <a:gd name="connsiteY63" fmla="*/ 6509640 h 6858000"/>
              <a:gd name="connsiteX64" fmla="*/ 1515603 w 12192000"/>
              <a:gd name="connsiteY64" fmla="*/ 6510750 h 6858000"/>
              <a:gd name="connsiteX65" fmla="*/ 1558409 w 12192000"/>
              <a:gd name="connsiteY65" fmla="*/ 6547782 h 6858000"/>
              <a:gd name="connsiteX66" fmla="*/ 1592699 w 12192000"/>
              <a:gd name="connsiteY66" fmla="*/ 6533214 h 6858000"/>
              <a:gd name="connsiteX67" fmla="*/ 1592699 w 12192000"/>
              <a:gd name="connsiteY67" fmla="*/ 6544604 h 6858000"/>
              <a:gd name="connsiteX68" fmla="*/ 1627527 w 12192000"/>
              <a:gd name="connsiteY68" fmla="*/ 6544604 h 6858000"/>
              <a:gd name="connsiteX69" fmla="*/ 1627527 w 12192000"/>
              <a:gd name="connsiteY69" fmla="*/ 6464875 h 6858000"/>
              <a:gd name="connsiteX70" fmla="*/ 1574215 w 12192000"/>
              <a:gd name="connsiteY70" fmla="*/ 6420111 h 6858000"/>
              <a:gd name="connsiteX71" fmla="*/ 1153574 w 12192000"/>
              <a:gd name="connsiteY71" fmla="*/ 6420111 h 6858000"/>
              <a:gd name="connsiteX72" fmla="*/ 1101062 w 12192000"/>
              <a:gd name="connsiteY72" fmla="*/ 6434944 h 6858000"/>
              <a:gd name="connsiteX73" fmla="*/ 1114726 w 12192000"/>
              <a:gd name="connsiteY73" fmla="*/ 6460902 h 6858000"/>
              <a:gd name="connsiteX74" fmla="*/ 1151699 w 12192000"/>
              <a:gd name="connsiteY74" fmla="*/ 6449512 h 6858000"/>
              <a:gd name="connsiteX75" fmla="*/ 1172060 w 12192000"/>
              <a:gd name="connsiteY75" fmla="*/ 6463816 h 6858000"/>
              <a:gd name="connsiteX76" fmla="*/ 1172060 w 12192000"/>
              <a:gd name="connsiteY76" fmla="*/ 6465140 h 6858000"/>
              <a:gd name="connsiteX77" fmla="*/ 1163487 w 12192000"/>
              <a:gd name="connsiteY77" fmla="*/ 6472292 h 6858000"/>
              <a:gd name="connsiteX78" fmla="*/ 1139375 w 12192000"/>
              <a:gd name="connsiteY78" fmla="*/ 6472292 h 6858000"/>
              <a:gd name="connsiteX79" fmla="*/ 1094901 w 12192000"/>
              <a:gd name="connsiteY79" fmla="*/ 6509640 h 6858000"/>
              <a:gd name="connsiteX80" fmla="*/ 1094960 w 12192000"/>
              <a:gd name="connsiteY80" fmla="*/ 6510749 h 6858000"/>
              <a:gd name="connsiteX81" fmla="*/ 1137766 w 12192000"/>
              <a:gd name="connsiteY81" fmla="*/ 6547782 h 6858000"/>
              <a:gd name="connsiteX82" fmla="*/ 1172060 w 12192000"/>
              <a:gd name="connsiteY82" fmla="*/ 6533214 h 6858000"/>
              <a:gd name="connsiteX83" fmla="*/ 1172060 w 12192000"/>
              <a:gd name="connsiteY83" fmla="*/ 6544604 h 6858000"/>
              <a:gd name="connsiteX84" fmla="*/ 1206890 w 12192000"/>
              <a:gd name="connsiteY84" fmla="*/ 6544604 h 6858000"/>
              <a:gd name="connsiteX85" fmla="*/ 1206890 w 12192000"/>
              <a:gd name="connsiteY85" fmla="*/ 6464875 h 6858000"/>
              <a:gd name="connsiteX86" fmla="*/ 1153574 w 12192000"/>
              <a:gd name="connsiteY86" fmla="*/ 6420111 h 6858000"/>
              <a:gd name="connsiteX87" fmla="*/ 568575 w 12192000"/>
              <a:gd name="connsiteY87" fmla="*/ 6383429 h 6858000"/>
              <a:gd name="connsiteX88" fmla="*/ 568549 w 12192000"/>
              <a:gd name="connsiteY88" fmla="*/ 6520396 h 6858000"/>
              <a:gd name="connsiteX89" fmla="*/ 624511 w 12192000"/>
              <a:gd name="connsiteY89" fmla="*/ 6519097 h 6858000"/>
              <a:gd name="connsiteX90" fmla="*/ 618898 w 12192000"/>
              <a:gd name="connsiteY90" fmla="*/ 6402004 h 6858000"/>
              <a:gd name="connsiteX91" fmla="*/ 624479 w 12192000"/>
              <a:gd name="connsiteY91" fmla="*/ 6384725 h 6858000"/>
              <a:gd name="connsiteX92" fmla="*/ 568575 w 12192000"/>
              <a:gd name="connsiteY92" fmla="*/ 6383429 h 6858000"/>
              <a:gd name="connsiteX93" fmla="*/ 1659953 w 12192000"/>
              <a:gd name="connsiteY93" fmla="*/ 6377201 h 6858000"/>
              <a:gd name="connsiteX94" fmla="*/ 1659953 w 12192000"/>
              <a:gd name="connsiteY94" fmla="*/ 6423290 h 6858000"/>
              <a:gd name="connsiteX95" fmla="*/ 1640662 w 12192000"/>
              <a:gd name="connsiteY95" fmla="*/ 6423290 h 6858000"/>
              <a:gd name="connsiteX96" fmla="*/ 1640662 w 12192000"/>
              <a:gd name="connsiteY96" fmla="*/ 6452426 h 6858000"/>
              <a:gd name="connsiteX97" fmla="*/ 1659953 w 12192000"/>
              <a:gd name="connsiteY97" fmla="*/ 6452426 h 6858000"/>
              <a:gd name="connsiteX98" fmla="*/ 1659953 w 12192000"/>
              <a:gd name="connsiteY98" fmla="*/ 6518911 h 6858000"/>
              <a:gd name="connsiteX99" fmla="*/ 1695318 w 12192000"/>
              <a:gd name="connsiteY99" fmla="*/ 6546194 h 6858000"/>
              <a:gd name="connsiteX100" fmla="*/ 1722377 w 12192000"/>
              <a:gd name="connsiteY100" fmla="*/ 6544604 h 6858000"/>
              <a:gd name="connsiteX101" fmla="*/ 1722377 w 12192000"/>
              <a:gd name="connsiteY101" fmla="*/ 6515203 h 6858000"/>
              <a:gd name="connsiteX102" fmla="*/ 1706303 w 12192000"/>
              <a:gd name="connsiteY102" fmla="*/ 6515998 h 6858000"/>
              <a:gd name="connsiteX103" fmla="*/ 1694780 w 12192000"/>
              <a:gd name="connsiteY103" fmla="*/ 6507256 h 6858000"/>
              <a:gd name="connsiteX104" fmla="*/ 1694780 w 12192000"/>
              <a:gd name="connsiteY104" fmla="*/ 6452426 h 6858000"/>
              <a:gd name="connsiteX105" fmla="*/ 1721302 w 12192000"/>
              <a:gd name="connsiteY105" fmla="*/ 6452426 h 6858000"/>
              <a:gd name="connsiteX106" fmla="*/ 1721302 w 12192000"/>
              <a:gd name="connsiteY106" fmla="*/ 6423290 h 6858000"/>
              <a:gd name="connsiteX107" fmla="*/ 1694780 w 12192000"/>
              <a:gd name="connsiteY107" fmla="*/ 6423290 h 6858000"/>
              <a:gd name="connsiteX108" fmla="*/ 1694780 w 12192000"/>
              <a:gd name="connsiteY108" fmla="*/ 6377201 h 6858000"/>
              <a:gd name="connsiteX109" fmla="*/ 1884617 w 12192000"/>
              <a:gd name="connsiteY109" fmla="*/ 6359355 h 6858000"/>
              <a:gd name="connsiteX110" fmla="*/ 1884617 w 12192000"/>
              <a:gd name="connsiteY110" fmla="*/ 6392335 h 6858000"/>
              <a:gd name="connsiteX111" fmla="*/ 1893998 w 12192000"/>
              <a:gd name="connsiteY111" fmla="*/ 6392335 h 6858000"/>
              <a:gd name="connsiteX112" fmla="*/ 1893998 w 12192000"/>
              <a:gd name="connsiteY112" fmla="*/ 6373492 h 6858000"/>
              <a:gd name="connsiteX113" fmla="*/ 1898291 w 12192000"/>
              <a:gd name="connsiteY113" fmla="*/ 6385270 h 6858000"/>
              <a:gd name="connsiteX114" fmla="*/ 1905819 w 12192000"/>
              <a:gd name="connsiteY114" fmla="*/ 6385270 h 6858000"/>
              <a:gd name="connsiteX115" fmla="*/ 1910111 w 12192000"/>
              <a:gd name="connsiteY115" fmla="*/ 6373492 h 6858000"/>
              <a:gd name="connsiteX116" fmla="*/ 1910111 w 12192000"/>
              <a:gd name="connsiteY116" fmla="*/ 6392335 h 6858000"/>
              <a:gd name="connsiteX117" fmla="*/ 1919685 w 12192000"/>
              <a:gd name="connsiteY117" fmla="*/ 6392335 h 6858000"/>
              <a:gd name="connsiteX118" fmla="*/ 1919685 w 12192000"/>
              <a:gd name="connsiteY118" fmla="*/ 6359355 h 6858000"/>
              <a:gd name="connsiteX119" fmla="*/ 1907566 w 12192000"/>
              <a:gd name="connsiteY119" fmla="*/ 6359355 h 6858000"/>
              <a:gd name="connsiteX120" fmla="*/ 1902362 w 12192000"/>
              <a:gd name="connsiteY120" fmla="*/ 6373114 h 6858000"/>
              <a:gd name="connsiteX121" fmla="*/ 1897494 w 12192000"/>
              <a:gd name="connsiteY121" fmla="*/ 6359355 h 6858000"/>
              <a:gd name="connsiteX122" fmla="*/ 1850683 w 12192000"/>
              <a:gd name="connsiteY122" fmla="*/ 6359355 h 6858000"/>
              <a:gd name="connsiteX123" fmla="*/ 1850683 w 12192000"/>
              <a:gd name="connsiteY123" fmla="*/ 6367929 h 6858000"/>
              <a:gd name="connsiteX124" fmla="*/ 1860074 w 12192000"/>
              <a:gd name="connsiteY124" fmla="*/ 6367929 h 6858000"/>
              <a:gd name="connsiteX125" fmla="*/ 1860074 w 12192000"/>
              <a:gd name="connsiteY125" fmla="*/ 6392335 h 6858000"/>
              <a:gd name="connsiteX126" fmla="*/ 1869839 w 12192000"/>
              <a:gd name="connsiteY126" fmla="*/ 6392335 h 6858000"/>
              <a:gd name="connsiteX127" fmla="*/ 1869839 w 12192000"/>
              <a:gd name="connsiteY127" fmla="*/ 6367929 h 6858000"/>
              <a:gd name="connsiteX128" fmla="*/ 1879230 w 12192000"/>
              <a:gd name="connsiteY128" fmla="*/ 6367929 h 6858000"/>
              <a:gd name="connsiteX129" fmla="*/ 1879230 w 12192000"/>
              <a:gd name="connsiteY129" fmla="*/ 6359355 h 6858000"/>
              <a:gd name="connsiteX130" fmla="*/ 1352105 w 12192000"/>
              <a:gd name="connsiteY130" fmla="*/ 6359189 h 6858000"/>
              <a:gd name="connsiteX131" fmla="*/ 1329868 w 12192000"/>
              <a:gd name="connsiteY131" fmla="*/ 6381439 h 6858000"/>
              <a:gd name="connsiteX132" fmla="*/ 1352108 w 12192000"/>
              <a:gd name="connsiteY132" fmla="*/ 6403427 h 6858000"/>
              <a:gd name="connsiteX133" fmla="*/ 1374610 w 12192000"/>
              <a:gd name="connsiteY133" fmla="*/ 6381439 h 6858000"/>
              <a:gd name="connsiteX134" fmla="*/ 1374610 w 12192000"/>
              <a:gd name="connsiteY134" fmla="*/ 6381364 h 6858000"/>
              <a:gd name="connsiteX135" fmla="*/ 1352105 w 12192000"/>
              <a:gd name="connsiteY135" fmla="*/ 6359189 h 6858000"/>
              <a:gd name="connsiteX136" fmla="*/ 1041583 w 12192000"/>
              <a:gd name="connsiteY136" fmla="*/ 6359189 h 6858000"/>
              <a:gd name="connsiteX137" fmla="*/ 1041583 w 12192000"/>
              <a:gd name="connsiteY137" fmla="*/ 6544604 h 6858000"/>
              <a:gd name="connsiteX138" fmla="*/ 1076143 w 12192000"/>
              <a:gd name="connsiteY138" fmla="*/ 6544604 h 6858000"/>
              <a:gd name="connsiteX139" fmla="*/ 1076143 w 12192000"/>
              <a:gd name="connsiteY139" fmla="*/ 6359189 h 6858000"/>
              <a:gd name="connsiteX140" fmla="*/ 925239 w 12192000"/>
              <a:gd name="connsiteY140" fmla="*/ 6355990 h 6858000"/>
              <a:gd name="connsiteX141" fmla="*/ 832602 w 12192000"/>
              <a:gd name="connsiteY141" fmla="*/ 6451897 h 6858000"/>
              <a:gd name="connsiteX142" fmla="*/ 832623 w 12192000"/>
              <a:gd name="connsiteY142" fmla="*/ 6456990 h 6858000"/>
              <a:gd name="connsiteX143" fmla="*/ 930389 w 12192000"/>
              <a:gd name="connsiteY143" fmla="*/ 6547783 h 6858000"/>
              <a:gd name="connsiteX144" fmla="*/ 1022285 w 12192000"/>
              <a:gd name="connsiteY144" fmla="*/ 6478650 h 6858000"/>
              <a:gd name="connsiteX145" fmla="*/ 981294 w 12192000"/>
              <a:gd name="connsiteY145" fmla="*/ 6478650 h 6858000"/>
              <a:gd name="connsiteX146" fmla="*/ 930389 w 12192000"/>
              <a:gd name="connsiteY146" fmla="*/ 6513878 h 6858000"/>
              <a:gd name="connsiteX147" fmla="*/ 871450 w 12192000"/>
              <a:gd name="connsiteY147" fmla="*/ 6451897 h 6858000"/>
              <a:gd name="connsiteX148" fmla="*/ 930389 w 12192000"/>
              <a:gd name="connsiteY148" fmla="*/ 6389916 h 6858000"/>
              <a:gd name="connsiteX149" fmla="*/ 981294 w 12192000"/>
              <a:gd name="connsiteY149" fmla="*/ 6425144 h 6858000"/>
              <a:gd name="connsiteX150" fmla="*/ 1022285 w 12192000"/>
              <a:gd name="connsiteY150" fmla="*/ 6425144 h 6858000"/>
              <a:gd name="connsiteX151" fmla="*/ 930389 w 12192000"/>
              <a:gd name="connsiteY151" fmla="*/ 6356011 h 6858000"/>
              <a:gd name="connsiteX152" fmla="*/ 925239 w 12192000"/>
              <a:gd name="connsiteY152" fmla="*/ 6355990 h 6858000"/>
              <a:gd name="connsiteX153" fmla="*/ 651232 w 12192000"/>
              <a:gd name="connsiteY153" fmla="*/ 6336161 h 6858000"/>
              <a:gd name="connsiteX154" fmla="*/ 624479 w 12192000"/>
              <a:gd name="connsiteY154" fmla="*/ 6384726 h 6858000"/>
              <a:gd name="connsiteX155" fmla="*/ 742033 w 12192000"/>
              <a:gd name="connsiteY155" fmla="*/ 6451914 h 6858000"/>
              <a:gd name="connsiteX156" fmla="*/ 624512 w 12192000"/>
              <a:gd name="connsiteY156" fmla="*/ 6519097 h 6858000"/>
              <a:gd name="connsiteX157" fmla="*/ 651373 w 12192000"/>
              <a:gd name="connsiteY157" fmla="*/ 6567631 h 6858000"/>
              <a:gd name="connsiteX158" fmla="*/ 771228 w 12192000"/>
              <a:gd name="connsiteY158" fmla="*/ 6499136 h 6858000"/>
              <a:gd name="connsiteX159" fmla="*/ 742033 w 12192000"/>
              <a:gd name="connsiteY159" fmla="*/ 6451914 h 6858000"/>
              <a:gd name="connsiteX160" fmla="*/ 771227 w 12192000"/>
              <a:gd name="connsiteY160" fmla="*/ 6404692 h 6858000"/>
              <a:gd name="connsiteX161" fmla="*/ 651232 w 12192000"/>
              <a:gd name="connsiteY161" fmla="*/ 6336161 h 6858000"/>
              <a:gd name="connsiteX162" fmla="*/ 0 w 12192000"/>
              <a:gd name="connsiteY162" fmla="*/ 0 h 6858000"/>
              <a:gd name="connsiteX163" fmla="*/ 7104065 w 12192000"/>
              <a:gd name="connsiteY163" fmla="*/ 0 h 6858000"/>
              <a:gd name="connsiteX164" fmla="*/ 8040688 w 12192000"/>
              <a:gd name="connsiteY164" fmla="*/ 0 h 6858000"/>
              <a:gd name="connsiteX165" fmla="*/ 12192000 w 12192000"/>
              <a:gd name="connsiteY165" fmla="*/ 0 h 6858000"/>
              <a:gd name="connsiteX166" fmla="*/ 12192000 w 12192000"/>
              <a:gd name="connsiteY166" fmla="*/ 6858000 h 6858000"/>
              <a:gd name="connsiteX167" fmla="*/ 8040688 w 12192000"/>
              <a:gd name="connsiteY167" fmla="*/ 6858000 h 6858000"/>
              <a:gd name="connsiteX168" fmla="*/ 7104065 w 12192000"/>
              <a:gd name="connsiteY168" fmla="*/ 6858000 h 6858000"/>
              <a:gd name="connsiteX169" fmla="*/ 0 w 12192000"/>
              <a:gd name="connsiteY16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12192000" h="6858000">
                <a:moveTo>
                  <a:pt x="1592699" y="6492423"/>
                </a:moveTo>
                <a:lnTo>
                  <a:pt x="1592699" y="6501164"/>
                </a:lnTo>
                <a:cubicBezTo>
                  <a:pt x="1592738" y="6502241"/>
                  <a:pt x="1592680" y="6503319"/>
                  <a:pt x="1592546" y="6504388"/>
                </a:cubicBezTo>
                <a:cubicBezTo>
                  <a:pt x="1591096" y="6515890"/>
                  <a:pt x="1580495" y="6524053"/>
                  <a:pt x="1568857" y="6522619"/>
                </a:cubicBezTo>
                <a:cubicBezTo>
                  <a:pt x="1558141" y="6522619"/>
                  <a:pt x="1551438" y="6516526"/>
                  <a:pt x="1551438" y="6508315"/>
                </a:cubicBezTo>
                <a:cubicBezTo>
                  <a:pt x="1551438" y="6499839"/>
                  <a:pt x="1557872" y="6495071"/>
                  <a:pt x="1568857" y="6495071"/>
                </a:cubicBezTo>
                <a:lnTo>
                  <a:pt x="1581983" y="6495071"/>
                </a:lnTo>
                <a:cubicBezTo>
                  <a:pt x="1585766" y="6495554"/>
                  <a:pt x="1589598" y="6494609"/>
                  <a:pt x="1592699" y="6492423"/>
                </a:cubicBezTo>
                <a:close/>
                <a:moveTo>
                  <a:pt x="1172060" y="6492423"/>
                </a:moveTo>
                <a:lnTo>
                  <a:pt x="1172060" y="6501164"/>
                </a:lnTo>
                <a:cubicBezTo>
                  <a:pt x="1172093" y="6502242"/>
                  <a:pt x="1172042" y="6503320"/>
                  <a:pt x="1171906" y="6504389"/>
                </a:cubicBezTo>
                <a:cubicBezTo>
                  <a:pt x="1170456" y="6515891"/>
                  <a:pt x="1159850" y="6524053"/>
                  <a:pt x="1148216" y="6522619"/>
                </a:cubicBezTo>
                <a:cubicBezTo>
                  <a:pt x="1137499" y="6522619"/>
                  <a:pt x="1130802" y="6516526"/>
                  <a:pt x="1130802" y="6508315"/>
                </a:cubicBezTo>
                <a:cubicBezTo>
                  <a:pt x="1130802" y="6499839"/>
                  <a:pt x="1137232" y="6495071"/>
                  <a:pt x="1148216" y="6495071"/>
                </a:cubicBezTo>
                <a:lnTo>
                  <a:pt x="1161343" y="6495071"/>
                </a:lnTo>
                <a:cubicBezTo>
                  <a:pt x="1165125" y="6495554"/>
                  <a:pt x="1168953" y="6494609"/>
                  <a:pt x="1172060" y="6492423"/>
                </a:cubicBezTo>
                <a:close/>
                <a:moveTo>
                  <a:pt x="1796056" y="6448718"/>
                </a:moveTo>
                <a:cubicBezTo>
                  <a:pt x="1809461" y="6448340"/>
                  <a:pt x="1821051" y="6457873"/>
                  <a:pt x="1823115" y="6470969"/>
                </a:cubicBezTo>
                <a:lnTo>
                  <a:pt x="1768190" y="6470969"/>
                </a:lnTo>
                <a:cubicBezTo>
                  <a:pt x="1770601" y="6457738"/>
                  <a:pt x="1782469" y="6448261"/>
                  <a:pt x="1796056" y="6448718"/>
                </a:cubicBezTo>
                <a:close/>
                <a:moveTo>
                  <a:pt x="1385331" y="6423290"/>
                </a:moveTo>
                <a:lnTo>
                  <a:pt x="1427128" y="6544605"/>
                </a:lnTo>
                <a:lnTo>
                  <a:pt x="1470261" y="6544605"/>
                </a:lnTo>
                <a:lnTo>
                  <a:pt x="1513932" y="6423290"/>
                </a:lnTo>
                <a:lnTo>
                  <a:pt x="1477223" y="6423290"/>
                </a:lnTo>
                <a:lnTo>
                  <a:pt x="1449367" y="6507521"/>
                </a:lnTo>
                <a:lnTo>
                  <a:pt x="1423104" y="6423290"/>
                </a:lnTo>
                <a:close/>
                <a:moveTo>
                  <a:pt x="1319153" y="6423290"/>
                </a:moveTo>
                <a:lnTo>
                  <a:pt x="1319153" y="6452426"/>
                </a:lnTo>
                <a:lnTo>
                  <a:pt x="1336299" y="6452426"/>
                </a:lnTo>
                <a:lnTo>
                  <a:pt x="1336299" y="6544604"/>
                </a:lnTo>
                <a:lnTo>
                  <a:pt x="1371127" y="6544604"/>
                </a:lnTo>
                <a:lnTo>
                  <a:pt x="1371127" y="6423290"/>
                </a:lnTo>
                <a:close/>
                <a:moveTo>
                  <a:pt x="1293161" y="6421700"/>
                </a:moveTo>
                <a:cubicBezTo>
                  <a:pt x="1279051" y="6421037"/>
                  <a:pt x="1266138" y="6429512"/>
                  <a:pt x="1261280" y="6442626"/>
                </a:cubicBezTo>
                <a:lnTo>
                  <a:pt x="1261280" y="6423290"/>
                </a:lnTo>
                <a:lnTo>
                  <a:pt x="1227522" y="6423290"/>
                </a:lnTo>
                <a:lnTo>
                  <a:pt x="1227522" y="6544604"/>
                </a:lnTo>
                <a:lnTo>
                  <a:pt x="1262352" y="6544604"/>
                </a:lnTo>
                <a:lnTo>
                  <a:pt x="1262352" y="6486596"/>
                </a:lnTo>
                <a:cubicBezTo>
                  <a:pt x="1262352" y="6465405"/>
                  <a:pt x="1270389" y="6457194"/>
                  <a:pt x="1288073" y="6457194"/>
                </a:cubicBezTo>
                <a:lnTo>
                  <a:pt x="1302808" y="6457194"/>
                </a:lnTo>
                <a:lnTo>
                  <a:pt x="1302808" y="6422760"/>
                </a:lnTo>
                <a:cubicBezTo>
                  <a:pt x="1299648" y="6422016"/>
                  <a:pt x="1296409" y="6421660"/>
                  <a:pt x="1293161" y="6421700"/>
                </a:cubicBezTo>
                <a:close/>
                <a:moveTo>
                  <a:pt x="1796056" y="6420112"/>
                </a:moveTo>
                <a:cubicBezTo>
                  <a:pt x="1794693" y="6420076"/>
                  <a:pt x="1793320" y="6420084"/>
                  <a:pt x="1791956" y="6420138"/>
                </a:cubicBezTo>
                <a:cubicBezTo>
                  <a:pt x="1757657" y="6421470"/>
                  <a:pt x="1730943" y="6450039"/>
                  <a:pt x="1732297" y="6483948"/>
                </a:cubicBezTo>
                <a:cubicBezTo>
                  <a:pt x="1732749" y="6509035"/>
                  <a:pt x="1747766" y="6531624"/>
                  <a:pt x="1770879" y="6541990"/>
                </a:cubicBezTo>
                <a:cubicBezTo>
                  <a:pt x="1803959" y="6556828"/>
                  <a:pt x="1842934" y="6542344"/>
                  <a:pt x="1857943" y="6509641"/>
                </a:cubicBezTo>
                <a:lnTo>
                  <a:pt x="1821781" y="6505933"/>
                </a:lnTo>
                <a:cubicBezTo>
                  <a:pt x="1817229" y="6512448"/>
                  <a:pt x="1810181" y="6516829"/>
                  <a:pt x="1802269" y="6518046"/>
                </a:cubicBezTo>
                <a:cubicBezTo>
                  <a:pt x="1786368" y="6520493"/>
                  <a:pt x="1771474" y="6509733"/>
                  <a:pt x="1768997" y="6494013"/>
                </a:cubicBezTo>
                <a:lnTo>
                  <a:pt x="1860353" y="6494013"/>
                </a:lnTo>
                <a:lnTo>
                  <a:pt x="1860353" y="6492689"/>
                </a:lnTo>
                <a:cubicBezTo>
                  <a:pt x="1860353" y="6441832"/>
                  <a:pt x="1829808" y="6420112"/>
                  <a:pt x="1796056" y="6420112"/>
                </a:cubicBezTo>
                <a:close/>
                <a:moveTo>
                  <a:pt x="1574215" y="6420111"/>
                </a:moveTo>
                <a:cubicBezTo>
                  <a:pt x="1555692" y="6420390"/>
                  <a:pt x="1537573" y="6425507"/>
                  <a:pt x="1521700" y="6434944"/>
                </a:cubicBezTo>
                <a:lnTo>
                  <a:pt x="1535364" y="6460902"/>
                </a:lnTo>
                <a:cubicBezTo>
                  <a:pt x="1546618" y="6454290"/>
                  <a:pt x="1559283" y="6450388"/>
                  <a:pt x="1572342" y="6449512"/>
                </a:cubicBezTo>
                <a:cubicBezTo>
                  <a:pt x="1585738" y="6449512"/>
                  <a:pt x="1592699" y="6455075"/>
                  <a:pt x="1592699" y="6463816"/>
                </a:cubicBezTo>
                <a:lnTo>
                  <a:pt x="1592699" y="6465140"/>
                </a:lnTo>
                <a:cubicBezTo>
                  <a:pt x="1592699" y="6469643"/>
                  <a:pt x="1590020" y="6472292"/>
                  <a:pt x="1584124" y="6472292"/>
                </a:cubicBezTo>
                <a:lnTo>
                  <a:pt x="1560013" y="6472292"/>
                </a:lnTo>
                <a:cubicBezTo>
                  <a:pt x="1532685" y="6472292"/>
                  <a:pt x="1515545" y="6486595"/>
                  <a:pt x="1515545" y="6509640"/>
                </a:cubicBezTo>
                <a:cubicBezTo>
                  <a:pt x="1515555" y="6510010"/>
                  <a:pt x="1515574" y="6510380"/>
                  <a:pt x="1515603" y="6510750"/>
                </a:cubicBezTo>
                <a:cubicBezTo>
                  <a:pt x="1517081" y="6532663"/>
                  <a:pt x="1536247" y="6549244"/>
                  <a:pt x="1558409" y="6547782"/>
                </a:cubicBezTo>
                <a:cubicBezTo>
                  <a:pt x="1571536" y="6548591"/>
                  <a:pt x="1584259" y="6543183"/>
                  <a:pt x="1592699" y="6533214"/>
                </a:cubicBezTo>
                <a:lnTo>
                  <a:pt x="1592699" y="6544604"/>
                </a:lnTo>
                <a:lnTo>
                  <a:pt x="1627527" y="6544604"/>
                </a:lnTo>
                <a:lnTo>
                  <a:pt x="1627527" y="6464875"/>
                </a:lnTo>
                <a:cubicBezTo>
                  <a:pt x="1627527" y="6432825"/>
                  <a:pt x="1602081" y="6420111"/>
                  <a:pt x="1574215" y="6420111"/>
                </a:cubicBezTo>
                <a:close/>
                <a:moveTo>
                  <a:pt x="1153574" y="6420111"/>
                </a:moveTo>
                <a:cubicBezTo>
                  <a:pt x="1135053" y="6420390"/>
                  <a:pt x="1116936" y="6425508"/>
                  <a:pt x="1101062" y="6434944"/>
                </a:cubicBezTo>
                <a:lnTo>
                  <a:pt x="1114726" y="6460902"/>
                </a:lnTo>
                <a:cubicBezTo>
                  <a:pt x="1125976" y="6454290"/>
                  <a:pt x="1138641" y="6450388"/>
                  <a:pt x="1151699" y="6449512"/>
                </a:cubicBezTo>
                <a:cubicBezTo>
                  <a:pt x="1165095" y="6449512"/>
                  <a:pt x="1172060" y="6455075"/>
                  <a:pt x="1172060" y="6463816"/>
                </a:cubicBezTo>
                <a:lnTo>
                  <a:pt x="1172060" y="6465140"/>
                </a:lnTo>
                <a:cubicBezTo>
                  <a:pt x="1172060" y="6469643"/>
                  <a:pt x="1169381" y="6472292"/>
                  <a:pt x="1163487" y="6472292"/>
                </a:cubicBezTo>
                <a:lnTo>
                  <a:pt x="1139375" y="6472292"/>
                </a:lnTo>
                <a:cubicBezTo>
                  <a:pt x="1112046" y="6472292"/>
                  <a:pt x="1094901" y="6486595"/>
                  <a:pt x="1094901" y="6509640"/>
                </a:cubicBezTo>
                <a:cubicBezTo>
                  <a:pt x="1094915" y="6510010"/>
                  <a:pt x="1094936" y="6510379"/>
                  <a:pt x="1094960" y="6510749"/>
                </a:cubicBezTo>
                <a:cubicBezTo>
                  <a:pt x="1096437" y="6532662"/>
                  <a:pt x="1115603" y="6549243"/>
                  <a:pt x="1137766" y="6547782"/>
                </a:cubicBezTo>
                <a:cubicBezTo>
                  <a:pt x="1150890" y="6548592"/>
                  <a:pt x="1163622" y="6543184"/>
                  <a:pt x="1172060" y="6533214"/>
                </a:cubicBezTo>
                <a:lnTo>
                  <a:pt x="1172060" y="6544604"/>
                </a:lnTo>
                <a:lnTo>
                  <a:pt x="1206890" y="6544604"/>
                </a:lnTo>
                <a:lnTo>
                  <a:pt x="1206890" y="6464875"/>
                </a:lnTo>
                <a:cubicBezTo>
                  <a:pt x="1206890" y="6432825"/>
                  <a:pt x="1181438" y="6420111"/>
                  <a:pt x="1153574" y="6420111"/>
                </a:cubicBezTo>
                <a:close/>
                <a:moveTo>
                  <a:pt x="568575" y="6383429"/>
                </a:moveTo>
                <a:cubicBezTo>
                  <a:pt x="555414" y="6428156"/>
                  <a:pt x="555406" y="6475664"/>
                  <a:pt x="568549" y="6520396"/>
                </a:cubicBezTo>
                <a:cubicBezTo>
                  <a:pt x="587170" y="6522621"/>
                  <a:pt x="606017" y="6522184"/>
                  <a:pt x="624511" y="6519097"/>
                </a:cubicBezTo>
                <a:cubicBezTo>
                  <a:pt x="610287" y="6481610"/>
                  <a:pt x="608324" y="6440654"/>
                  <a:pt x="618898" y="6402004"/>
                </a:cubicBezTo>
                <a:cubicBezTo>
                  <a:pt x="620492" y="6396123"/>
                  <a:pt x="622369" y="6390366"/>
                  <a:pt x="624479" y="6384725"/>
                </a:cubicBezTo>
                <a:cubicBezTo>
                  <a:pt x="606004" y="6381645"/>
                  <a:pt x="587176" y="6381208"/>
                  <a:pt x="568575" y="6383429"/>
                </a:cubicBezTo>
                <a:close/>
                <a:moveTo>
                  <a:pt x="1659953" y="6377201"/>
                </a:moveTo>
                <a:lnTo>
                  <a:pt x="1659953" y="6423290"/>
                </a:lnTo>
                <a:lnTo>
                  <a:pt x="1640662" y="6423290"/>
                </a:lnTo>
                <a:lnTo>
                  <a:pt x="1640662" y="6452426"/>
                </a:lnTo>
                <a:lnTo>
                  <a:pt x="1659953" y="6452426"/>
                </a:lnTo>
                <a:lnTo>
                  <a:pt x="1659953" y="6518911"/>
                </a:lnTo>
                <a:cubicBezTo>
                  <a:pt x="1659953" y="6543280"/>
                  <a:pt x="1677900" y="6546194"/>
                  <a:pt x="1695318" y="6546194"/>
                </a:cubicBezTo>
                <a:cubicBezTo>
                  <a:pt x="1705497" y="6546194"/>
                  <a:pt x="1722377" y="6544604"/>
                  <a:pt x="1722377" y="6544604"/>
                </a:cubicBezTo>
                <a:lnTo>
                  <a:pt x="1722377" y="6515203"/>
                </a:lnTo>
                <a:cubicBezTo>
                  <a:pt x="1722377" y="6515203"/>
                  <a:pt x="1715137" y="6515998"/>
                  <a:pt x="1706303" y="6515998"/>
                </a:cubicBezTo>
                <a:cubicBezTo>
                  <a:pt x="1700945" y="6515998"/>
                  <a:pt x="1694780" y="6514938"/>
                  <a:pt x="1694780" y="6507256"/>
                </a:cubicBezTo>
                <a:lnTo>
                  <a:pt x="1694780" y="6452426"/>
                </a:lnTo>
                <a:lnTo>
                  <a:pt x="1721302" y="6452426"/>
                </a:lnTo>
                <a:lnTo>
                  <a:pt x="1721302" y="6423290"/>
                </a:lnTo>
                <a:lnTo>
                  <a:pt x="1694780" y="6423290"/>
                </a:lnTo>
                <a:lnTo>
                  <a:pt x="1694780" y="6377201"/>
                </a:lnTo>
                <a:close/>
                <a:moveTo>
                  <a:pt x="1884617" y="6359355"/>
                </a:moveTo>
                <a:lnTo>
                  <a:pt x="1884617" y="6392335"/>
                </a:lnTo>
                <a:lnTo>
                  <a:pt x="1893998" y="6392335"/>
                </a:lnTo>
                <a:lnTo>
                  <a:pt x="1893998" y="6373492"/>
                </a:lnTo>
                <a:lnTo>
                  <a:pt x="1898291" y="6385270"/>
                </a:lnTo>
                <a:lnTo>
                  <a:pt x="1905819" y="6385270"/>
                </a:lnTo>
                <a:lnTo>
                  <a:pt x="1910111" y="6373492"/>
                </a:lnTo>
                <a:lnTo>
                  <a:pt x="1910111" y="6392335"/>
                </a:lnTo>
                <a:lnTo>
                  <a:pt x="1919685" y="6392335"/>
                </a:lnTo>
                <a:lnTo>
                  <a:pt x="1919685" y="6359355"/>
                </a:lnTo>
                <a:lnTo>
                  <a:pt x="1907566" y="6359355"/>
                </a:lnTo>
                <a:lnTo>
                  <a:pt x="1902362" y="6373114"/>
                </a:lnTo>
                <a:lnTo>
                  <a:pt x="1897494" y="6359355"/>
                </a:lnTo>
                <a:close/>
                <a:moveTo>
                  <a:pt x="1850683" y="6359355"/>
                </a:moveTo>
                <a:lnTo>
                  <a:pt x="1850683" y="6367929"/>
                </a:lnTo>
                <a:lnTo>
                  <a:pt x="1860074" y="6367929"/>
                </a:lnTo>
                <a:lnTo>
                  <a:pt x="1860074" y="6392335"/>
                </a:lnTo>
                <a:lnTo>
                  <a:pt x="1869839" y="6392335"/>
                </a:lnTo>
                <a:lnTo>
                  <a:pt x="1869839" y="6367929"/>
                </a:lnTo>
                <a:lnTo>
                  <a:pt x="1879230" y="6367929"/>
                </a:lnTo>
                <a:lnTo>
                  <a:pt x="1879230" y="6359355"/>
                </a:lnTo>
                <a:close/>
                <a:moveTo>
                  <a:pt x="1352105" y="6359189"/>
                </a:moveTo>
                <a:cubicBezTo>
                  <a:pt x="1339759" y="6359284"/>
                  <a:pt x="1329816" y="6369233"/>
                  <a:pt x="1329868" y="6381439"/>
                </a:cubicBezTo>
                <a:cubicBezTo>
                  <a:pt x="1329940" y="6393552"/>
                  <a:pt x="1339855" y="6403355"/>
                  <a:pt x="1352108" y="6403427"/>
                </a:cubicBezTo>
                <a:cubicBezTo>
                  <a:pt x="1364463" y="6403498"/>
                  <a:pt x="1374538" y="6393654"/>
                  <a:pt x="1374610" y="6381439"/>
                </a:cubicBezTo>
                <a:cubicBezTo>
                  <a:pt x="1374610" y="6381414"/>
                  <a:pt x="1374610" y="6381388"/>
                  <a:pt x="1374610" y="6381364"/>
                </a:cubicBezTo>
                <a:cubicBezTo>
                  <a:pt x="1374589" y="6369096"/>
                  <a:pt x="1364513" y="6359168"/>
                  <a:pt x="1352105" y="6359189"/>
                </a:cubicBezTo>
                <a:close/>
                <a:moveTo>
                  <a:pt x="1041583" y="6359189"/>
                </a:moveTo>
                <a:lnTo>
                  <a:pt x="1041583" y="6544604"/>
                </a:lnTo>
                <a:lnTo>
                  <a:pt x="1076143" y="6544604"/>
                </a:lnTo>
                <a:lnTo>
                  <a:pt x="1076143" y="6359189"/>
                </a:lnTo>
                <a:close/>
                <a:moveTo>
                  <a:pt x="925239" y="6355990"/>
                </a:moveTo>
                <a:cubicBezTo>
                  <a:pt x="872870" y="6357183"/>
                  <a:pt x="831395" y="6400122"/>
                  <a:pt x="832602" y="6451897"/>
                </a:cubicBezTo>
                <a:cubicBezTo>
                  <a:pt x="832562" y="6453595"/>
                  <a:pt x="832569" y="6455292"/>
                  <a:pt x="832623" y="6456990"/>
                </a:cubicBezTo>
                <a:cubicBezTo>
                  <a:pt x="834261" y="6508753"/>
                  <a:pt x="878033" y="6549402"/>
                  <a:pt x="930389" y="6547783"/>
                </a:cubicBezTo>
                <a:cubicBezTo>
                  <a:pt x="973630" y="6548900"/>
                  <a:pt x="1011845" y="6520151"/>
                  <a:pt x="1022285" y="6478650"/>
                </a:cubicBezTo>
                <a:lnTo>
                  <a:pt x="981294" y="6478650"/>
                </a:lnTo>
                <a:cubicBezTo>
                  <a:pt x="974516" y="6500553"/>
                  <a:pt x="953525" y="6515080"/>
                  <a:pt x="930389" y="6513878"/>
                </a:cubicBezTo>
                <a:cubicBezTo>
                  <a:pt x="895026" y="6513878"/>
                  <a:pt x="871450" y="6487391"/>
                  <a:pt x="871450" y="6451897"/>
                </a:cubicBezTo>
                <a:cubicBezTo>
                  <a:pt x="871450" y="6416403"/>
                  <a:pt x="895026" y="6389916"/>
                  <a:pt x="930389" y="6389916"/>
                </a:cubicBezTo>
                <a:cubicBezTo>
                  <a:pt x="953525" y="6388714"/>
                  <a:pt x="974516" y="6403241"/>
                  <a:pt x="981294" y="6425144"/>
                </a:cubicBezTo>
                <a:lnTo>
                  <a:pt x="1022285" y="6425144"/>
                </a:lnTo>
                <a:cubicBezTo>
                  <a:pt x="1011846" y="6383642"/>
                  <a:pt x="973630" y="6354892"/>
                  <a:pt x="930389" y="6356011"/>
                </a:cubicBezTo>
                <a:cubicBezTo>
                  <a:pt x="928673" y="6355958"/>
                  <a:pt x="926955" y="6355951"/>
                  <a:pt x="925239" y="6355990"/>
                </a:cubicBezTo>
                <a:close/>
                <a:moveTo>
                  <a:pt x="651232" y="6336161"/>
                </a:moveTo>
                <a:cubicBezTo>
                  <a:pt x="639985" y="6350984"/>
                  <a:pt x="630973" y="6367343"/>
                  <a:pt x="624479" y="6384726"/>
                </a:cubicBezTo>
                <a:cubicBezTo>
                  <a:pt x="670541" y="6392471"/>
                  <a:pt x="712258" y="6416315"/>
                  <a:pt x="742033" y="6451914"/>
                </a:cubicBezTo>
                <a:cubicBezTo>
                  <a:pt x="712265" y="6487505"/>
                  <a:pt x="670562" y="6511346"/>
                  <a:pt x="624512" y="6519097"/>
                </a:cubicBezTo>
                <a:cubicBezTo>
                  <a:pt x="631041" y="6536476"/>
                  <a:pt x="640089" y="6552825"/>
                  <a:pt x="651373" y="6567631"/>
                </a:cubicBezTo>
                <a:cubicBezTo>
                  <a:pt x="697088" y="6556502"/>
                  <a:pt x="738657" y="6532746"/>
                  <a:pt x="771228" y="6499136"/>
                </a:cubicBezTo>
                <a:cubicBezTo>
                  <a:pt x="763842" y="6482091"/>
                  <a:pt x="754009" y="6466186"/>
                  <a:pt x="742033" y="6451914"/>
                </a:cubicBezTo>
                <a:cubicBezTo>
                  <a:pt x="754009" y="6437642"/>
                  <a:pt x="763841" y="6421738"/>
                  <a:pt x="771227" y="6404692"/>
                </a:cubicBezTo>
                <a:cubicBezTo>
                  <a:pt x="738623" y="6371047"/>
                  <a:pt x="697001" y="6347276"/>
                  <a:pt x="651232" y="6336161"/>
                </a:cubicBezTo>
                <a:close/>
                <a:moveTo>
                  <a:pt x="0" y="0"/>
                </a:moveTo>
                <a:lnTo>
                  <a:pt x="7104065" y="0"/>
                </a:lnTo>
                <a:lnTo>
                  <a:pt x="8040688" y="0"/>
                </a:lnTo>
                <a:lnTo>
                  <a:pt x="12192000" y="0"/>
                </a:lnTo>
                <a:lnTo>
                  <a:pt x="12192000" y="6858000"/>
                </a:lnTo>
                <a:lnTo>
                  <a:pt x="8040688" y="6858000"/>
                </a:lnTo>
                <a:lnTo>
                  <a:pt x="7104065" y="6858000"/>
                </a:lnTo>
                <a:lnTo>
                  <a:pt x="0" y="6858000"/>
                </a:lnTo>
                <a:close/>
              </a:path>
            </a:pathLst>
          </a:custGeom>
          <a:solidFill>
            <a:schemeClr val="bg1">
              <a:lumMod val="95000"/>
            </a:schemeClr>
          </a:solidFill>
          <a:ln>
            <a:noFill/>
          </a:ln>
        </p:spPr>
        <p:txBody>
          <a:bodyPr wrap="square" tIns="180000" anchor="t" anchorCtr="0">
            <a:noAutofit/>
          </a:bodyPr>
          <a:lstStyle>
            <a:lvl1pPr marL="0" indent="0" algn="ctr">
              <a:buNone/>
              <a:defRPr sz="1000">
                <a:solidFill>
                  <a:schemeClr val="accent2"/>
                </a:solidFill>
                <a:latin typeface="+mn-lt"/>
              </a:defRPr>
            </a:lvl1pPr>
          </a:lstStyle>
          <a:p>
            <a:pPr lvl="0"/>
            <a:r>
              <a:rPr lang="en-US"/>
              <a:t>Drag picture file here or click </a:t>
            </a:r>
            <a:r>
              <a:rPr lang="en-US" noProof="0"/>
              <a:t>center</a:t>
            </a:r>
            <a:r>
              <a:rPr lang="en-US"/>
              <a:t> icon to insert light image</a:t>
            </a:r>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sp>
        <p:nvSpPr>
          <p:cNvPr id="8" name="Text Placeholder 12">
            <a:extLst>
              <a:ext uri="{FF2B5EF4-FFF2-40B4-BE49-F238E27FC236}">
                <a16:creationId xmlns:a16="http://schemas.microsoft.com/office/drawing/2014/main" id="{8DDC60B7-E753-52DF-078B-3DC551E10500}"/>
              </a:ext>
            </a:extLst>
          </p:cNvPr>
          <p:cNvSpPr>
            <a:spLocks noGrp="1"/>
          </p:cNvSpPr>
          <p:nvPr>
            <p:ph type="body" sz="quarter" idx="28" hasCustomPrompt="1"/>
          </p:nvPr>
        </p:nvSpPr>
        <p:spPr>
          <a:xfrm>
            <a:off x="1487488" y="4286568"/>
            <a:ext cx="3600450" cy="259239"/>
          </a:xfrm>
          <a:noFill/>
        </p:spPr>
        <p:txBody>
          <a:bodyPr/>
          <a:lstStyle>
            <a:lvl1pPr marL="0" indent="0" algn="l">
              <a:buNone/>
              <a:defRPr sz="16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9" name="Text Placeholder 12">
            <a:extLst>
              <a:ext uri="{FF2B5EF4-FFF2-40B4-BE49-F238E27FC236}">
                <a16:creationId xmlns:a16="http://schemas.microsoft.com/office/drawing/2014/main" id="{4BB56A7A-43A7-EBC8-E591-5A304D59169A}"/>
              </a:ext>
            </a:extLst>
          </p:cNvPr>
          <p:cNvSpPr>
            <a:spLocks noGrp="1"/>
          </p:cNvSpPr>
          <p:nvPr>
            <p:ph type="body" sz="quarter" idx="29" hasCustomPrompt="1"/>
          </p:nvPr>
        </p:nvSpPr>
        <p:spPr>
          <a:xfrm>
            <a:off x="1487488" y="4543748"/>
            <a:ext cx="3600450" cy="259239"/>
          </a:xfrm>
          <a:noFill/>
        </p:spPr>
        <p:txBody>
          <a:bodyPr/>
          <a:lstStyle>
            <a:lvl1pPr marL="0" indent="0" algn="l">
              <a:buNone/>
              <a:defRPr sz="1500">
                <a:solidFill>
                  <a:schemeClr val="tx1"/>
                </a:solidFill>
                <a:latin typeface="+mn-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Company name</a:t>
            </a:r>
          </a:p>
        </p:txBody>
      </p:sp>
      <p:sp>
        <p:nvSpPr>
          <p:cNvPr id="10" name="Text Placeholder 9">
            <a:extLst>
              <a:ext uri="{FF2B5EF4-FFF2-40B4-BE49-F238E27FC236}">
                <a16:creationId xmlns:a16="http://schemas.microsoft.com/office/drawing/2014/main" id="{768C0EE5-7595-B97C-61F7-F69AAADB86EA}"/>
              </a:ext>
            </a:extLst>
          </p:cNvPr>
          <p:cNvSpPr>
            <a:spLocks noGrp="1"/>
          </p:cNvSpPr>
          <p:nvPr>
            <p:ph type="body" sz="quarter" idx="26" hasCustomPrompt="1"/>
          </p:nvPr>
        </p:nvSpPr>
        <p:spPr>
          <a:xfrm>
            <a:off x="1487488" y="2979813"/>
            <a:ext cx="8280400" cy="1107996"/>
          </a:xfrm>
          <a:prstGeom prst="rect">
            <a:avLst/>
          </a:prstGeom>
          <a:noFill/>
        </p:spPr>
        <p:txBody>
          <a:bodyPr wrap="square" lIns="0" tIns="0" rIns="0" bIns="0" anchor="b" anchorCtr="0">
            <a:spAutoFit/>
          </a:bodyPr>
          <a:lstStyle>
            <a:lvl1pPr marL="0" indent="0" algn="l">
              <a:buNone/>
              <a:tabLst/>
              <a:defRPr sz="3600">
                <a:solidFill>
                  <a:schemeClr val="tx1"/>
                </a:solidFill>
                <a:latin typeface="+mj-lt"/>
              </a:defRPr>
            </a:lvl1pPr>
          </a:lstStyle>
          <a:p>
            <a:pPr lvl="0"/>
            <a:r>
              <a:rPr lang="en-US"/>
              <a:t>“Quote copy, resize textbox </a:t>
            </a:r>
            <a:r>
              <a:rPr lang="en-US" err="1"/>
              <a:t>recolour</a:t>
            </a:r>
            <a:r>
              <a:rPr lang="en-US"/>
              <a:t> text as required”.</a:t>
            </a:r>
            <a:endParaRPr lang="en-GB"/>
          </a:p>
        </p:txBody>
      </p:sp>
    </p:spTree>
    <p:extLst>
      <p:ext uri="{BB962C8B-B14F-4D97-AF65-F5344CB8AC3E}">
        <p14:creationId xmlns:p14="http://schemas.microsoft.com/office/powerpoint/2010/main" val="360979759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x Images / Tex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251885"/>
          </a:xfrm>
        </p:spPr>
        <p:txBody>
          <a:bodyPr/>
          <a:lstStyle>
            <a:lvl1pPr>
              <a:defRPr/>
            </a:lvl1pPr>
          </a:lstStyle>
          <a:p>
            <a:r>
              <a:rPr lang="en-US"/>
              <a:t>Header avenir demi</a:t>
            </a:r>
            <a:endParaRPr lang="en-GB"/>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5" name="Picture Placeholder 15">
            <a:extLst>
              <a:ext uri="{FF2B5EF4-FFF2-40B4-BE49-F238E27FC236}">
                <a16:creationId xmlns:a16="http://schemas.microsoft.com/office/drawing/2014/main" id="{903F0106-157C-427D-4EE3-058FF2156B3C}"/>
              </a:ext>
            </a:extLst>
          </p:cNvPr>
          <p:cNvSpPr>
            <a:spLocks noGrp="1"/>
          </p:cNvSpPr>
          <p:nvPr>
            <p:ph type="pic" sz="quarter" idx="20" hasCustomPrompt="1"/>
          </p:nvPr>
        </p:nvSpPr>
        <p:spPr>
          <a:xfrm>
            <a:off x="551231" y="1815304"/>
            <a:ext cx="3202379" cy="1613696"/>
          </a:xfrm>
          <a:noFill/>
        </p:spPr>
        <p:txBody>
          <a:bodyPr tIns="144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8" name="Picture Placeholder 15">
            <a:extLst>
              <a:ext uri="{FF2B5EF4-FFF2-40B4-BE49-F238E27FC236}">
                <a16:creationId xmlns:a16="http://schemas.microsoft.com/office/drawing/2014/main" id="{EC657CC3-F918-1A6E-4F80-19CFDA23FC11}"/>
              </a:ext>
            </a:extLst>
          </p:cNvPr>
          <p:cNvSpPr>
            <a:spLocks noGrp="1"/>
          </p:cNvSpPr>
          <p:nvPr>
            <p:ph type="pic" sz="quarter" idx="27" hasCustomPrompt="1"/>
          </p:nvPr>
        </p:nvSpPr>
        <p:spPr>
          <a:xfrm>
            <a:off x="4295775" y="1815304"/>
            <a:ext cx="3202379" cy="1613696"/>
          </a:xfrm>
          <a:noFill/>
        </p:spPr>
        <p:txBody>
          <a:bodyPr tIns="144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9" name="Picture Placeholder 15">
            <a:extLst>
              <a:ext uri="{FF2B5EF4-FFF2-40B4-BE49-F238E27FC236}">
                <a16:creationId xmlns:a16="http://schemas.microsoft.com/office/drawing/2014/main" id="{8D0A983E-8A75-5B03-E6D8-3B461E3D79BB}"/>
              </a:ext>
            </a:extLst>
          </p:cNvPr>
          <p:cNvSpPr>
            <a:spLocks noGrp="1"/>
          </p:cNvSpPr>
          <p:nvPr>
            <p:ph type="pic" sz="quarter" idx="29" hasCustomPrompt="1"/>
          </p:nvPr>
        </p:nvSpPr>
        <p:spPr>
          <a:xfrm>
            <a:off x="8040688" y="1815304"/>
            <a:ext cx="3204000" cy="1613696"/>
          </a:xfrm>
          <a:noFill/>
        </p:spPr>
        <p:txBody>
          <a:bodyPr tIns="144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17" name="Text Placeholder 12">
            <a:extLst>
              <a:ext uri="{FF2B5EF4-FFF2-40B4-BE49-F238E27FC236}">
                <a16:creationId xmlns:a16="http://schemas.microsoft.com/office/drawing/2014/main" id="{2DA8D027-1671-C417-E0C3-5993F02B96D9}"/>
              </a:ext>
            </a:extLst>
          </p:cNvPr>
          <p:cNvSpPr>
            <a:spLocks noGrp="1"/>
          </p:cNvSpPr>
          <p:nvPr>
            <p:ph type="body" sz="quarter" idx="39" hasCustomPrompt="1"/>
          </p:nvPr>
        </p:nvSpPr>
        <p:spPr>
          <a:xfrm>
            <a:off x="550863" y="1720850"/>
            <a:ext cx="3202897" cy="94454"/>
          </a:xfrm>
          <a:solidFill>
            <a:schemeClr val="accent1"/>
          </a:solidFill>
        </p:spPr>
        <p:txBody>
          <a:bodyPr/>
          <a:lstStyle>
            <a:lvl1pPr marL="0" indent="0">
              <a:buNone/>
              <a:defRPr sz="200"/>
            </a:lvl1pPr>
            <a:lvl4pPr>
              <a:buClr>
                <a:schemeClr val="accent1"/>
              </a:buClr>
              <a:defRPr/>
            </a:lvl4pPr>
            <a:lvl5pPr>
              <a:buClr>
                <a:schemeClr val="accent1"/>
              </a:buClr>
              <a:defRPr/>
            </a:lvl5pPr>
          </a:lstStyle>
          <a:p>
            <a:pPr lvl="0"/>
            <a:r>
              <a:rPr lang="en-US"/>
              <a:t> </a:t>
            </a:r>
            <a:endParaRPr lang="en-GB"/>
          </a:p>
        </p:txBody>
      </p:sp>
      <p:sp>
        <p:nvSpPr>
          <p:cNvPr id="20" name="Text Placeholder 12">
            <a:extLst>
              <a:ext uri="{FF2B5EF4-FFF2-40B4-BE49-F238E27FC236}">
                <a16:creationId xmlns:a16="http://schemas.microsoft.com/office/drawing/2014/main" id="{CD7185C1-17ED-4DDA-8D74-3D9B371C3A61}"/>
              </a:ext>
            </a:extLst>
          </p:cNvPr>
          <p:cNvSpPr>
            <a:spLocks noGrp="1"/>
          </p:cNvSpPr>
          <p:nvPr>
            <p:ph type="body" sz="quarter" idx="40" hasCustomPrompt="1"/>
          </p:nvPr>
        </p:nvSpPr>
        <p:spPr>
          <a:xfrm>
            <a:off x="4295560" y="1720850"/>
            <a:ext cx="3202898" cy="94454"/>
          </a:xfrm>
          <a:solidFill>
            <a:schemeClr val="accent1"/>
          </a:solidFill>
        </p:spPr>
        <p:txBody>
          <a:bodyPr/>
          <a:lstStyle>
            <a:lvl1pPr marL="0" indent="0">
              <a:buNone/>
              <a:defRPr sz="200"/>
            </a:lvl1pPr>
            <a:lvl4pPr>
              <a:buClr>
                <a:schemeClr val="accent1"/>
              </a:buClr>
              <a:defRPr/>
            </a:lvl4pPr>
            <a:lvl5pPr>
              <a:buClr>
                <a:schemeClr val="accent1"/>
              </a:buClr>
              <a:defRPr/>
            </a:lvl5pPr>
          </a:lstStyle>
          <a:p>
            <a:pPr lvl="0"/>
            <a:r>
              <a:rPr lang="en-US"/>
              <a:t> </a:t>
            </a:r>
            <a:endParaRPr lang="en-GB"/>
          </a:p>
        </p:txBody>
      </p:sp>
      <p:sp>
        <p:nvSpPr>
          <p:cNvPr id="21" name="Text Placeholder 12">
            <a:extLst>
              <a:ext uri="{FF2B5EF4-FFF2-40B4-BE49-F238E27FC236}">
                <a16:creationId xmlns:a16="http://schemas.microsoft.com/office/drawing/2014/main" id="{C20373E0-93FA-5E07-BE29-2A7CDEAB21F9}"/>
              </a:ext>
            </a:extLst>
          </p:cNvPr>
          <p:cNvSpPr>
            <a:spLocks noGrp="1"/>
          </p:cNvSpPr>
          <p:nvPr>
            <p:ph type="body" sz="quarter" idx="41" hasCustomPrompt="1"/>
          </p:nvPr>
        </p:nvSpPr>
        <p:spPr>
          <a:xfrm>
            <a:off x="8040168" y="1720850"/>
            <a:ext cx="3204519" cy="94454"/>
          </a:xfrm>
          <a:solidFill>
            <a:schemeClr val="accent1"/>
          </a:solidFill>
        </p:spPr>
        <p:txBody>
          <a:bodyPr/>
          <a:lstStyle>
            <a:lvl1pPr marL="0" indent="0">
              <a:buNone/>
              <a:defRPr sz="200"/>
            </a:lvl1pPr>
            <a:lvl4pPr>
              <a:buClr>
                <a:schemeClr val="accent1"/>
              </a:buClr>
              <a:defRPr/>
            </a:lvl4pPr>
            <a:lvl5pPr>
              <a:buClr>
                <a:schemeClr val="accent1"/>
              </a:buClr>
              <a:defRPr/>
            </a:lvl5pPr>
          </a:lstStyle>
          <a:p>
            <a:pPr lvl="0"/>
            <a:r>
              <a:rPr lang="en-US"/>
              <a:t> </a:t>
            </a:r>
            <a:endParaRPr lang="en-GB"/>
          </a:p>
        </p:txBody>
      </p:sp>
      <p:sp>
        <p:nvSpPr>
          <p:cNvPr id="23" name="Text Placeholder 12">
            <a:extLst>
              <a:ext uri="{FF2B5EF4-FFF2-40B4-BE49-F238E27FC236}">
                <a16:creationId xmlns:a16="http://schemas.microsoft.com/office/drawing/2014/main" id="{C531B205-D3A4-EA26-3CFE-0FB948EE2890}"/>
              </a:ext>
            </a:extLst>
          </p:cNvPr>
          <p:cNvSpPr>
            <a:spLocks noGrp="1"/>
          </p:cNvSpPr>
          <p:nvPr>
            <p:ph type="body" sz="quarter" idx="43"/>
          </p:nvPr>
        </p:nvSpPr>
        <p:spPr>
          <a:xfrm>
            <a:off x="550863" y="3614886"/>
            <a:ext cx="3202379" cy="1974702"/>
          </a:xfrm>
        </p:spPr>
        <p:txBody>
          <a:bodyPr/>
          <a:lstStyle/>
          <a:p>
            <a:pPr lvl="0"/>
            <a:r>
              <a:rPr lang="en-US"/>
              <a:t>Click to edit Master text styles</a:t>
            </a:r>
          </a:p>
          <a:p>
            <a:pPr lvl="1"/>
            <a:r>
              <a:rPr lang="en-US"/>
              <a:t>Second level</a:t>
            </a:r>
          </a:p>
          <a:p>
            <a:pPr lvl="2"/>
            <a:r>
              <a:rPr lang="en-US"/>
              <a:t>Third level</a:t>
            </a:r>
          </a:p>
        </p:txBody>
      </p:sp>
      <p:sp>
        <p:nvSpPr>
          <p:cNvPr id="24" name="Text Placeholder 12">
            <a:extLst>
              <a:ext uri="{FF2B5EF4-FFF2-40B4-BE49-F238E27FC236}">
                <a16:creationId xmlns:a16="http://schemas.microsoft.com/office/drawing/2014/main" id="{5CD19475-61C5-E508-86C6-A6A43C37FD75}"/>
              </a:ext>
            </a:extLst>
          </p:cNvPr>
          <p:cNvSpPr>
            <a:spLocks noGrp="1"/>
          </p:cNvSpPr>
          <p:nvPr>
            <p:ph type="body" sz="quarter" idx="44"/>
          </p:nvPr>
        </p:nvSpPr>
        <p:spPr>
          <a:xfrm>
            <a:off x="4295529" y="3614886"/>
            <a:ext cx="3202379" cy="1974702"/>
          </a:xfrm>
        </p:spPr>
        <p:txBody>
          <a:bodyPr/>
          <a:lstStyle/>
          <a:p>
            <a:pPr lvl="0"/>
            <a:r>
              <a:rPr lang="en-US"/>
              <a:t>Click to edit Master text styles</a:t>
            </a:r>
          </a:p>
          <a:p>
            <a:pPr lvl="1"/>
            <a:r>
              <a:rPr lang="en-US"/>
              <a:t>Second level</a:t>
            </a:r>
          </a:p>
          <a:p>
            <a:pPr lvl="2"/>
            <a:r>
              <a:rPr lang="en-US"/>
              <a:t>Third level</a:t>
            </a:r>
          </a:p>
        </p:txBody>
      </p:sp>
      <p:sp>
        <p:nvSpPr>
          <p:cNvPr id="25" name="Text Placeholder 12">
            <a:extLst>
              <a:ext uri="{FF2B5EF4-FFF2-40B4-BE49-F238E27FC236}">
                <a16:creationId xmlns:a16="http://schemas.microsoft.com/office/drawing/2014/main" id="{BFA0A616-B625-CB56-07F5-2868451F4AE4}"/>
              </a:ext>
            </a:extLst>
          </p:cNvPr>
          <p:cNvSpPr>
            <a:spLocks noGrp="1"/>
          </p:cNvSpPr>
          <p:nvPr>
            <p:ph type="body" sz="quarter" idx="45"/>
          </p:nvPr>
        </p:nvSpPr>
        <p:spPr>
          <a:xfrm>
            <a:off x="8040688" y="3614886"/>
            <a:ext cx="3204000" cy="1974702"/>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18680875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x Images / Tex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251885"/>
          </a:xfrm>
        </p:spPr>
        <p:txBody>
          <a:bodyPr/>
          <a:lstStyle>
            <a:lvl1pPr>
              <a:defRPr/>
            </a:lvl1pPr>
          </a:lstStyle>
          <a:p>
            <a:r>
              <a:rPr lang="en-US"/>
              <a:t>Header avenir demi</a:t>
            </a:r>
            <a:endParaRPr lang="en-GB"/>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5" name="Picture Placeholder 15">
            <a:extLst>
              <a:ext uri="{FF2B5EF4-FFF2-40B4-BE49-F238E27FC236}">
                <a16:creationId xmlns:a16="http://schemas.microsoft.com/office/drawing/2014/main" id="{903F0106-157C-427D-4EE3-058FF2156B3C}"/>
              </a:ext>
            </a:extLst>
          </p:cNvPr>
          <p:cNvSpPr>
            <a:spLocks noGrp="1"/>
          </p:cNvSpPr>
          <p:nvPr>
            <p:ph type="pic" sz="quarter" idx="20" hasCustomPrompt="1"/>
          </p:nvPr>
        </p:nvSpPr>
        <p:spPr>
          <a:xfrm>
            <a:off x="551231" y="1815304"/>
            <a:ext cx="2267633" cy="1613696"/>
          </a:xfrm>
          <a:noFill/>
        </p:spPr>
        <p:txBody>
          <a:bodyPr lIns="288000" tIns="144000" rIns="288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8" name="Picture Placeholder 15">
            <a:extLst>
              <a:ext uri="{FF2B5EF4-FFF2-40B4-BE49-F238E27FC236}">
                <a16:creationId xmlns:a16="http://schemas.microsoft.com/office/drawing/2014/main" id="{EC657CC3-F918-1A6E-4F80-19CFDA23FC11}"/>
              </a:ext>
            </a:extLst>
          </p:cNvPr>
          <p:cNvSpPr>
            <a:spLocks noGrp="1"/>
          </p:cNvSpPr>
          <p:nvPr>
            <p:ph type="pic" sz="quarter" idx="27" hasCustomPrompt="1"/>
          </p:nvPr>
        </p:nvSpPr>
        <p:spPr>
          <a:xfrm>
            <a:off x="3359518" y="1815304"/>
            <a:ext cx="2267633" cy="1613696"/>
          </a:xfrm>
          <a:noFill/>
        </p:spPr>
        <p:txBody>
          <a:bodyPr lIns="288000" tIns="144000" rIns="288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9" name="Picture Placeholder 15">
            <a:extLst>
              <a:ext uri="{FF2B5EF4-FFF2-40B4-BE49-F238E27FC236}">
                <a16:creationId xmlns:a16="http://schemas.microsoft.com/office/drawing/2014/main" id="{8D0A983E-8A75-5B03-E6D8-3B461E3D79BB}"/>
              </a:ext>
            </a:extLst>
          </p:cNvPr>
          <p:cNvSpPr>
            <a:spLocks noGrp="1"/>
          </p:cNvSpPr>
          <p:nvPr>
            <p:ph type="pic" sz="quarter" idx="29" hasCustomPrompt="1"/>
          </p:nvPr>
        </p:nvSpPr>
        <p:spPr>
          <a:xfrm>
            <a:off x="6167805" y="1815304"/>
            <a:ext cx="2267633" cy="1613696"/>
          </a:xfrm>
          <a:noFill/>
        </p:spPr>
        <p:txBody>
          <a:bodyPr lIns="288000" tIns="144000" rIns="288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12" name="Picture Placeholder 15">
            <a:extLst>
              <a:ext uri="{FF2B5EF4-FFF2-40B4-BE49-F238E27FC236}">
                <a16:creationId xmlns:a16="http://schemas.microsoft.com/office/drawing/2014/main" id="{73CB5704-B72F-A122-22D9-327C2FC30431}"/>
              </a:ext>
            </a:extLst>
          </p:cNvPr>
          <p:cNvSpPr>
            <a:spLocks noGrp="1"/>
          </p:cNvSpPr>
          <p:nvPr>
            <p:ph type="pic" sz="quarter" idx="33" hasCustomPrompt="1"/>
          </p:nvPr>
        </p:nvSpPr>
        <p:spPr>
          <a:xfrm>
            <a:off x="8976091" y="1815304"/>
            <a:ext cx="2267633" cy="1613696"/>
          </a:xfrm>
          <a:noFill/>
        </p:spPr>
        <p:txBody>
          <a:bodyPr lIns="288000" tIns="144000" rIns="288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17" name="Text Placeholder 12">
            <a:extLst>
              <a:ext uri="{FF2B5EF4-FFF2-40B4-BE49-F238E27FC236}">
                <a16:creationId xmlns:a16="http://schemas.microsoft.com/office/drawing/2014/main" id="{2DA8D027-1671-C417-E0C3-5993F02B96D9}"/>
              </a:ext>
            </a:extLst>
          </p:cNvPr>
          <p:cNvSpPr>
            <a:spLocks noGrp="1"/>
          </p:cNvSpPr>
          <p:nvPr>
            <p:ph type="body" sz="quarter" idx="39" hasCustomPrompt="1"/>
          </p:nvPr>
        </p:nvSpPr>
        <p:spPr>
          <a:xfrm>
            <a:off x="550864" y="1720850"/>
            <a:ext cx="2268000" cy="94454"/>
          </a:xfrm>
          <a:solidFill>
            <a:schemeClr val="accent1"/>
          </a:solidFill>
        </p:spPr>
        <p:txBody>
          <a:bodyPr/>
          <a:lstStyle>
            <a:lvl1pPr marL="0" indent="0">
              <a:buNone/>
              <a:defRPr sz="200"/>
            </a:lvl1pPr>
            <a:lvl4pPr>
              <a:buClr>
                <a:schemeClr val="accent1"/>
              </a:buClr>
              <a:defRPr/>
            </a:lvl4pPr>
            <a:lvl5pPr>
              <a:buClr>
                <a:schemeClr val="accent1"/>
              </a:buClr>
              <a:defRPr/>
            </a:lvl5pPr>
          </a:lstStyle>
          <a:p>
            <a:pPr lvl="0"/>
            <a:r>
              <a:rPr lang="en-US"/>
              <a:t> </a:t>
            </a:r>
            <a:endParaRPr lang="en-GB"/>
          </a:p>
        </p:txBody>
      </p:sp>
      <p:sp>
        <p:nvSpPr>
          <p:cNvPr id="20" name="Text Placeholder 12">
            <a:extLst>
              <a:ext uri="{FF2B5EF4-FFF2-40B4-BE49-F238E27FC236}">
                <a16:creationId xmlns:a16="http://schemas.microsoft.com/office/drawing/2014/main" id="{CD7185C1-17ED-4DDA-8D74-3D9B371C3A61}"/>
              </a:ext>
            </a:extLst>
          </p:cNvPr>
          <p:cNvSpPr>
            <a:spLocks noGrp="1"/>
          </p:cNvSpPr>
          <p:nvPr>
            <p:ph type="body" sz="quarter" idx="40" hasCustomPrompt="1"/>
          </p:nvPr>
        </p:nvSpPr>
        <p:spPr>
          <a:xfrm>
            <a:off x="3359151" y="1720850"/>
            <a:ext cx="2268000" cy="94454"/>
          </a:xfrm>
          <a:solidFill>
            <a:schemeClr val="accent1"/>
          </a:solidFill>
        </p:spPr>
        <p:txBody>
          <a:bodyPr/>
          <a:lstStyle>
            <a:lvl1pPr marL="0" indent="0">
              <a:buNone/>
              <a:defRPr sz="200"/>
            </a:lvl1pPr>
            <a:lvl4pPr>
              <a:buClr>
                <a:schemeClr val="accent1"/>
              </a:buClr>
              <a:defRPr/>
            </a:lvl4pPr>
            <a:lvl5pPr>
              <a:buClr>
                <a:schemeClr val="accent1"/>
              </a:buClr>
              <a:defRPr/>
            </a:lvl5pPr>
          </a:lstStyle>
          <a:p>
            <a:pPr lvl="0"/>
            <a:r>
              <a:rPr lang="en-US"/>
              <a:t> </a:t>
            </a:r>
            <a:endParaRPr lang="en-GB"/>
          </a:p>
        </p:txBody>
      </p:sp>
      <p:sp>
        <p:nvSpPr>
          <p:cNvPr id="21" name="Text Placeholder 12">
            <a:extLst>
              <a:ext uri="{FF2B5EF4-FFF2-40B4-BE49-F238E27FC236}">
                <a16:creationId xmlns:a16="http://schemas.microsoft.com/office/drawing/2014/main" id="{C20373E0-93FA-5E07-BE29-2A7CDEAB21F9}"/>
              </a:ext>
            </a:extLst>
          </p:cNvPr>
          <p:cNvSpPr>
            <a:spLocks noGrp="1"/>
          </p:cNvSpPr>
          <p:nvPr>
            <p:ph type="body" sz="quarter" idx="41" hasCustomPrompt="1"/>
          </p:nvPr>
        </p:nvSpPr>
        <p:spPr>
          <a:xfrm>
            <a:off x="6167438" y="1720850"/>
            <a:ext cx="2268000" cy="94454"/>
          </a:xfrm>
          <a:solidFill>
            <a:schemeClr val="accent1"/>
          </a:solidFill>
        </p:spPr>
        <p:txBody>
          <a:bodyPr/>
          <a:lstStyle>
            <a:lvl1pPr marL="0" indent="0">
              <a:buNone/>
              <a:defRPr sz="200"/>
            </a:lvl1pPr>
            <a:lvl4pPr>
              <a:buClr>
                <a:schemeClr val="accent1"/>
              </a:buClr>
              <a:defRPr/>
            </a:lvl4pPr>
            <a:lvl5pPr>
              <a:buClr>
                <a:schemeClr val="accent1"/>
              </a:buClr>
              <a:defRPr/>
            </a:lvl5pPr>
          </a:lstStyle>
          <a:p>
            <a:pPr lvl="0"/>
            <a:r>
              <a:rPr lang="en-US"/>
              <a:t> </a:t>
            </a:r>
            <a:endParaRPr lang="en-GB"/>
          </a:p>
        </p:txBody>
      </p:sp>
      <p:sp>
        <p:nvSpPr>
          <p:cNvPr id="22" name="Text Placeholder 12">
            <a:extLst>
              <a:ext uri="{FF2B5EF4-FFF2-40B4-BE49-F238E27FC236}">
                <a16:creationId xmlns:a16="http://schemas.microsoft.com/office/drawing/2014/main" id="{16AEE30E-3916-27B5-D72D-39A00D8F21C2}"/>
              </a:ext>
            </a:extLst>
          </p:cNvPr>
          <p:cNvSpPr>
            <a:spLocks noGrp="1"/>
          </p:cNvSpPr>
          <p:nvPr>
            <p:ph type="body" sz="quarter" idx="42" hasCustomPrompt="1"/>
          </p:nvPr>
        </p:nvSpPr>
        <p:spPr>
          <a:xfrm>
            <a:off x="8975724" y="1720850"/>
            <a:ext cx="2268000" cy="94454"/>
          </a:xfrm>
          <a:solidFill>
            <a:schemeClr val="accent1"/>
          </a:solidFill>
        </p:spPr>
        <p:txBody>
          <a:bodyPr/>
          <a:lstStyle>
            <a:lvl1pPr marL="0" indent="0">
              <a:buNone/>
              <a:defRPr sz="200"/>
            </a:lvl1pPr>
            <a:lvl4pPr>
              <a:buClr>
                <a:schemeClr val="accent1"/>
              </a:buClr>
              <a:defRPr/>
            </a:lvl4pPr>
            <a:lvl5pPr>
              <a:buClr>
                <a:schemeClr val="accent1"/>
              </a:buClr>
              <a:defRPr/>
            </a:lvl5pPr>
          </a:lstStyle>
          <a:p>
            <a:pPr lvl="0"/>
            <a:r>
              <a:rPr lang="en-US"/>
              <a:t> </a:t>
            </a:r>
            <a:endParaRPr lang="en-GB"/>
          </a:p>
        </p:txBody>
      </p:sp>
      <p:sp>
        <p:nvSpPr>
          <p:cNvPr id="23" name="Text Placeholder 12">
            <a:extLst>
              <a:ext uri="{FF2B5EF4-FFF2-40B4-BE49-F238E27FC236}">
                <a16:creationId xmlns:a16="http://schemas.microsoft.com/office/drawing/2014/main" id="{C531B205-D3A4-EA26-3CFE-0FB948EE2890}"/>
              </a:ext>
            </a:extLst>
          </p:cNvPr>
          <p:cNvSpPr>
            <a:spLocks noGrp="1"/>
          </p:cNvSpPr>
          <p:nvPr>
            <p:ph type="body" sz="quarter" idx="43"/>
          </p:nvPr>
        </p:nvSpPr>
        <p:spPr>
          <a:xfrm>
            <a:off x="550863" y="3614886"/>
            <a:ext cx="2267633" cy="1974702"/>
          </a:xfrm>
        </p:spPr>
        <p:txBody>
          <a:bodyPr/>
          <a:lstStyle/>
          <a:p>
            <a:pPr lvl="0"/>
            <a:r>
              <a:rPr lang="en-US"/>
              <a:t>Click to edit Master text styles</a:t>
            </a:r>
          </a:p>
          <a:p>
            <a:pPr lvl="1"/>
            <a:r>
              <a:rPr lang="en-US"/>
              <a:t>Second level</a:t>
            </a:r>
          </a:p>
          <a:p>
            <a:pPr lvl="2"/>
            <a:r>
              <a:rPr lang="en-US"/>
              <a:t>Third level</a:t>
            </a:r>
          </a:p>
        </p:txBody>
      </p:sp>
      <p:sp>
        <p:nvSpPr>
          <p:cNvPr id="24" name="Text Placeholder 12">
            <a:extLst>
              <a:ext uri="{FF2B5EF4-FFF2-40B4-BE49-F238E27FC236}">
                <a16:creationId xmlns:a16="http://schemas.microsoft.com/office/drawing/2014/main" id="{5CD19475-61C5-E508-86C6-A6A43C37FD75}"/>
              </a:ext>
            </a:extLst>
          </p:cNvPr>
          <p:cNvSpPr>
            <a:spLocks noGrp="1"/>
          </p:cNvSpPr>
          <p:nvPr>
            <p:ph type="body" sz="quarter" idx="44"/>
          </p:nvPr>
        </p:nvSpPr>
        <p:spPr>
          <a:xfrm>
            <a:off x="3359272" y="3614886"/>
            <a:ext cx="2267633" cy="1974702"/>
          </a:xfrm>
        </p:spPr>
        <p:txBody>
          <a:bodyPr/>
          <a:lstStyle/>
          <a:p>
            <a:pPr lvl="0"/>
            <a:r>
              <a:rPr lang="en-US"/>
              <a:t>Click to edit Master text styles</a:t>
            </a:r>
          </a:p>
          <a:p>
            <a:pPr lvl="1"/>
            <a:r>
              <a:rPr lang="en-US"/>
              <a:t>Second level</a:t>
            </a:r>
          </a:p>
          <a:p>
            <a:pPr lvl="2"/>
            <a:r>
              <a:rPr lang="en-US"/>
              <a:t>Third level</a:t>
            </a:r>
          </a:p>
        </p:txBody>
      </p:sp>
      <p:sp>
        <p:nvSpPr>
          <p:cNvPr id="25" name="Text Placeholder 12">
            <a:extLst>
              <a:ext uri="{FF2B5EF4-FFF2-40B4-BE49-F238E27FC236}">
                <a16:creationId xmlns:a16="http://schemas.microsoft.com/office/drawing/2014/main" id="{BFA0A616-B625-CB56-07F5-2868451F4AE4}"/>
              </a:ext>
            </a:extLst>
          </p:cNvPr>
          <p:cNvSpPr>
            <a:spLocks noGrp="1"/>
          </p:cNvSpPr>
          <p:nvPr>
            <p:ph type="body" sz="quarter" idx="45"/>
          </p:nvPr>
        </p:nvSpPr>
        <p:spPr>
          <a:xfrm>
            <a:off x="6167681" y="3614886"/>
            <a:ext cx="2267633" cy="1974702"/>
          </a:xfrm>
        </p:spPr>
        <p:txBody>
          <a:bodyPr/>
          <a:lstStyle/>
          <a:p>
            <a:pPr lvl="0"/>
            <a:r>
              <a:rPr lang="en-US"/>
              <a:t>Click to edit Master text styles</a:t>
            </a:r>
          </a:p>
          <a:p>
            <a:pPr lvl="1"/>
            <a:r>
              <a:rPr lang="en-US"/>
              <a:t>Second level</a:t>
            </a:r>
          </a:p>
          <a:p>
            <a:pPr lvl="2"/>
            <a:r>
              <a:rPr lang="en-US"/>
              <a:t>Third level</a:t>
            </a:r>
          </a:p>
        </p:txBody>
      </p:sp>
      <p:sp>
        <p:nvSpPr>
          <p:cNvPr id="26" name="Text Placeholder 12">
            <a:extLst>
              <a:ext uri="{FF2B5EF4-FFF2-40B4-BE49-F238E27FC236}">
                <a16:creationId xmlns:a16="http://schemas.microsoft.com/office/drawing/2014/main" id="{44E764C5-EE0F-D481-485B-3B14A6A1CFCF}"/>
              </a:ext>
            </a:extLst>
          </p:cNvPr>
          <p:cNvSpPr>
            <a:spLocks noGrp="1"/>
          </p:cNvSpPr>
          <p:nvPr>
            <p:ph type="body" sz="quarter" idx="46"/>
          </p:nvPr>
        </p:nvSpPr>
        <p:spPr>
          <a:xfrm>
            <a:off x="8976091" y="3614886"/>
            <a:ext cx="2267633" cy="1974702"/>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2205503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4 Teams Profiles">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251885"/>
          </a:xfrm>
        </p:spPr>
        <p:txBody>
          <a:bodyPr/>
          <a:lstStyle>
            <a:lvl1pPr>
              <a:defRPr/>
            </a:lvl1pPr>
          </a:lstStyle>
          <a:p>
            <a:r>
              <a:rPr lang="en-US"/>
              <a:t>Header avenir demi</a:t>
            </a:r>
            <a:endParaRPr lang="en-GB"/>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7" name="Picture Placeholder 15">
            <a:extLst>
              <a:ext uri="{FF2B5EF4-FFF2-40B4-BE49-F238E27FC236}">
                <a16:creationId xmlns:a16="http://schemas.microsoft.com/office/drawing/2014/main" id="{8575BBD5-17C3-1DCA-C387-5D44672EB054}"/>
              </a:ext>
            </a:extLst>
          </p:cNvPr>
          <p:cNvSpPr>
            <a:spLocks noGrp="1"/>
          </p:cNvSpPr>
          <p:nvPr>
            <p:ph type="pic" sz="quarter" idx="39" hasCustomPrompt="1"/>
          </p:nvPr>
        </p:nvSpPr>
        <p:spPr>
          <a:xfrm>
            <a:off x="6167437" y="1270001"/>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10" name="Text Placeholder 12">
            <a:extLst>
              <a:ext uri="{FF2B5EF4-FFF2-40B4-BE49-F238E27FC236}">
                <a16:creationId xmlns:a16="http://schemas.microsoft.com/office/drawing/2014/main" id="{C4150847-1F6F-857E-692F-5C4E2A9E42CE}"/>
              </a:ext>
            </a:extLst>
          </p:cNvPr>
          <p:cNvSpPr>
            <a:spLocks noGrp="1"/>
          </p:cNvSpPr>
          <p:nvPr>
            <p:ph type="body" sz="quarter" idx="40"/>
          </p:nvPr>
        </p:nvSpPr>
        <p:spPr>
          <a:xfrm>
            <a:off x="6167437"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11" name="Text Placeholder 12">
            <a:extLst>
              <a:ext uri="{FF2B5EF4-FFF2-40B4-BE49-F238E27FC236}">
                <a16:creationId xmlns:a16="http://schemas.microsoft.com/office/drawing/2014/main" id="{97DA1409-93A0-C554-7ED9-E4C4F2EDDC29}"/>
              </a:ext>
            </a:extLst>
          </p:cNvPr>
          <p:cNvSpPr>
            <a:spLocks noGrp="1"/>
          </p:cNvSpPr>
          <p:nvPr>
            <p:ph type="body" sz="quarter" idx="41" hasCustomPrompt="1"/>
          </p:nvPr>
        </p:nvSpPr>
        <p:spPr>
          <a:xfrm>
            <a:off x="6167437" y="2311763"/>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13" name="Picture Placeholder 15">
            <a:extLst>
              <a:ext uri="{FF2B5EF4-FFF2-40B4-BE49-F238E27FC236}">
                <a16:creationId xmlns:a16="http://schemas.microsoft.com/office/drawing/2014/main" id="{7746417C-B9E9-48F3-42E0-5744312D74A8}"/>
              </a:ext>
            </a:extLst>
          </p:cNvPr>
          <p:cNvSpPr>
            <a:spLocks noGrp="1"/>
          </p:cNvSpPr>
          <p:nvPr>
            <p:ph type="pic" sz="quarter" idx="42" hasCustomPrompt="1"/>
          </p:nvPr>
        </p:nvSpPr>
        <p:spPr>
          <a:xfrm>
            <a:off x="8981446" y="1270001"/>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14" name="Text Placeholder 12">
            <a:extLst>
              <a:ext uri="{FF2B5EF4-FFF2-40B4-BE49-F238E27FC236}">
                <a16:creationId xmlns:a16="http://schemas.microsoft.com/office/drawing/2014/main" id="{96D08A06-8C27-0CD8-A99D-675CBC220935}"/>
              </a:ext>
            </a:extLst>
          </p:cNvPr>
          <p:cNvSpPr>
            <a:spLocks noGrp="1"/>
          </p:cNvSpPr>
          <p:nvPr>
            <p:ph type="body" sz="quarter" idx="44"/>
          </p:nvPr>
        </p:nvSpPr>
        <p:spPr>
          <a:xfrm>
            <a:off x="8981446"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3EF370F-6715-1A9E-C31B-5779E12E9D9F}"/>
              </a:ext>
            </a:extLst>
          </p:cNvPr>
          <p:cNvSpPr>
            <a:spLocks noGrp="1"/>
          </p:cNvSpPr>
          <p:nvPr>
            <p:ph type="body" sz="quarter" idx="45" hasCustomPrompt="1"/>
          </p:nvPr>
        </p:nvSpPr>
        <p:spPr>
          <a:xfrm>
            <a:off x="8981446" y="2311763"/>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16" name="Picture Placeholder 15">
            <a:extLst>
              <a:ext uri="{FF2B5EF4-FFF2-40B4-BE49-F238E27FC236}">
                <a16:creationId xmlns:a16="http://schemas.microsoft.com/office/drawing/2014/main" id="{DA05801B-112D-E8CC-61BD-A4834B349AA6}"/>
              </a:ext>
            </a:extLst>
          </p:cNvPr>
          <p:cNvSpPr>
            <a:spLocks noGrp="1"/>
          </p:cNvSpPr>
          <p:nvPr>
            <p:ph type="pic" sz="quarter" idx="46" hasCustomPrompt="1"/>
          </p:nvPr>
        </p:nvSpPr>
        <p:spPr>
          <a:xfrm>
            <a:off x="551231" y="1639334"/>
            <a:ext cx="1404000" cy="1404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18" name="Text Placeholder 12">
            <a:extLst>
              <a:ext uri="{FF2B5EF4-FFF2-40B4-BE49-F238E27FC236}">
                <a16:creationId xmlns:a16="http://schemas.microsoft.com/office/drawing/2014/main" id="{5D98A119-8A13-B65C-1498-57CF1EC991C8}"/>
              </a:ext>
            </a:extLst>
          </p:cNvPr>
          <p:cNvSpPr>
            <a:spLocks noGrp="1"/>
          </p:cNvSpPr>
          <p:nvPr>
            <p:ph type="body" sz="quarter" idx="47"/>
          </p:nvPr>
        </p:nvSpPr>
        <p:spPr>
          <a:xfrm>
            <a:off x="550863" y="3968750"/>
            <a:ext cx="2268000" cy="1436074"/>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a:p>
            <a:pPr lvl="2"/>
            <a:r>
              <a:rPr lang="en-US"/>
              <a:t>Third level</a:t>
            </a:r>
          </a:p>
        </p:txBody>
      </p:sp>
      <p:sp>
        <p:nvSpPr>
          <p:cNvPr id="19" name="Text Placeholder 12">
            <a:extLst>
              <a:ext uri="{FF2B5EF4-FFF2-40B4-BE49-F238E27FC236}">
                <a16:creationId xmlns:a16="http://schemas.microsoft.com/office/drawing/2014/main" id="{026CE2A2-F93E-B1AA-3611-400C0319FE19}"/>
              </a:ext>
            </a:extLst>
          </p:cNvPr>
          <p:cNvSpPr>
            <a:spLocks noGrp="1"/>
          </p:cNvSpPr>
          <p:nvPr>
            <p:ph type="body" sz="quarter" idx="48" hasCustomPrompt="1"/>
          </p:nvPr>
        </p:nvSpPr>
        <p:spPr>
          <a:xfrm>
            <a:off x="550862" y="3215665"/>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27" name="Picture Placeholder 15">
            <a:extLst>
              <a:ext uri="{FF2B5EF4-FFF2-40B4-BE49-F238E27FC236}">
                <a16:creationId xmlns:a16="http://schemas.microsoft.com/office/drawing/2014/main" id="{C124DB5D-11D5-E18C-B3C8-AF86AD1E4C51}"/>
              </a:ext>
            </a:extLst>
          </p:cNvPr>
          <p:cNvSpPr>
            <a:spLocks noGrp="1"/>
          </p:cNvSpPr>
          <p:nvPr>
            <p:ph type="pic" sz="quarter" idx="49" hasCustomPrompt="1"/>
          </p:nvPr>
        </p:nvSpPr>
        <p:spPr>
          <a:xfrm>
            <a:off x="3359519" y="1639334"/>
            <a:ext cx="1404000" cy="1404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28" name="Text Placeholder 12">
            <a:extLst>
              <a:ext uri="{FF2B5EF4-FFF2-40B4-BE49-F238E27FC236}">
                <a16:creationId xmlns:a16="http://schemas.microsoft.com/office/drawing/2014/main" id="{BFE8DAEC-7AD2-5CC1-3FE9-5DCB967ECE53}"/>
              </a:ext>
            </a:extLst>
          </p:cNvPr>
          <p:cNvSpPr>
            <a:spLocks noGrp="1"/>
          </p:cNvSpPr>
          <p:nvPr>
            <p:ph type="body" sz="quarter" idx="50" hasCustomPrompt="1"/>
          </p:nvPr>
        </p:nvSpPr>
        <p:spPr>
          <a:xfrm>
            <a:off x="3359150" y="3215665"/>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29" name="Picture Placeholder 15">
            <a:extLst>
              <a:ext uri="{FF2B5EF4-FFF2-40B4-BE49-F238E27FC236}">
                <a16:creationId xmlns:a16="http://schemas.microsoft.com/office/drawing/2014/main" id="{71F103AF-A0DA-F7D1-DABC-38F8B9946D24}"/>
              </a:ext>
            </a:extLst>
          </p:cNvPr>
          <p:cNvSpPr>
            <a:spLocks noGrp="1"/>
          </p:cNvSpPr>
          <p:nvPr>
            <p:ph type="pic" sz="quarter" idx="51" hasCustomPrompt="1"/>
          </p:nvPr>
        </p:nvSpPr>
        <p:spPr>
          <a:xfrm>
            <a:off x="6167437" y="3790587"/>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30" name="Text Placeholder 12">
            <a:extLst>
              <a:ext uri="{FF2B5EF4-FFF2-40B4-BE49-F238E27FC236}">
                <a16:creationId xmlns:a16="http://schemas.microsoft.com/office/drawing/2014/main" id="{EC073910-0BCB-B148-CD87-2DBDC042DB9A}"/>
              </a:ext>
            </a:extLst>
          </p:cNvPr>
          <p:cNvSpPr>
            <a:spLocks noGrp="1"/>
          </p:cNvSpPr>
          <p:nvPr>
            <p:ph type="body" sz="quarter" idx="52"/>
          </p:nvPr>
        </p:nvSpPr>
        <p:spPr>
          <a:xfrm>
            <a:off x="6167437"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31" name="Text Placeholder 12">
            <a:extLst>
              <a:ext uri="{FF2B5EF4-FFF2-40B4-BE49-F238E27FC236}">
                <a16:creationId xmlns:a16="http://schemas.microsoft.com/office/drawing/2014/main" id="{0391096C-37E5-CDDB-7C98-44F987E40A99}"/>
              </a:ext>
            </a:extLst>
          </p:cNvPr>
          <p:cNvSpPr>
            <a:spLocks noGrp="1"/>
          </p:cNvSpPr>
          <p:nvPr>
            <p:ph type="body" sz="quarter" idx="53" hasCustomPrompt="1"/>
          </p:nvPr>
        </p:nvSpPr>
        <p:spPr>
          <a:xfrm>
            <a:off x="6167437" y="4832349"/>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2" name="Picture Placeholder 15">
            <a:extLst>
              <a:ext uri="{FF2B5EF4-FFF2-40B4-BE49-F238E27FC236}">
                <a16:creationId xmlns:a16="http://schemas.microsoft.com/office/drawing/2014/main" id="{50DC4E27-BAC2-8A31-B3AA-FF1575614782}"/>
              </a:ext>
            </a:extLst>
          </p:cNvPr>
          <p:cNvSpPr>
            <a:spLocks noGrp="1"/>
          </p:cNvSpPr>
          <p:nvPr>
            <p:ph type="pic" sz="quarter" idx="54" hasCustomPrompt="1"/>
          </p:nvPr>
        </p:nvSpPr>
        <p:spPr>
          <a:xfrm>
            <a:off x="8981446" y="3790587"/>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33" name="Text Placeholder 12">
            <a:extLst>
              <a:ext uri="{FF2B5EF4-FFF2-40B4-BE49-F238E27FC236}">
                <a16:creationId xmlns:a16="http://schemas.microsoft.com/office/drawing/2014/main" id="{85D065AE-0699-C9BB-D780-27C3BE3A2A95}"/>
              </a:ext>
            </a:extLst>
          </p:cNvPr>
          <p:cNvSpPr>
            <a:spLocks noGrp="1"/>
          </p:cNvSpPr>
          <p:nvPr>
            <p:ph type="body" sz="quarter" idx="55"/>
          </p:nvPr>
        </p:nvSpPr>
        <p:spPr>
          <a:xfrm>
            <a:off x="8981446"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34" name="Text Placeholder 12">
            <a:extLst>
              <a:ext uri="{FF2B5EF4-FFF2-40B4-BE49-F238E27FC236}">
                <a16:creationId xmlns:a16="http://schemas.microsoft.com/office/drawing/2014/main" id="{8FE81E16-B801-AA2F-8DCD-8F5AA1B99902}"/>
              </a:ext>
            </a:extLst>
          </p:cNvPr>
          <p:cNvSpPr>
            <a:spLocks noGrp="1"/>
          </p:cNvSpPr>
          <p:nvPr>
            <p:ph type="body" sz="quarter" idx="56" hasCustomPrompt="1"/>
          </p:nvPr>
        </p:nvSpPr>
        <p:spPr>
          <a:xfrm>
            <a:off x="8981446" y="4832349"/>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5" name="Text Placeholder 12">
            <a:extLst>
              <a:ext uri="{FF2B5EF4-FFF2-40B4-BE49-F238E27FC236}">
                <a16:creationId xmlns:a16="http://schemas.microsoft.com/office/drawing/2014/main" id="{3FF6A6E9-42A0-7692-13DB-315CDEBD3F10}"/>
              </a:ext>
            </a:extLst>
          </p:cNvPr>
          <p:cNvSpPr>
            <a:spLocks noGrp="1"/>
          </p:cNvSpPr>
          <p:nvPr>
            <p:ph type="body" sz="quarter" idx="59" hasCustomPrompt="1"/>
          </p:nvPr>
        </p:nvSpPr>
        <p:spPr>
          <a:xfrm>
            <a:off x="6167437" y="2642734"/>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36" name="Text Placeholder 12">
            <a:extLst>
              <a:ext uri="{FF2B5EF4-FFF2-40B4-BE49-F238E27FC236}">
                <a16:creationId xmlns:a16="http://schemas.microsoft.com/office/drawing/2014/main" id="{897F3CE4-6AD8-DC5D-E112-48390B92FD4D}"/>
              </a:ext>
            </a:extLst>
          </p:cNvPr>
          <p:cNvSpPr>
            <a:spLocks noGrp="1"/>
          </p:cNvSpPr>
          <p:nvPr>
            <p:ph type="body" sz="quarter" idx="60" hasCustomPrompt="1"/>
          </p:nvPr>
        </p:nvSpPr>
        <p:spPr>
          <a:xfrm>
            <a:off x="8981446" y="2642734"/>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37" name="Text Placeholder 12">
            <a:extLst>
              <a:ext uri="{FF2B5EF4-FFF2-40B4-BE49-F238E27FC236}">
                <a16:creationId xmlns:a16="http://schemas.microsoft.com/office/drawing/2014/main" id="{465DB172-EA52-68C6-51D1-D92A6077E7ED}"/>
              </a:ext>
            </a:extLst>
          </p:cNvPr>
          <p:cNvSpPr>
            <a:spLocks noGrp="1"/>
          </p:cNvSpPr>
          <p:nvPr>
            <p:ph type="body" sz="quarter" idx="61" hasCustomPrompt="1"/>
          </p:nvPr>
        </p:nvSpPr>
        <p:spPr>
          <a:xfrm>
            <a:off x="550862" y="3546636"/>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38" name="Text Placeholder 12">
            <a:extLst>
              <a:ext uri="{FF2B5EF4-FFF2-40B4-BE49-F238E27FC236}">
                <a16:creationId xmlns:a16="http://schemas.microsoft.com/office/drawing/2014/main" id="{FB360039-77C5-A5D7-4360-BC7847A82BB0}"/>
              </a:ext>
            </a:extLst>
          </p:cNvPr>
          <p:cNvSpPr>
            <a:spLocks noGrp="1"/>
          </p:cNvSpPr>
          <p:nvPr>
            <p:ph type="body" sz="quarter" idx="62" hasCustomPrompt="1"/>
          </p:nvPr>
        </p:nvSpPr>
        <p:spPr>
          <a:xfrm>
            <a:off x="3359150" y="3546636"/>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39" name="Text Placeholder 12">
            <a:extLst>
              <a:ext uri="{FF2B5EF4-FFF2-40B4-BE49-F238E27FC236}">
                <a16:creationId xmlns:a16="http://schemas.microsoft.com/office/drawing/2014/main" id="{3D6EC732-A113-2052-5F3D-C31549DD1CE1}"/>
              </a:ext>
            </a:extLst>
          </p:cNvPr>
          <p:cNvSpPr>
            <a:spLocks noGrp="1"/>
          </p:cNvSpPr>
          <p:nvPr>
            <p:ph type="body" sz="quarter" idx="63" hasCustomPrompt="1"/>
          </p:nvPr>
        </p:nvSpPr>
        <p:spPr>
          <a:xfrm>
            <a:off x="6167437" y="5163320"/>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40" name="Text Placeholder 12">
            <a:extLst>
              <a:ext uri="{FF2B5EF4-FFF2-40B4-BE49-F238E27FC236}">
                <a16:creationId xmlns:a16="http://schemas.microsoft.com/office/drawing/2014/main" id="{88CC3C61-40E8-CFD0-A1E0-F7B743AC005B}"/>
              </a:ext>
            </a:extLst>
          </p:cNvPr>
          <p:cNvSpPr>
            <a:spLocks noGrp="1"/>
          </p:cNvSpPr>
          <p:nvPr>
            <p:ph type="body" sz="quarter" idx="64" hasCustomPrompt="1"/>
          </p:nvPr>
        </p:nvSpPr>
        <p:spPr>
          <a:xfrm>
            <a:off x="8981446" y="5163320"/>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41" name="Text Placeholder 12">
            <a:extLst>
              <a:ext uri="{FF2B5EF4-FFF2-40B4-BE49-F238E27FC236}">
                <a16:creationId xmlns:a16="http://schemas.microsoft.com/office/drawing/2014/main" id="{70F98EAF-C679-0B0F-8CF9-2B6386737BCC}"/>
              </a:ext>
            </a:extLst>
          </p:cNvPr>
          <p:cNvSpPr>
            <a:spLocks noGrp="1"/>
          </p:cNvSpPr>
          <p:nvPr>
            <p:ph type="body" sz="quarter" idx="65"/>
          </p:nvPr>
        </p:nvSpPr>
        <p:spPr>
          <a:xfrm>
            <a:off x="3359150" y="3968750"/>
            <a:ext cx="2268000" cy="1436074"/>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6372280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2+4 Teams Profiles">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251885"/>
          </a:xfrm>
        </p:spPr>
        <p:txBody>
          <a:bodyPr/>
          <a:lstStyle>
            <a:lvl1pPr>
              <a:defRPr/>
            </a:lvl1pPr>
          </a:lstStyle>
          <a:p>
            <a:r>
              <a:rPr lang="en-US"/>
              <a:t>Header avenir demi</a:t>
            </a:r>
            <a:endParaRPr lang="en-GB"/>
          </a:p>
        </p:txBody>
      </p:sp>
      <p:sp>
        <p:nvSpPr>
          <p:cNvPr id="16" name="Picture Placeholder 15">
            <a:extLst>
              <a:ext uri="{FF2B5EF4-FFF2-40B4-BE49-F238E27FC236}">
                <a16:creationId xmlns:a16="http://schemas.microsoft.com/office/drawing/2014/main" id="{DA05801B-112D-E8CC-61BD-A4834B349AA6}"/>
              </a:ext>
            </a:extLst>
          </p:cNvPr>
          <p:cNvSpPr>
            <a:spLocks noGrp="1"/>
          </p:cNvSpPr>
          <p:nvPr>
            <p:ph type="pic" sz="quarter" idx="46" hasCustomPrompt="1"/>
          </p:nvPr>
        </p:nvSpPr>
        <p:spPr>
          <a:xfrm>
            <a:off x="1032560" y="1808163"/>
            <a:ext cx="1728419" cy="1728419"/>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18" name="Text Placeholder 12">
            <a:extLst>
              <a:ext uri="{FF2B5EF4-FFF2-40B4-BE49-F238E27FC236}">
                <a16:creationId xmlns:a16="http://schemas.microsoft.com/office/drawing/2014/main" id="{5D98A119-8A13-B65C-1498-57CF1EC991C8}"/>
              </a:ext>
            </a:extLst>
          </p:cNvPr>
          <p:cNvSpPr>
            <a:spLocks noGrp="1"/>
          </p:cNvSpPr>
          <p:nvPr>
            <p:ph type="body" sz="quarter" idx="47"/>
          </p:nvPr>
        </p:nvSpPr>
        <p:spPr>
          <a:xfrm>
            <a:off x="550863" y="4752522"/>
            <a:ext cx="2691814" cy="879022"/>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a:p>
            <a:pPr lvl="2"/>
            <a:r>
              <a:rPr lang="en-US"/>
              <a:t>Third level</a:t>
            </a:r>
          </a:p>
        </p:txBody>
      </p:sp>
      <p:sp>
        <p:nvSpPr>
          <p:cNvPr id="19" name="Text Placeholder 12">
            <a:extLst>
              <a:ext uri="{FF2B5EF4-FFF2-40B4-BE49-F238E27FC236}">
                <a16:creationId xmlns:a16="http://schemas.microsoft.com/office/drawing/2014/main" id="{026CE2A2-F93E-B1AA-3611-400C0319FE19}"/>
              </a:ext>
            </a:extLst>
          </p:cNvPr>
          <p:cNvSpPr>
            <a:spLocks noGrp="1"/>
          </p:cNvSpPr>
          <p:nvPr>
            <p:ph type="body" sz="quarter" idx="48" hasCustomPrompt="1"/>
          </p:nvPr>
        </p:nvSpPr>
        <p:spPr>
          <a:xfrm>
            <a:off x="550862" y="3708913"/>
            <a:ext cx="2691815" cy="270168"/>
          </a:xfrm>
        </p:spPr>
        <p:txBody>
          <a:bodyPr anchor="ctr" anchorCtr="0"/>
          <a:lstStyle>
            <a:lvl1pPr marL="0" indent="0" algn="ctr">
              <a:lnSpc>
                <a:spcPct val="85000"/>
              </a:lnSpc>
              <a:buNone/>
              <a:defRPr sz="20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27" name="Picture Placeholder 15">
            <a:extLst>
              <a:ext uri="{FF2B5EF4-FFF2-40B4-BE49-F238E27FC236}">
                <a16:creationId xmlns:a16="http://schemas.microsoft.com/office/drawing/2014/main" id="{C124DB5D-11D5-E18C-B3C8-AF86AD1E4C51}"/>
              </a:ext>
            </a:extLst>
          </p:cNvPr>
          <p:cNvSpPr>
            <a:spLocks noGrp="1"/>
          </p:cNvSpPr>
          <p:nvPr>
            <p:ph type="pic" sz="quarter" idx="49" hasCustomPrompt="1"/>
          </p:nvPr>
        </p:nvSpPr>
        <p:spPr>
          <a:xfrm>
            <a:off x="3836447" y="1808163"/>
            <a:ext cx="1728419" cy="1728419"/>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28" name="Text Placeholder 12">
            <a:extLst>
              <a:ext uri="{FF2B5EF4-FFF2-40B4-BE49-F238E27FC236}">
                <a16:creationId xmlns:a16="http://schemas.microsoft.com/office/drawing/2014/main" id="{BFE8DAEC-7AD2-5CC1-3FE9-5DCB967ECE53}"/>
              </a:ext>
            </a:extLst>
          </p:cNvPr>
          <p:cNvSpPr>
            <a:spLocks noGrp="1"/>
          </p:cNvSpPr>
          <p:nvPr>
            <p:ph type="body" sz="quarter" idx="50" hasCustomPrompt="1"/>
          </p:nvPr>
        </p:nvSpPr>
        <p:spPr>
          <a:xfrm>
            <a:off x="3359150" y="3708913"/>
            <a:ext cx="2683014" cy="270168"/>
          </a:xfrm>
        </p:spPr>
        <p:txBody>
          <a:bodyPr anchor="ctr" anchorCtr="0"/>
          <a:lstStyle>
            <a:lvl1pPr marL="0" indent="0" algn="ctr">
              <a:lnSpc>
                <a:spcPct val="85000"/>
              </a:lnSpc>
              <a:buNone/>
              <a:defRPr sz="20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7" name="Text Placeholder 12">
            <a:extLst>
              <a:ext uri="{FF2B5EF4-FFF2-40B4-BE49-F238E27FC236}">
                <a16:creationId xmlns:a16="http://schemas.microsoft.com/office/drawing/2014/main" id="{465DB172-EA52-68C6-51D1-D92A6077E7ED}"/>
              </a:ext>
            </a:extLst>
          </p:cNvPr>
          <p:cNvSpPr>
            <a:spLocks noGrp="1"/>
          </p:cNvSpPr>
          <p:nvPr>
            <p:ph type="body" sz="quarter" idx="61" hasCustomPrompt="1"/>
          </p:nvPr>
        </p:nvSpPr>
        <p:spPr>
          <a:xfrm>
            <a:off x="550862" y="4141484"/>
            <a:ext cx="2691815" cy="243704"/>
          </a:xfrm>
        </p:spPr>
        <p:txBody>
          <a:bodyPr anchor="ctr" anchorCtr="0"/>
          <a:lstStyle>
            <a:lvl1pPr marL="0" indent="0" algn="ctr">
              <a:lnSpc>
                <a:spcPct val="85000"/>
              </a:lnSpc>
              <a:buNone/>
              <a:defRPr sz="14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38" name="Text Placeholder 12">
            <a:extLst>
              <a:ext uri="{FF2B5EF4-FFF2-40B4-BE49-F238E27FC236}">
                <a16:creationId xmlns:a16="http://schemas.microsoft.com/office/drawing/2014/main" id="{FB360039-77C5-A5D7-4360-BC7847A82BB0}"/>
              </a:ext>
            </a:extLst>
          </p:cNvPr>
          <p:cNvSpPr>
            <a:spLocks noGrp="1"/>
          </p:cNvSpPr>
          <p:nvPr>
            <p:ph type="body" sz="quarter" idx="62" hasCustomPrompt="1"/>
          </p:nvPr>
        </p:nvSpPr>
        <p:spPr>
          <a:xfrm>
            <a:off x="3359150" y="4141484"/>
            <a:ext cx="2683014" cy="243704"/>
          </a:xfrm>
        </p:spPr>
        <p:txBody>
          <a:bodyPr anchor="ctr" anchorCtr="0"/>
          <a:lstStyle>
            <a:lvl1pPr marL="0" indent="0" algn="ctr">
              <a:lnSpc>
                <a:spcPct val="85000"/>
              </a:lnSpc>
              <a:buNone/>
              <a:defRPr sz="14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41" name="Text Placeholder 12">
            <a:extLst>
              <a:ext uri="{FF2B5EF4-FFF2-40B4-BE49-F238E27FC236}">
                <a16:creationId xmlns:a16="http://schemas.microsoft.com/office/drawing/2014/main" id="{70F98EAF-C679-0B0F-8CF9-2B6386737BCC}"/>
              </a:ext>
            </a:extLst>
          </p:cNvPr>
          <p:cNvSpPr>
            <a:spLocks noGrp="1"/>
          </p:cNvSpPr>
          <p:nvPr>
            <p:ph type="body" sz="quarter" idx="65"/>
          </p:nvPr>
        </p:nvSpPr>
        <p:spPr>
          <a:xfrm>
            <a:off x="3359150" y="4752522"/>
            <a:ext cx="2683014" cy="879022"/>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a:p>
            <a:pPr lvl="2"/>
            <a:r>
              <a:rPr lang="en-US"/>
              <a:t>Third level</a:t>
            </a:r>
          </a:p>
        </p:txBody>
      </p:sp>
      <p:sp>
        <p:nvSpPr>
          <p:cNvPr id="5" name="Picture Placeholder 15">
            <a:extLst>
              <a:ext uri="{FF2B5EF4-FFF2-40B4-BE49-F238E27FC236}">
                <a16:creationId xmlns:a16="http://schemas.microsoft.com/office/drawing/2014/main" id="{424405FB-D161-EEE8-37C9-30D6133A85EF}"/>
              </a:ext>
            </a:extLst>
          </p:cNvPr>
          <p:cNvSpPr>
            <a:spLocks noGrp="1"/>
          </p:cNvSpPr>
          <p:nvPr>
            <p:ph type="pic" sz="quarter" idx="66" hasCustomPrompt="1"/>
          </p:nvPr>
        </p:nvSpPr>
        <p:spPr>
          <a:xfrm>
            <a:off x="6631535" y="1808163"/>
            <a:ext cx="1728419" cy="1728419"/>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8" name="Text Placeholder 12">
            <a:extLst>
              <a:ext uri="{FF2B5EF4-FFF2-40B4-BE49-F238E27FC236}">
                <a16:creationId xmlns:a16="http://schemas.microsoft.com/office/drawing/2014/main" id="{5948A730-6743-2620-C76A-D32813DC7B6A}"/>
              </a:ext>
            </a:extLst>
          </p:cNvPr>
          <p:cNvSpPr>
            <a:spLocks noGrp="1"/>
          </p:cNvSpPr>
          <p:nvPr>
            <p:ph type="body" sz="quarter" idx="67"/>
          </p:nvPr>
        </p:nvSpPr>
        <p:spPr>
          <a:xfrm>
            <a:off x="6149837" y="4752522"/>
            <a:ext cx="2691814" cy="879022"/>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a:p>
            <a:pPr lvl="2"/>
            <a:r>
              <a:rPr lang="en-US"/>
              <a:t>Third level</a:t>
            </a:r>
          </a:p>
        </p:txBody>
      </p:sp>
      <p:sp>
        <p:nvSpPr>
          <p:cNvPr id="9" name="Text Placeholder 12">
            <a:extLst>
              <a:ext uri="{FF2B5EF4-FFF2-40B4-BE49-F238E27FC236}">
                <a16:creationId xmlns:a16="http://schemas.microsoft.com/office/drawing/2014/main" id="{C60CC31B-21D3-3EB2-BFE5-04D48C104DC1}"/>
              </a:ext>
            </a:extLst>
          </p:cNvPr>
          <p:cNvSpPr>
            <a:spLocks noGrp="1"/>
          </p:cNvSpPr>
          <p:nvPr>
            <p:ph type="body" sz="quarter" idx="68" hasCustomPrompt="1"/>
          </p:nvPr>
        </p:nvSpPr>
        <p:spPr>
          <a:xfrm>
            <a:off x="6149837" y="3708913"/>
            <a:ext cx="2691814" cy="270168"/>
          </a:xfrm>
        </p:spPr>
        <p:txBody>
          <a:bodyPr anchor="ctr" anchorCtr="0"/>
          <a:lstStyle>
            <a:lvl1pPr marL="0" indent="0" algn="ctr">
              <a:lnSpc>
                <a:spcPct val="85000"/>
              </a:lnSpc>
              <a:buNone/>
              <a:defRPr sz="20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12" name="Picture Placeholder 15">
            <a:extLst>
              <a:ext uri="{FF2B5EF4-FFF2-40B4-BE49-F238E27FC236}">
                <a16:creationId xmlns:a16="http://schemas.microsoft.com/office/drawing/2014/main" id="{45A91FB6-C8ED-9797-ED58-2C4C61596338}"/>
              </a:ext>
            </a:extLst>
          </p:cNvPr>
          <p:cNvSpPr>
            <a:spLocks noGrp="1"/>
          </p:cNvSpPr>
          <p:nvPr>
            <p:ph type="pic" sz="quarter" idx="69" hasCustomPrompt="1"/>
          </p:nvPr>
        </p:nvSpPr>
        <p:spPr>
          <a:xfrm>
            <a:off x="9431022" y="1808163"/>
            <a:ext cx="1728419" cy="1728419"/>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17" name="Text Placeholder 12">
            <a:extLst>
              <a:ext uri="{FF2B5EF4-FFF2-40B4-BE49-F238E27FC236}">
                <a16:creationId xmlns:a16="http://schemas.microsoft.com/office/drawing/2014/main" id="{9783FA43-653F-F28A-7914-2306996E2DFC}"/>
              </a:ext>
            </a:extLst>
          </p:cNvPr>
          <p:cNvSpPr>
            <a:spLocks noGrp="1"/>
          </p:cNvSpPr>
          <p:nvPr>
            <p:ph type="body" sz="quarter" idx="70" hasCustomPrompt="1"/>
          </p:nvPr>
        </p:nvSpPr>
        <p:spPr>
          <a:xfrm>
            <a:off x="8949324" y="3708913"/>
            <a:ext cx="2691814" cy="270168"/>
          </a:xfrm>
        </p:spPr>
        <p:txBody>
          <a:bodyPr anchor="ctr" anchorCtr="0"/>
          <a:lstStyle>
            <a:lvl1pPr marL="0" indent="0" algn="ctr">
              <a:lnSpc>
                <a:spcPct val="85000"/>
              </a:lnSpc>
              <a:buNone/>
              <a:defRPr sz="20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20" name="Text Placeholder 12">
            <a:extLst>
              <a:ext uri="{FF2B5EF4-FFF2-40B4-BE49-F238E27FC236}">
                <a16:creationId xmlns:a16="http://schemas.microsoft.com/office/drawing/2014/main" id="{EAA58838-8B71-545F-8C9E-DC0FE7AA443F}"/>
              </a:ext>
            </a:extLst>
          </p:cNvPr>
          <p:cNvSpPr>
            <a:spLocks noGrp="1"/>
          </p:cNvSpPr>
          <p:nvPr>
            <p:ph type="body" sz="quarter" idx="71" hasCustomPrompt="1"/>
          </p:nvPr>
        </p:nvSpPr>
        <p:spPr>
          <a:xfrm>
            <a:off x="6149837" y="4141484"/>
            <a:ext cx="2691814" cy="243704"/>
          </a:xfrm>
        </p:spPr>
        <p:txBody>
          <a:bodyPr anchor="ctr" anchorCtr="0"/>
          <a:lstStyle>
            <a:lvl1pPr marL="0" indent="0" algn="ctr">
              <a:lnSpc>
                <a:spcPct val="85000"/>
              </a:lnSpc>
              <a:buNone/>
              <a:defRPr sz="14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21" name="Text Placeholder 12">
            <a:extLst>
              <a:ext uri="{FF2B5EF4-FFF2-40B4-BE49-F238E27FC236}">
                <a16:creationId xmlns:a16="http://schemas.microsoft.com/office/drawing/2014/main" id="{68DEBDAC-7B54-7745-412D-D4ABEFE075AE}"/>
              </a:ext>
            </a:extLst>
          </p:cNvPr>
          <p:cNvSpPr>
            <a:spLocks noGrp="1"/>
          </p:cNvSpPr>
          <p:nvPr>
            <p:ph type="body" sz="quarter" idx="72" hasCustomPrompt="1"/>
          </p:nvPr>
        </p:nvSpPr>
        <p:spPr>
          <a:xfrm>
            <a:off x="8949324" y="4141484"/>
            <a:ext cx="2691814" cy="243704"/>
          </a:xfrm>
        </p:spPr>
        <p:txBody>
          <a:bodyPr anchor="ctr" anchorCtr="0"/>
          <a:lstStyle>
            <a:lvl1pPr marL="0" indent="0" algn="ctr">
              <a:lnSpc>
                <a:spcPct val="85000"/>
              </a:lnSpc>
              <a:buNone/>
              <a:defRPr sz="14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22" name="Text Placeholder 12">
            <a:extLst>
              <a:ext uri="{FF2B5EF4-FFF2-40B4-BE49-F238E27FC236}">
                <a16:creationId xmlns:a16="http://schemas.microsoft.com/office/drawing/2014/main" id="{E2FF18D3-EF10-B22E-15ED-BD8F40214E8A}"/>
              </a:ext>
            </a:extLst>
          </p:cNvPr>
          <p:cNvSpPr>
            <a:spLocks noGrp="1"/>
          </p:cNvSpPr>
          <p:nvPr>
            <p:ph type="body" sz="quarter" idx="73"/>
          </p:nvPr>
        </p:nvSpPr>
        <p:spPr>
          <a:xfrm>
            <a:off x="8949324" y="4752522"/>
            <a:ext cx="2691814" cy="879022"/>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76347641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x Profiles">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251885"/>
          </a:xfrm>
        </p:spPr>
        <p:txBody>
          <a:bodyPr/>
          <a:lstStyle>
            <a:lvl1pPr>
              <a:defRPr/>
            </a:lvl1pPr>
          </a:lstStyle>
          <a:p>
            <a:r>
              <a:rPr lang="en-US"/>
              <a:t>Header avenir demi</a:t>
            </a:r>
            <a:endParaRPr lang="en-GB"/>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7" name="Picture Placeholder 15">
            <a:extLst>
              <a:ext uri="{FF2B5EF4-FFF2-40B4-BE49-F238E27FC236}">
                <a16:creationId xmlns:a16="http://schemas.microsoft.com/office/drawing/2014/main" id="{8575BBD5-17C3-1DCA-C387-5D44672EB054}"/>
              </a:ext>
            </a:extLst>
          </p:cNvPr>
          <p:cNvSpPr>
            <a:spLocks noGrp="1"/>
          </p:cNvSpPr>
          <p:nvPr>
            <p:ph type="pic" sz="quarter" idx="39" hasCustomPrompt="1"/>
          </p:nvPr>
        </p:nvSpPr>
        <p:spPr>
          <a:xfrm>
            <a:off x="550864" y="1270001"/>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10" name="Text Placeholder 12">
            <a:extLst>
              <a:ext uri="{FF2B5EF4-FFF2-40B4-BE49-F238E27FC236}">
                <a16:creationId xmlns:a16="http://schemas.microsoft.com/office/drawing/2014/main" id="{C4150847-1F6F-857E-692F-5C4E2A9E42CE}"/>
              </a:ext>
            </a:extLst>
          </p:cNvPr>
          <p:cNvSpPr>
            <a:spLocks noGrp="1"/>
          </p:cNvSpPr>
          <p:nvPr>
            <p:ph type="body" sz="quarter" idx="40"/>
          </p:nvPr>
        </p:nvSpPr>
        <p:spPr>
          <a:xfrm>
            <a:off x="550864"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11" name="Text Placeholder 12">
            <a:extLst>
              <a:ext uri="{FF2B5EF4-FFF2-40B4-BE49-F238E27FC236}">
                <a16:creationId xmlns:a16="http://schemas.microsoft.com/office/drawing/2014/main" id="{97DA1409-93A0-C554-7ED9-E4C4F2EDDC29}"/>
              </a:ext>
            </a:extLst>
          </p:cNvPr>
          <p:cNvSpPr>
            <a:spLocks noGrp="1"/>
          </p:cNvSpPr>
          <p:nvPr>
            <p:ph type="body" sz="quarter" idx="41" hasCustomPrompt="1"/>
          </p:nvPr>
        </p:nvSpPr>
        <p:spPr>
          <a:xfrm>
            <a:off x="550864" y="2311763"/>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13" name="Picture Placeholder 15">
            <a:extLst>
              <a:ext uri="{FF2B5EF4-FFF2-40B4-BE49-F238E27FC236}">
                <a16:creationId xmlns:a16="http://schemas.microsoft.com/office/drawing/2014/main" id="{7746417C-B9E9-48F3-42E0-5744312D74A8}"/>
              </a:ext>
            </a:extLst>
          </p:cNvPr>
          <p:cNvSpPr>
            <a:spLocks noGrp="1"/>
          </p:cNvSpPr>
          <p:nvPr>
            <p:ph type="pic" sz="quarter" idx="42" hasCustomPrompt="1"/>
          </p:nvPr>
        </p:nvSpPr>
        <p:spPr>
          <a:xfrm>
            <a:off x="3364873" y="1270001"/>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14" name="Text Placeholder 12">
            <a:extLst>
              <a:ext uri="{FF2B5EF4-FFF2-40B4-BE49-F238E27FC236}">
                <a16:creationId xmlns:a16="http://schemas.microsoft.com/office/drawing/2014/main" id="{96D08A06-8C27-0CD8-A99D-675CBC220935}"/>
              </a:ext>
            </a:extLst>
          </p:cNvPr>
          <p:cNvSpPr>
            <a:spLocks noGrp="1"/>
          </p:cNvSpPr>
          <p:nvPr>
            <p:ph type="body" sz="quarter" idx="44"/>
          </p:nvPr>
        </p:nvSpPr>
        <p:spPr>
          <a:xfrm>
            <a:off x="3364873"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3EF370F-6715-1A9E-C31B-5779E12E9D9F}"/>
              </a:ext>
            </a:extLst>
          </p:cNvPr>
          <p:cNvSpPr>
            <a:spLocks noGrp="1"/>
          </p:cNvSpPr>
          <p:nvPr>
            <p:ph type="body" sz="quarter" idx="45" hasCustomPrompt="1"/>
          </p:nvPr>
        </p:nvSpPr>
        <p:spPr>
          <a:xfrm>
            <a:off x="3364873" y="2311763"/>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29" name="Picture Placeholder 15">
            <a:extLst>
              <a:ext uri="{FF2B5EF4-FFF2-40B4-BE49-F238E27FC236}">
                <a16:creationId xmlns:a16="http://schemas.microsoft.com/office/drawing/2014/main" id="{71F103AF-A0DA-F7D1-DABC-38F8B9946D24}"/>
              </a:ext>
            </a:extLst>
          </p:cNvPr>
          <p:cNvSpPr>
            <a:spLocks noGrp="1"/>
          </p:cNvSpPr>
          <p:nvPr>
            <p:ph type="pic" sz="quarter" idx="51" hasCustomPrompt="1"/>
          </p:nvPr>
        </p:nvSpPr>
        <p:spPr>
          <a:xfrm>
            <a:off x="550864" y="3790587"/>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30" name="Text Placeholder 12">
            <a:extLst>
              <a:ext uri="{FF2B5EF4-FFF2-40B4-BE49-F238E27FC236}">
                <a16:creationId xmlns:a16="http://schemas.microsoft.com/office/drawing/2014/main" id="{EC073910-0BCB-B148-CD87-2DBDC042DB9A}"/>
              </a:ext>
            </a:extLst>
          </p:cNvPr>
          <p:cNvSpPr>
            <a:spLocks noGrp="1"/>
          </p:cNvSpPr>
          <p:nvPr>
            <p:ph type="body" sz="quarter" idx="52"/>
          </p:nvPr>
        </p:nvSpPr>
        <p:spPr>
          <a:xfrm>
            <a:off x="550864"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31" name="Text Placeholder 12">
            <a:extLst>
              <a:ext uri="{FF2B5EF4-FFF2-40B4-BE49-F238E27FC236}">
                <a16:creationId xmlns:a16="http://schemas.microsoft.com/office/drawing/2014/main" id="{0391096C-37E5-CDDB-7C98-44F987E40A99}"/>
              </a:ext>
            </a:extLst>
          </p:cNvPr>
          <p:cNvSpPr>
            <a:spLocks noGrp="1"/>
          </p:cNvSpPr>
          <p:nvPr>
            <p:ph type="body" sz="quarter" idx="53" hasCustomPrompt="1"/>
          </p:nvPr>
        </p:nvSpPr>
        <p:spPr>
          <a:xfrm>
            <a:off x="550864" y="4832349"/>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2" name="Picture Placeholder 15">
            <a:extLst>
              <a:ext uri="{FF2B5EF4-FFF2-40B4-BE49-F238E27FC236}">
                <a16:creationId xmlns:a16="http://schemas.microsoft.com/office/drawing/2014/main" id="{50DC4E27-BAC2-8A31-B3AA-FF1575614782}"/>
              </a:ext>
            </a:extLst>
          </p:cNvPr>
          <p:cNvSpPr>
            <a:spLocks noGrp="1"/>
          </p:cNvSpPr>
          <p:nvPr>
            <p:ph type="pic" sz="quarter" idx="54" hasCustomPrompt="1"/>
          </p:nvPr>
        </p:nvSpPr>
        <p:spPr>
          <a:xfrm>
            <a:off x="3364873" y="3790587"/>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33" name="Text Placeholder 12">
            <a:extLst>
              <a:ext uri="{FF2B5EF4-FFF2-40B4-BE49-F238E27FC236}">
                <a16:creationId xmlns:a16="http://schemas.microsoft.com/office/drawing/2014/main" id="{85D065AE-0699-C9BB-D780-27C3BE3A2A95}"/>
              </a:ext>
            </a:extLst>
          </p:cNvPr>
          <p:cNvSpPr>
            <a:spLocks noGrp="1"/>
          </p:cNvSpPr>
          <p:nvPr>
            <p:ph type="body" sz="quarter" idx="55"/>
          </p:nvPr>
        </p:nvSpPr>
        <p:spPr>
          <a:xfrm>
            <a:off x="3364873"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34" name="Text Placeholder 12">
            <a:extLst>
              <a:ext uri="{FF2B5EF4-FFF2-40B4-BE49-F238E27FC236}">
                <a16:creationId xmlns:a16="http://schemas.microsoft.com/office/drawing/2014/main" id="{8FE81E16-B801-AA2F-8DCD-8F5AA1B99902}"/>
              </a:ext>
            </a:extLst>
          </p:cNvPr>
          <p:cNvSpPr>
            <a:spLocks noGrp="1"/>
          </p:cNvSpPr>
          <p:nvPr>
            <p:ph type="body" sz="quarter" idx="56" hasCustomPrompt="1"/>
          </p:nvPr>
        </p:nvSpPr>
        <p:spPr>
          <a:xfrm>
            <a:off x="3364873" y="4832349"/>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5" name="Text Placeholder 12">
            <a:extLst>
              <a:ext uri="{FF2B5EF4-FFF2-40B4-BE49-F238E27FC236}">
                <a16:creationId xmlns:a16="http://schemas.microsoft.com/office/drawing/2014/main" id="{3FF6A6E9-42A0-7692-13DB-315CDEBD3F10}"/>
              </a:ext>
            </a:extLst>
          </p:cNvPr>
          <p:cNvSpPr>
            <a:spLocks noGrp="1"/>
          </p:cNvSpPr>
          <p:nvPr>
            <p:ph type="body" sz="quarter" idx="59" hasCustomPrompt="1"/>
          </p:nvPr>
        </p:nvSpPr>
        <p:spPr>
          <a:xfrm>
            <a:off x="550864" y="2642734"/>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36" name="Text Placeholder 12">
            <a:extLst>
              <a:ext uri="{FF2B5EF4-FFF2-40B4-BE49-F238E27FC236}">
                <a16:creationId xmlns:a16="http://schemas.microsoft.com/office/drawing/2014/main" id="{897F3CE4-6AD8-DC5D-E112-48390B92FD4D}"/>
              </a:ext>
            </a:extLst>
          </p:cNvPr>
          <p:cNvSpPr>
            <a:spLocks noGrp="1"/>
          </p:cNvSpPr>
          <p:nvPr>
            <p:ph type="body" sz="quarter" idx="60" hasCustomPrompt="1"/>
          </p:nvPr>
        </p:nvSpPr>
        <p:spPr>
          <a:xfrm>
            <a:off x="3364873" y="2642734"/>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39" name="Text Placeholder 12">
            <a:extLst>
              <a:ext uri="{FF2B5EF4-FFF2-40B4-BE49-F238E27FC236}">
                <a16:creationId xmlns:a16="http://schemas.microsoft.com/office/drawing/2014/main" id="{3D6EC732-A113-2052-5F3D-C31549DD1CE1}"/>
              </a:ext>
            </a:extLst>
          </p:cNvPr>
          <p:cNvSpPr>
            <a:spLocks noGrp="1"/>
          </p:cNvSpPr>
          <p:nvPr>
            <p:ph type="body" sz="quarter" idx="63" hasCustomPrompt="1"/>
          </p:nvPr>
        </p:nvSpPr>
        <p:spPr>
          <a:xfrm>
            <a:off x="550864" y="5163320"/>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40" name="Text Placeholder 12">
            <a:extLst>
              <a:ext uri="{FF2B5EF4-FFF2-40B4-BE49-F238E27FC236}">
                <a16:creationId xmlns:a16="http://schemas.microsoft.com/office/drawing/2014/main" id="{88CC3C61-40E8-CFD0-A1E0-F7B743AC005B}"/>
              </a:ext>
            </a:extLst>
          </p:cNvPr>
          <p:cNvSpPr>
            <a:spLocks noGrp="1"/>
          </p:cNvSpPr>
          <p:nvPr>
            <p:ph type="body" sz="quarter" idx="64" hasCustomPrompt="1"/>
          </p:nvPr>
        </p:nvSpPr>
        <p:spPr>
          <a:xfrm>
            <a:off x="3364873" y="5163320"/>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5" name="Picture Placeholder 15">
            <a:extLst>
              <a:ext uri="{FF2B5EF4-FFF2-40B4-BE49-F238E27FC236}">
                <a16:creationId xmlns:a16="http://schemas.microsoft.com/office/drawing/2014/main" id="{579F519F-FF28-E95A-90FD-8ED476302122}"/>
              </a:ext>
            </a:extLst>
          </p:cNvPr>
          <p:cNvSpPr>
            <a:spLocks noGrp="1"/>
          </p:cNvSpPr>
          <p:nvPr>
            <p:ph type="pic" sz="quarter" idx="65" hasCustomPrompt="1"/>
          </p:nvPr>
        </p:nvSpPr>
        <p:spPr>
          <a:xfrm>
            <a:off x="6167438" y="1270001"/>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8" name="Text Placeholder 12">
            <a:extLst>
              <a:ext uri="{FF2B5EF4-FFF2-40B4-BE49-F238E27FC236}">
                <a16:creationId xmlns:a16="http://schemas.microsoft.com/office/drawing/2014/main" id="{EDFB7F73-2CDA-0D25-68DB-68D4065E2EFB}"/>
              </a:ext>
            </a:extLst>
          </p:cNvPr>
          <p:cNvSpPr>
            <a:spLocks noGrp="1"/>
          </p:cNvSpPr>
          <p:nvPr>
            <p:ph type="body" sz="quarter" idx="66"/>
          </p:nvPr>
        </p:nvSpPr>
        <p:spPr>
          <a:xfrm>
            <a:off x="6167438"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9" name="Text Placeholder 12">
            <a:extLst>
              <a:ext uri="{FF2B5EF4-FFF2-40B4-BE49-F238E27FC236}">
                <a16:creationId xmlns:a16="http://schemas.microsoft.com/office/drawing/2014/main" id="{EEB2D7DD-C214-FC47-587A-A689E46CA317}"/>
              </a:ext>
            </a:extLst>
          </p:cNvPr>
          <p:cNvSpPr>
            <a:spLocks noGrp="1"/>
          </p:cNvSpPr>
          <p:nvPr>
            <p:ph type="body" sz="quarter" idx="67" hasCustomPrompt="1"/>
          </p:nvPr>
        </p:nvSpPr>
        <p:spPr>
          <a:xfrm>
            <a:off x="6167438" y="2311763"/>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12" name="Picture Placeholder 15">
            <a:extLst>
              <a:ext uri="{FF2B5EF4-FFF2-40B4-BE49-F238E27FC236}">
                <a16:creationId xmlns:a16="http://schemas.microsoft.com/office/drawing/2014/main" id="{A16AFFED-3679-EC6F-38E4-BB141B3DC4A0}"/>
              </a:ext>
            </a:extLst>
          </p:cNvPr>
          <p:cNvSpPr>
            <a:spLocks noGrp="1"/>
          </p:cNvSpPr>
          <p:nvPr>
            <p:ph type="pic" sz="quarter" idx="68" hasCustomPrompt="1"/>
          </p:nvPr>
        </p:nvSpPr>
        <p:spPr>
          <a:xfrm>
            <a:off x="8982703" y="1270001"/>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17" name="Text Placeholder 12">
            <a:extLst>
              <a:ext uri="{FF2B5EF4-FFF2-40B4-BE49-F238E27FC236}">
                <a16:creationId xmlns:a16="http://schemas.microsoft.com/office/drawing/2014/main" id="{61B398F2-4320-2608-763F-19F2EAD3DF7D}"/>
              </a:ext>
            </a:extLst>
          </p:cNvPr>
          <p:cNvSpPr>
            <a:spLocks noGrp="1"/>
          </p:cNvSpPr>
          <p:nvPr>
            <p:ph type="body" sz="quarter" idx="69"/>
          </p:nvPr>
        </p:nvSpPr>
        <p:spPr>
          <a:xfrm>
            <a:off x="8982703"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626B44F3-03D8-5E28-57CB-031C8BA36E3E}"/>
              </a:ext>
            </a:extLst>
          </p:cNvPr>
          <p:cNvSpPr>
            <a:spLocks noGrp="1"/>
          </p:cNvSpPr>
          <p:nvPr>
            <p:ph type="body" sz="quarter" idx="70" hasCustomPrompt="1"/>
          </p:nvPr>
        </p:nvSpPr>
        <p:spPr>
          <a:xfrm>
            <a:off x="8982703" y="2311763"/>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21" name="Picture Placeholder 15">
            <a:extLst>
              <a:ext uri="{FF2B5EF4-FFF2-40B4-BE49-F238E27FC236}">
                <a16:creationId xmlns:a16="http://schemas.microsoft.com/office/drawing/2014/main" id="{40DA321B-E9DB-5413-41F7-007CC6996CC5}"/>
              </a:ext>
            </a:extLst>
          </p:cNvPr>
          <p:cNvSpPr>
            <a:spLocks noGrp="1"/>
          </p:cNvSpPr>
          <p:nvPr>
            <p:ph type="pic" sz="quarter" idx="71" hasCustomPrompt="1"/>
          </p:nvPr>
        </p:nvSpPr>
        <p:spPr>
          <a:xfrm>
            <a:off x="6167438" y="3790587"/>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22" name="Text Placeholder 12">
            <a:extLst>
              <a:ext uri="{FF2B5EF4-FFF2-40B4-BE49-F238E27FC236}">
                <a16:creationId xmlns:a16="http://schemas.microsoft.com/office/drawing/2014/main" id="{E80292A4-F3B1-05FF-D679-13BCF59C7C94}"/>
              </a:ext>
            </a:extLst>
          </p:cNvPr>
          <p:cNvSpPr>
            <a:spLocks noGrp="1"/>
          </p:cNvSpPr>
          <p:nvPr>
            <p:ph type="body" sz="quarter" idx="72"/>
          </p:nvPr>
        </p:nvSpPr>
        <p:spPr>
          <a:xfrm>
            <a:off x="6167438"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23" name="Text Placeholder 12">
            <a:extLst>
              <a:ext uri="{FF2B5EF4-FFF2-40B4-BE49-F238E27FC236}">
                <a16:creationId xmlns:a16="http://schemas.microsoft.com/office/drawing/2014/main" id="{9AB4C234-EBBC-75A7-2F01-97E082284DFF}"/>
              </a:ext>
            </a:extLst>
          </p:cNvPr>
          <p:cNvSpPr>
            <a:spLocks noGrp="1"/>
          </p:cNvSpPr>
          <p:nvPr>
            <p:ph type="body" sz="quarter" idx="73" hasCustomPrompt="1"/>
          </p:nvPr>
        </p:nvSpPr>
        <p:spPr>
          <a:xfrm>
            <a:off x="6167438" y="4832349"/>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24" name="Picture Placeholder 15">
            <a:extLst>
              <a:ext uri="{FF2B5EF4-FFF2-40B4-BE49-F238E27FC236}">
                <a16:creationId xmlns:a16="http://schemas.microsoft.com/office/drawing/2014/main" id="{D7DCA51C-09C7-C83C-64D8-CE36012B9682}"/>
              </a:ext>
            </a:extLst>
          </p:cNvPr>
          <p:cNvSpPr>
            <a:spLocks noGrp="1"/>
          </p:cNvSpPr>
          <p:nvPr>
            <p:ph type="pic" sz="quarter" idx="74" hasCustomPrompt="1"/>
          </p:nvPr>
        </p:nvSpPr>
        <p:spPr>
          <a:xfrm>
            <a:off x="8982703" y="3790587"/>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25" name="Text Placeholder 12">
            <a:extLst>
              <a:ext uri="{FF2B5EF4-FFF2-40B4-BE49-F238E27FC236}">
                <a16:creationId xmlns:a16="http://schemas.microsoft.com/office/drawing/2014/main" id="{28E7888C-B313-A876-D19E-25E7127C1E4E}"/>
              </a:ext>
            </a:extLst>
          </p:cNvPr>
          <p:cNvSpPr>
            <a:spLocks noGrp="1"/>
          </p:cNvSpPr>
          <p:nvPr>
            <p:ph type="body" sz="quarter" idx="75"/>
          </p:nvPr>
        </p:nvSpPr>
        <p:spPr>
          <a:xfrm>
            <a:off x="8982703"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26" name="Text Placeholder 12">
            <a:extLst>
              <a:ext uri="{FF2B5EF4-FFF2-40B4-BE49-F238E27FC236}">
                <a16:creationId xmlns:a16="http://schemas.microsoft.com/office/drawing/2014/main" id="{A7460C6C-C808-196C-F5E0-454921820765}"/>
              </a:ext>
            </a:extLst>
          </p:cNvPr>
          <p:cNvSpPr>
            <a:spLocks noGrp="1"/>
          </p:cNvSpPr>
          <p:nvPr>
            <p:ph type="body" sz="quarter" idx="76" hasCustomPrompt="1"/>
          </p:nvPr>
        </p:nvSpPr>
        <p:spPr>
          <a:xfrm>
            <a:off x="8982703" y="4832349"/>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42" name="Text Placeholder 12">
            <a:extLst>
              <a:ext uri="{FF2B5EF4-FFF2-40B4-BE49-F238E27FC236}">
                <a16:creationId xmlns:a16="http://schemas.microsoft.com/office/drawing/2014/main" id="{B770DFBB-C159-C249-725B-DC15A247A240}"/>
              </a:ext>
            </a:extLst>
          </p:cNvPr>
          <p:cNvSpPr>
            <a:spLocks noGrp="1"/>
          </p:cNvSpPr>
          <p:nvPr>
            <p:ph type="body" sz="quarter" idx="77" hasCustomPrompt="1"/>
          </p:nvPr>
        </p:nvSpPr>
        <p:spPr>
          <a:xfrm>
            <a:off x="6167438" y="2642734"/>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43" name="Text Placeholder 12">
            <a:extLst>
              <a:ext uri="{FF2B5EF4-FFF2-40B4-BE49-F238E27FC236}">
                <a16:creationId xmlns:a16="http://schemas.microsoft.com/office/drawing/2014/main" id="{10A5C412-5937-A2B1-0F24-356981AA64A4}"/>
              </a:ext>
            </a:extLst>
          </p:cNvPr>
          <p:cNvSpPr>
            <a:spLocks noGrp="1"/>
          </p:cNvSpPr>
          <p:nvPr>
            <p:ph type="body" sz="quarter" idx="78" hasCustomPrompt="1"/>
          </p:nvPr>
        </p:nvSpPr>
        <p:spPr>
          <a:xfrm>
            <a:off x="8982703" y="2642734"/>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44" name="Text Placeholder 12">
            <a:extLst>
              <a:ext uri="{FF2B5EF4-FFF2-40B4-BE49-F238E27FC236}">
                <a16:creationId xmlns:a16="http://schemas.microsoft.com/office/drawing/2014/main" id="{B47DFAEF-1925-0117-D75F-D223750DD5F5}"/>
              </a:ext>
            </a:extLst>
          </p:cNvPr>
          <p:cNvSpPr>
            <a:spLocks noGrp="1"/>
          </p:cNvSpPr>
          <p:nvPr>
            <p:ph type="body" sz="quarter" idx="79" hasCustomPrompt="1"/>
          </p:nvPr>
        </p:nvSpPr>
        <p:spPr>
          <a:xfrm>
            <a:off x="6167438" y="5163320"/>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45" name="Text Placeholder 12">
            <a:extLst>
              <a:ext uri="{FF2B5EF4-FFF2-40B4-BE49-F238E27FC236}">
                <a16:creationId xmlns:a16="http://schemas.microsoft.com/office/drawing/2014/main" id="{89BF951E-99C3-2209-D30F-3BEFE1C9319C}"/>
              </a:ext>
            </a:extLst>
          </p:cNvPr>
          <p:cNvSpPr>
            <a:spLocks noGrp="1"/>
          </p:cNvSpPr>
          <p:nvPr>
            <p:ph type="body" sz="quarter" idx="80" hasCustomPrompt="1"/>
          </p:nvPr>
        </p:nvSpPr>
        <p:spPr>
          <a:xfrm>
            <a:off x="8982703" y="5163320"/>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Tree>
    <p:extLst>
      <p:ext uri="{BB962C8B-B14F-4D97-AF65-F5344CB8AC3E}">
        <p14:creationId xmlns:p14="http://schemas.microsoft.com/office/powerpoint/2010/main" val="20869133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rgbClr val="5E33BE"/>
                </a:solidFill>
                <a:latin typeface="Calibri"/>
                <a:cs typeface="Calibri"/>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18/2025</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spTree>
    <p:extLst>
      <p:ext uri="{BB962C8B-B14F-4D97-AF65-F5344CB8AC3E}">
        <p14:creationId xmlns:p14="http://schemas.microsoft.com/office/powerpoint/2010/main" val="263020053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5E33BF"/>
          </a:solidFill>
          <a:ln w="9525" cap="rnd" cmpd="sng" algn="ctr">
            <a:solidFill>
              <a:srgbClr val="5E33B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p>
        </p:txBody>
      </p:sp>
      <p:sp>
        <p:nvSpPr>
          <p:cNvPr id="8" name="Title 7"/>
          <p:cNvSpPr>
            <a:spLocks noGrp="1"/>
          </p:cNvSpPr>
          <p:nvPr>
            <p:ph type="title" hasCustomPrompt="1"/>
          </p:nvPr>
        </p:nvSpPr>
        <p:spPr>
          <a:xfrm>
            <a:off x="571824" y="816951"/>
            <a:ext cx="11048352" cy="332399"/>
          </a:xfrm>
        </p:spPr>
        <p:txBody>
          <a:bodyPr/>
          <a:lstStyle>
            <a:lvl1pPr>
              <a:defRPr>
                <a:solidFill>
                  <a:schemeClr val="tx1">
                    <a:lumMod val="100000"/>
                  </a:schemeClr>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6076799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Copy x1 White_With breadcrumb and title">
    <p:bg>
      <p:bgPr>
        <a:solidFill>
          <a:schemeClr val="bg1"/>
        </a:solidFill>
        <a:effectLst/>
      </p:bgPr>
    </p:bg>
    <p:spTree>
      <p:nvGrpSpPr>
        <p:cNvPr id="1" name=""/>
        <p:cNvGrpSpPr/>
        <p:nvPr/>
      </p:nvGrpSpPr>
      <p:grpSpPr>
        <a:xfrm>
          <a:off x="0" y="0"/>
          <a:ext cx="0" cy="0"/>
          <a:chOff x="0" y="0"/>
          <a:chExt cx="0" cy="0"/>
        </a:xfrm>
      </p:grpSpPr>
      <p:sp>
        <p:nvSpPr>
          <p:cNvPr id="20" name="Text Placeholder 2">
            <a:extLst>
              <a:ext uri="{FF2B5EF4-FFF2-40B4-BE49-F238E27FC236}">
                <a16:creationId xmlns:a16="http://schemas.microsoft.com/office/drawing/2014/main" id="{C24283BC-21FE-1A4C-BA6F-BD28C121AFD5}"/>
              </a:ext>
            </a:extLst>
          </p:cNvPr>
          <p:cNvSpPr>
            <a:spLocks noGrp="1"/>
          </p:cNvSpPr>
          <p:nvPr>
            <p:ph type="body" sz="quarter" idx="16" hasCustomPrompt="1"/>
          </p:nvPr>
        </p:nvSpPr>
        <p:spPr>
          <a:xfrm>
            <a:off x="633599" y="442800"/>
            <a:ext cx="7226113"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5" name="Slide Number Placeholder 2">
            <a:extLst>
              <a:ext uri="{FF2B5EF4-FFF2-40B4-BE49-F238E27FC236}">
                <a16:creationId xmlns:a16="http://schemas.microsoft.com/office/drawing/2014/main" id="{48EF2479-4BEB-8040-A915-6675C15184B9}"/>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 name="Footer Placeholder 1">
            <a:extLst>
              <a:ext uri="{FF2B5EF4-FFF2-40B4-BE49-F238E27FC236}">
                <a16:creationId xmlns:a16="http://schemas.microsoft.com/office/drawing/2014/main" id="{74F75B34-1820-344A-9E82-130ACF8E14B9}"/>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0000"/>
                </a:solidFill>
                <a:effectLst/>
                <a:uLnTx/>
                <a:uFillTx/>
                <a:latin typeface="Calibri" panose="020F0502020204030204"/>
                <a:ea typeface="+mn-ea"/>
                <a:cs typeface="+mn-cs"/>
              </a:rPr>
              <a:t>© 2023 Clarivate</a:t>
            </a:r>
          </a:p>
        </p:txBody>
      </p:sp>
      <p:sp>
        <p:nvSpPr>
          <p:cNvPr id="11" name="Text Placeholder 2">
            <a:extLst>
              <a:ext uri="{FF2B5EF4-FFF2-40B4-BE49-F238E27FC236}">
                <a16:creationId xmlns:a16="http://schemas.microsoft.com/office/drawing/2014/main" id="{8670F834-9476-4F4C-85E6-B5071A67EBC0}"/>
              </a:ext>
            </a:extLst>
          </p:cNvPr>
          <p:cNvSpPr>
            <a:spLocks noGrp="1"/>
          </p:cNvSpPr>
          <p:nvPr>
            <p:ph type="body" sz="quarter" idx="40" hasCustomPrompt="1"/>
          </p:nvPr>
        </p:nvSpPr>
        <p:spPr>
          <a:xfrm>
            <a:off x="633600" y="630000"/>
            <a:ext cx="7226113" cy="738664"/>
          </a:xfrm>
          <a:prstGeom prst="rect">
            <a:avLst/>
          </a:prstGeom>
        </p:spPr>
        <p:txBody>
          <a:bodyPr wrap="square">
            <a:sp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r>
              <a:rPr lang="en-US"/>
              <a:t> </a:t>
            </a:r>
            <a:r>
              <a:rPr lang="en-US" err="1"/>
              <a:t>elit</a:t>
            </a:r>
            <a:endParaRPr lang="en-US"/>
          </a:p>
        </p:txBody>
      </p:sp>
      <p:sp>
        <p:nvSpPr>
          <p:cNvPr id="4" name="Text Placeholder 4">
            <a:extLst>
              <a:ext uri="{FF2B5EF4-FFF2-40B4-BE49-F238E27FC236}">
                <a16:creationId xmlns:a16="http://schemas.microsoft.com/office/drawing/2014/main" id="{97BE5009-BE35-4948-AD3C-47A40D27215C}"/>
              </a:ext>
            </a:extLst>
          </p:cNvPr>
          <p:cNvSpPr>
            <a:spLocks noGrp="1"/>
          </p:cNvSpPr>
          <p:nvPr>
            <p:ph type="body" sz="quarter" idx="53" hasCustomPrompt="1"/>
          </p:nvPr>
        </p:nvSpPr>
        <p:spPr>
          <a:xfrm>
            <a:off x="633600" y="1994105"/>
            <a:ext cx="7226113" cy="72008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 dolore</a:t>
            </a:r>
            <a:endParaRPr lang="en-US"/>
          </a:p>
        </p:txBody>
      </p:sp>
      <p:sp>
        <p:nvSpPr>
          <p:cNvPr id="2" name="Text Placeholder 2">
            <a:extLst>
              <a:ext uri="{FF2B5EF4-FFF2-40B4-BE49-F238E27FC236}">
                <a16:creationId xmlns:a16="http://schemas.microsoft.com/office/drawing/2014/main" id="{502E5EA8-2E5A-43A7-7CD2-12D08CEF75F9}"/>
              </a:ext>
            </a:extLst>
          </p:cNvPr>
          <p:cNvSpPr>
            <a:spLocks noGrp="1"/>
          </p:cNvSpPr>
          <p:nvPr>
            <p:ph type="body" sz="quarter" idx="46"/>
          </p:nvPr>
        </p:nvSpPr>
        <p:spPr>
          <a:xfrm>
            <a:off x="633600" y="2733641"/>
            <a:ext cx="7226112" cy="3341722"/>
          </a:xfrm>
        </p:spPr>
        <p:txBody>
          <a:bodyPr wrap="square"/>
          <a:lstStyle>
            <a:lvl1pPr marL="180000" indent="-180000">
              <a:spcBef>
                <a:spcPts val="600"/>
              </a:spcBef>
              <a:spcAft>
                <a:spcPts val="0"/>
              </a:spcAft>
              <a:buFont typeface="Arial" panose="020B0604020202020204" pitchFamily="34" charset="0"/>
              <a:buChar char="•"/>
              <a:defRPr sz="1800"/>
            </a:lvl1pPr>
            <a:lvl2pPr marL="360000" indent="-180000">
              <a:spcBef>
                <a:spcPts val="600"/>
              </a:spcBef>
              <a:spcAft>
                <a:spcPts val="0"/>
              </a:spcAft>
              <a:buClr>
                <a:schemeClr val="accent1"/>
              </a:buClr>
              <a:buFont typeface="Arial" panose="020B0604020202020204" pitchFamily="34" charset="0"/>
              <a:buChar char="-"/>
              <a:defRPr sz="1800"/>
            </a:lvl2pPr>
            <a:lvl3pPr marL="540000" indent="-180000">
              <a:spcBef>
                <a:spcPts val="600"/>
              </a:spcBef>
              <a:spcAft>
                <a:spcPts val="0"/>
              </a:spcAft>
              <a:buFont typeface="Arial" panose="020B0604020202020204" pitchFamily="34" charset="0"/>
              <a:buChar char="-"/>
              <a:defRPr sz="1800"/>
            </a:lvl3pPr>
            <a:lvl4pPr marL="0" indent="-180000">
              <a:spcBef>
                <a:spcPts val="600"/>
              </a:spcBef>
              <a:spcAft>
                <a:spcPts val="0"/>
              </a:spcAft>
              <a:buClr>
                <a:schemeClr val="accent1"/>
              </a:buClr>
              <a:buFont typeface="Arial" panose="020B0604020202020204" pitchFamily="34" charset="0"/>
              <a:buChar char="•"/>
              <a:defRPr sz="1800"/>
            </a:lvl4pPr>
            <a:lvl5pPr marL="360000" indent="-180000">
              <a:spcBef>
                <a:spcPts val="600"/>
              </a:spcBef>
              <a:spcAft>
                <a:spcPts val="0"/>
              </a:spcAft>
              <a:buFont typeface="Arial" panose="020B0604020202020204" pitchFamily="34" charset="0"/>
              <a:buChar char="-"/>
              <a:defRPr sz="1800"/>
            </a:lvl5pPr>
            <a:lvl6pPr marL="540000" indent="-180000">
              <a:spcBef>
                <a:spcPts val="600"/>
              </a:spcBef>
              <a:buClr>
                <a:schemeClr val="accent1"/>
              </a:buClr>
              <a:buFont typeface="Arial" panose="020B0604020202020204" pitchFamily="34" charset="0"/>
              <a:buChar char="-"/>
              <a:defRPr>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pic>
        <p:nvPicPr>
          <p:cNvPr id="3" name="Picture Placeholder 13">
            <a:extLst>
              <a:ext uri="{FF2B5EF4-FFF2-40B4-BE49-F238E27FC236}">
                <a16:creationId xmlns:a16="http://schemas.microsoft.com/office/drawing/2014/main" id="{FFCEE173-0A5F-EA05-DE6F-B1583AD61812}"/>
              </a:ext>
            </a:extLst>
          </p:cNvPr>
          <p:cNvPicPr>
            <a:picLocks noChangeAspect="1"/>
          </p:cNvPicPr>
          <p:nvPr userDrawn="1"/>
        </p:nvPicPr>
        <p:blipFill>
          <a:blip r:embed="rId2">
            <a:extLst>
              <a:ext uri="{96DAC541-7B7A-43D3-8B79-37D633B846F1}">
                <asvg:svgBlip xmlns:asvg="http://schemas.microsoft.com/office/drawing/2016/SVG/main" r:embed="rId3"/>
              </a:ext>
            </a:extLst>
          </a:blip>
          <a:srcRect l="50" r="50"/>
          <a:stretch>
            <a:fillRect/>
          </a:stretch>
        </p:blipFill>
        <p:spPr>
          <a:xfrm>
            <a:off x="523038" y="6354000"/>
            <a:ext cx="1371600" cy="406400"/>
          </a:xfrm>
          <a:prstGeom prst="rect">
            <a:avLst/>
          </a:prstGeom>
        </p:spPr>
      </p:pic>
    </p:spTree>
    <p:extLst>
      <p:ext uri="{BB962C8B-B14F-4D97-AF65-F5344CB8AC3E}">
        <p14:creationId xmlns:p14="http://schemas.microsoft.com/office/powerpoint/2010/main" val="2132060322"/>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ingle Textbo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11090274"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11090274" cy="336973"/>
          </a:xfrm>
          <a:prstGeom prst="rect">
            <a:avLst/>
          </a:prstGeom>
        </p:spPr>
        <p:txBody>
          <a:bodyPr lIns="0" tIns="0" rIns="0" bIns="0">
            <a:noAutofit/>
          </a:bodyPr>
          <a:lstStyle>
            <a:lvl1pPr marL="0" indent="0">
              <a:lnSpc>
                <a:spcPct val="10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8281986" cy="4321175"/>
          </a:xfrm>
        </p:spPr>
        <p:txBody>
          <a:bodyPr/>
          <a:lstStyle>
            <a:lvl3pPr>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53806712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11090274" cy="332399"/>
          </a:xfrm>
        </p:spPr>
        <p:txBody>
          <a:bodyPr>
            <a:spAutoFit/>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Tree>
    <p:extLst>
      <p:ext uri="{BB962C8B-B14F-4D97-AF65-F5344CB8AC3E}">
        <p14:creationId xmlns:p14="http://schemas.microsoft.com/office/powerpoint/2010/main" val="417196488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_layou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Tree>
    <p:extLst>
      <p:ext uri="{BB962C8B-B14F-4D97-AF65-F5344CB8AC3E}">
        <p14:creationId xmlns:p14="http://schemas.microsoft.com/office/powerpoint/2010/main" val="416285935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x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10692574"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10692574"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5076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5" name="Text Placeholder 12">
            <a:extLst>
              <a:ext uri="{FF2B5EF4-FFF2-40B4-BE49-F238E27FC236}">
                <a16:creationId xmlns:a16="http://schemas.microsoft.com/office/drawing/2014/main" id="{5B8B4328-59C1-D6A0-2D23-526CB791C2DF}"/>
              </a:ext>
            </a:extLst>
          </p:cNvPr>
          <p:cNvSpPr>
            <a:spLocks noGrp="1"/>
          </p:cNvSpPr>
          <p:nvPr>
            <p:ph type="body" sz="quarter" idx="15"/>
          </p:nvPr>
        </p:nvSpPr>
        <p:spPr>
          <a:xfrm>
            <a:off x="6167438" y="1808163"/>
            <a:ext cx="5076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5003226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x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10692574"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10692574"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6" name="Text Placeholder 12">
            <a:extLst>
              <a:ext uri="{FF2B5EF4-FFF2-40B4-BE49-F238E27FC236}">
                <a16:creationId xmlns:a16="http://schemas.microsoft.com/office/drawing/2014/main" id="{E79289D7-5C2E-68CE-3B90-A9A8960FA82B}"/>
              </a:ext>
            </a:extLst>
          </p:cNvPr>
          <p:cNvSpPr>
            <a:spLocks noGrp="1"/>
          </p:cNvSpPr>
          <p:nvPr>
            <p:ph type="body" sz="quarter" idx="16"/>
          </p:nvPr>
        </p:nvSpPr>
        <p:spPr>
          <a:xfrm>
            <a:off x="4295151"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8" name="Text Placeholder 12">
            <a:extLst>
              <a:ext uri="{FF2B5EF4-FFF2-40B4-BE49-F238E27FC236}">
                <a16:creationId xmlns:a16="http://schemas.microsoft.com/office/drawing/2014/main" id="{49E19914-A73D-36ED-F704-267D2EE80CB7}"/>
              </a:ext>
            </a:extLst>
          </p:cNvPr>
          <p:cNvSpPr>
            <a:spLocks noGrp="1"/>
          </p:cNvSpPr>
          <p:nvPr>
            <p:ph type="body" sz="quarter" idx="17"/>
          </p:nvPr>
        </p:nvSpPr>
        <p:spPr>
          <a:xfrm>
            <a:off x="8039438"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9330762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6x Icon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5" y="368828"/>
            <a:ext cx="10693822"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5" y="752052"/>
            <a:ext cx="10693822"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3" y="2716212"/>
            <a:ext cx="3204000" cy="1079500"/>
          </a:xfrm>
        </p:spPr>
        <p:txBody>
          <a:bodyPr/>
          <a:lstStyle/>
          <a:p>
            <a:pPr lvl="0"/>
            <a:r>
              <a:rPr lang="en-US"/>
              <a:t>Click to edit Master text styles</a:t>
            </a:r>
          </a:p>
          <a:p>
            <a:pPr lvl="1"/>
            <a:r>
              <a:rPr lang="en-US"/>
              <a:t>Second level</a:t>
            </a:r>
          </a:p>
          <a:p>
            <a:pPr lvl="2"/>
            <a:r>
              <a:rPr lang="en-US"/>
              <a:t>Third level</a:t>
            </a:r>
          </a:p>
        </p:txBody>
      </p:sp>
      <p:sp>
        <p:nvSpPr>
          <p:cNvPr id="6" name="Text Placeholder 12">
            <a:extLst>
              <a:ext uri="{FF2B5EF4-FFF2-40B4-BE49-F238E27FC236}">
                <a16:creationId xmlns:a16="http://schemas.microsoft.com/office/drawing/2014/main" id="{41114B1E-A563-1101-CB97-0755E7E651D0}"/>
              </a:ext>
            </a:extLst>
          </p:cNvPr>
          <p:cNvSpPr>
            <a:spLocks noGrp="1"/>
          </p:cNvSpPr>
          <p:nvPr>
            <p:ph type="body" sz="quarter" idx="15"/>
          </p:nvPr>
        </p:nvSpPr>
        <p:spPr>
          <a:xfrm>
            <a:off x="4295776" y="2716213"/>
            <a:ext cx="3204000" cy="1079500"/>
          </a:xfrm>
        </p:spPr>
        <p:txBody>
          <a:bodyPr/>
          <a:lstStyle/>
          <a:p>
            <a:pPr lvl="0"/>
            <a:r>
              <a:rPr lang="en-US"/>
              <a:t>Click to edit Master text styles</a:t>
            </a:r>
          </a:p>
          <a:p>
            <a:pPr lvl="1"/>
            <a:r>
              <a:rPr lang="en-US"/>
              <a:t>Second level</a:t>
            </a:r>
          </a:p>
          <a:p>
            <a:pPr lvl="2"/>
            <a:r>
              <a:rPr lang="en-US"/>
              <a:t>Third level</a:t>
            </a:r>
            <a:endParaRPr lang="en-GB"/>
          </a:p>
        </p:txBody>
      </p:sp>
      <p:sp>
        <p:nvSpPr>
          <p:cNvPr id="7" name="Text Placeholder 12">
            <a:extLst>
              <a:ext uri="{FF2B5EF4-FFF2-40B4-BE49-F238E27FC236}">
                <a16:creationId xmlns:a16="http://schemas.microsoft.com/office/drawing/2014/main" id="{399FA75D-803B-3E4B-7183-E3994966E24B}"/>
              </a:ext>
            </a:extLst>
          </p:cNvPr>
          <p:cNvSpPr>
            <a:spLocks noGrp="1"/>
          </p:cNvSpPr>
          <p:nvPr>
            <p:ph type="body" sz="quarter" idx="16"/>
          </p:nvPr>
        </p:nvSpPr>
        <p:spPr>
          <a:xfrm>
            <a:off x="8040687" y="2716213"/>
            <a:ext cx="3204000" cy="1079500"/>
          </a:xfrm>
        </p:spPr>
        <p:txBody>
          <a:bodyPr/>
          <a:lstStyle/>
          <a:p>
            <a:pPr lvl="0"/>
            <a:r>
              <a:rPr lang="en-US"/>
              <a:t>Click to edit Master text styles</a:t>
            </a:r>
          </a:p>
          <a:p>
            <a:pPr lvl="1"/>
            <a:r>
              <a:rPr lang="en-US"/>
              <a:t>Second level</a:t>
            </a:r>
          </a:p>
          <a:p>
            <a:pPr lvl="2"/>
            <a:r>
              <a:rPr lang="en-US"/>
              <a:t>Third level</a:t>
            </a:r>
            <a:endParaRPr lang="en-GB"/>
          </a:p>
        </p:txBody>
      </p:sp>
      <p:sp>
        <p:nvSpPr>
          <p:cNvPr id="11" name="Text Placeholder 12">
            <a:extLst>
              <a:ext uri="{FF2B5EF4-FFF2-40B4-BE49-F238E27FC236}">
                <a16:creationId xmlns:a16="http://schemas.microsoft.com/office/drawing/2014/main" id="{956E8744-4447-9B41-C4EF-92000E2207C8}"/>
              </a:ext>
            </a:extLst>
          </p:cNvPr>
          <p:cNvSpPr>
            <a:spLocks noGrp="1"/>
          </p:cNvSpPr>
          <p:nvPr>
            <p:ph type="body" sz="quarter" idx="17"/>
          </p:nvPr>
        </p:nvSpPr>
        <p:spPr>
          <a:xfrm>
            <a:off x="550863" y="4883149"/>
            <a:ext cx="3204000" cy="1079500"/>
          </a:xfrm>
        </p:spPr>
        <p:txBody>
          <a:bodyPr/>
          <a:lstStyle/>
          <a:p>
            <a:pPr lvl="0"/>
            <a:r>
              <a:rPr lang="en-US"/>
              <a:t>Click to edit Master text styles</a:t>
            </a:r>
          </a:p>
          <a:p>
            <a:pPr lvl="1"/>
            <a:r>
              <a:rPr lang="en-US"/>
              <a:t>Second level</a:t>
            </a:r>
          </a:p>
          <a:p>
            <a:pPr lvl="2"/>
            <a:r>
              <a:rPr lang="en-US"/>
              <a:t>Third level</a:t>
            </a:r>
          </a:p>
        </p:txBody>
      </p:sp>
      <p:sp>
        <p:nvSpPr>
          <p:cNvPr id="12" name="Text Placeholder 12">
            <a:extLst>
              <a:ext uri="{FF2B5EF4-FFF2-40B4-BE49-F238E27FC236}">
                <a16:creationId xmlns:a16="http://schemas.microsoft.com/office/drawing/2014/main" id="{92D22F55-B345-13EA-70B9-B62C67DD2FB7}"/>
              </a:ext>
            </a:extLst>
          </p:cNvPr>
          <p:cNvSpPr>
            <a:spLocks noGrp="1"/>
          </p:cNvSpPr>
          <p:nvPr>
            <p:ph type="body" sz="quarter" idx="18"/>
          </p:nvPr>
        </p:nvSpPr>
        <p:spPr>
          <a:xfrm>
            <a:off x="4295776" y="4883150"/>
            <a:ext cx="3204000" cy="1079500"/>
          </a:xfrm>
        </p:spPr>
        <p:txBody>
          <a:bodyPr/>
          <a:lstStyle/>
          <a:p>
            <a:pPr lvl="0"/>
            <a:r>
              <a:rPr lang="en-US"/>
              <a:t>Click to edit Master text styles</a:t>
            </a:r>
          </a:p>
          <a:p>
            <a:pPr lvl="1"/>
            <a:r>
              <a:rPr lang="en-US"/>
              <a:t>Second level</a:t>
            </a:r>
          </a:p>
          <a:p>
            <a:pPr lvl="2"/>
            <a:r>
              <a:rPr lang="en-US"/>
              <a:t>Third level</a:t>
            </a:r>
            <a:endParaRPr lang="en-GB"/>
          </a:p>
        </p:txBody>
      </p:sp>
      <p:sp>
        <p:nvSpPr>
          <p:cNvPr id="14" name="Text Placeholder 12">
            <a:extLst>
              <a:ext uri="{FF2B5EF4-FFF2-40B4-BE49-F238E27FC236}">
                <a16:creationId xmlns:a16="http://schemas.microsoft.com/office/drawing/2014/main" id="{0876B04D-418A-408D-4B86-1F152EA3B9AC}"/>
              </a:ext>
            </a:extLst>
          </p:cNvPr>
          <p:cNvSpPr>
            <a:spLocks noGrp="1"/>
          </p:cNvSpPr>
          <p:nvPr>
            <p:ph type="body" sz="quarter" idx="19"/>
          </p:nvPr>
        </p:nvSpPr>
        <p:spPr>
          <a:xfrm>
            <a:off x="8040687" y="4883150"/>
            <a:ext cx="3204000" cy="1079500"/>
          </a:xfrm>
        </p:spPr>
        <p:txBody>
          <a:bodyPr/>
          <a:lstStyle/>
          <a:p>
            <a:pPr lvl="0"/>
            <a:r>
              <a:rPr lang="en-US"/>
              <a:t>Click to edit Master text styles</a:t>
            </a:r>
          </a:p>
          <a:p>
            <a:pPr lvl="1"/>
            <a:r>
              <a:rPr lang="en-US"/>
              <a:t>Second level</a:t>
            </a:r>
          </a:p>
          <a:p>
            <a:pPr lvl="2"/>
            <a:r>
              <a:rPr lang="en-US"/>
              <a:t>Third level</a:t>
            </a:r>
            <a:endParaRPr lang="en-GB"/>
          </a:p>
        </p:txBody>
      </p:sp>
      <p:sp>
        <p:nvSpPr>
          <p:cNvPr id="16" name="Picture Placeholder 15">
            <a:extLst>
              <a:ext uri="{FF2B5EF4-FFF2-40B4-BE49-F238E27FC236}">
                <a16:creationId xmlns:a16="http://schemas.microsoft.com/office/drawing/2014/main" id="{5EA0C833-46C2-988C-0074-D6A83249C216}"/>
              </a:ext>
            </a:extLst>
          </p:cNvPr>
          <p:cNvSpPr>
            <a:spLocks noGrp="1"/>
          </p:cNvSpPr>
          <p:nvPr>
            <p:ph type="pic" sz="quarter" idx="20" hasCustomPrompt="1"/>
          </p:nvPr>
        </p:nvSpPr>
        <p:spPr>
          <a:xfrm>
            <a:off x="550863" y="1815305"/>
            <a:ext cx="360362" cy="360362"/>
          </a:xfrm>
          <a:noFill/>
        </p:spPr>
        <p:txBody>
          <a:bodyPr anchor="ctr" anchorCtr="0"/>
          <a:lstStyle>
            <a:lvl1pPr marL="0" indent="0" algn="ctr">
              <a:buNone/>
              <a:defRPr sz="1000">
                <a:solidFill>
                  <a:schemeClr val="accent2"/>
                </a:solidFill>
                <a:latin typeface="+mn-lt"/>
              </a:defRPr>
            </a:lvl1pPr>
          </a:lstStyle>
          <a:p>
            <a:pPr lvl="0"/>
            <a:r>
              <a:rPr lang="en-GB"/>
              <a:t>icon</a:t>
            </a:r>
          </a:p>
        </p:txBody>
      </p:sp>
      <p:sp>
        <p:nvSpPr>
          <p:cNvPr id="17" name="Picture Placeholder 15">
            <a:extLst>
              <a:ext uri="{FF2B5EF4-FFF2-40B4-BE49-F238E27FC236}">
                <a16:creationId xmlns:a16="http://schemas.microsoft.com/office/drawing/2014/main" id="{CD8935F0-FF95-E453-E9F6-68893F7A504D}"/>
              </a:ext>
            </a:extLst>
          </p:cNvPr>
          <p:cNvSpPr>
            <a:spLocks noGrp="1"/>
          </p:cNvSpPr>
          <p:nvPr>
            <p:ph type="pic" sz="quarter" idx="21" hasCustomPrompt="1"/>
          </p:nvPr>
        </p:nvSpPr>
        <p:spPr>
          <a:xfrm>
            <a:off x="4295776" y="1815305"/>
            <a:ext cx="360362" cy="360362"/>
          </a:xfrm>
          <a:noFill/>
        </p:spPr>
        <p:txBody>
          <a:bodyPr anchor="ctr" anchorCtr="0"/>
          <a:lstStyle>
            <a:lvl1pPr marL="0" indent="0" algn="ctr">
              <a:buNone/>
              <a:defRPr sz="1000">
                <a:solidFill>
                  <a:schemeClr val="accent2"/>
                </a:solidFill>
                <a:latin typeface="+mn-lt"/>
              </a:defRPr>
            </a:lvl1pPr>
          </a:lstStyle>
          <a:p>
            <a:pPr lvl="0"/>
            <a:r>
              <a:rPr lang="en-GB"/>
              <a:t>icon</a:t>
            </a:r>
          </a:p>
        </p:txBody>
      </p:sp>
      <p:sp>
        <p:nvSpPr>
          <p:cNvPr id="18" name="Picture Placeholder 15">
            <a:extLst>
              <a:ext uri="{FF2B5EF4-FFF2-40B4-BE49-F238E27FC236}">
                <a16:creationId xmlns:a16="http://schemas.microsoft.com/office/drawing/2014/main" id="{222353BC-D3DC-BA3E-0558-E3C87FF2BDCC}"/>
              </a:ext>
            </a:extLst>
          </p:cNvPr>
          <p:cNvSpPr>
            <a:spLocks noGrp="1"/>
          </p:cNvSpPr>
          <p:nvPr>
            <p:ph type="pic" sz="quarter" idx="22" hasCustomPrompt="1"/>
          </p:nvPr>
        </p:nvSpPr>
        <p:spPr>
          <a:xfrm>
            <a:off x="8040687" y="1815305"/>
            <a:ext cx="360362" cy="360362"/>
          </a:xfrm>
          <a:noFill/>
        </p:spPr>
        <p:txBody>
          <a:bodyPr anchor="ctr" anchorCtr="0"/>
          <a:lstStyle>
            <a:lvl1pPr marL="0" indent="0" algn="ctr">
              <a:buNone/>
              <a:defRPr sz="1000">
                <a:solidFill>
                  <a:schemeClr val="accent2"/>
                </a:solidFill>
                <a:latin typeface="+mn-lt"/>
              </a:defRPr>
            </a:lvl1pPr>
          </a:lstStyle>
          <a:p>
            <a:pPr lvl="0"/>
            <a:r>
              <a:rPr lang="en-GB"/>
              <a:t>icon</a:t>
            </a:r>
          </a:p>
        </p:txBody>
      </p:sp>
      <p:sp>
        <p:nvSpPr>
          <p:cNvPr id="19" name="Picture Placeholder 15">
            <a:extLst>
              <a:ext uri="{FF2B5EF4-FFF2-40B4-BE49-F238E27FC236}">
                <a16:creationId xmlns:a16="http://schemas.microsoft.com/office/drawing/2014/main" id="{470F1949-6467-FE3B-E626-1F303399B974}"/>
              </a:ext>
            </a:extLst>
          </p:cNvPr>
          <p:cNvSpPr>
            <a:spLocks noGrp="1"/>
          </p:cNvSpPr>
          <p:nvPr>
            <p:ph type="pic" sz="quarter" idx="23" hasCustomPrompt="1"/>
          </p:nvPr>
        </p:nvSpPr>
        <p:spPr>
          <a:xfrm>
            <a:off x="550863" y="3975101"/>
            <a:ext cx="360362" cy="360362"/>
          </a:xfrm>
          <a:noFill/>
        </p:spPr>
        <p:txBody>
          <a:bodyPr anchor="ctr" anchorCtr="0"/>
          <a:lstStyle>
            <a:lvl1pPr marL="0" indent="0" algn="ctr">
              <a:buNone/>
              <a:defRPr sz="1000">
                <a:solidFill>
                  <a:schemeClr val="accent2"/>
                </a:solidFill>
                <a:latin typeface="+mn-lt"/>
              </a:defRPr>
            </a:lvl1pPr>
          </a:lstStyle>
          <a:p>
            <a:pPr lvl="0"/>
            <a:r>
              <a:rPr lang="en-GB"/>
              <a:t>icon</a:t>
            </a:r>
          </a:p>
        </p:txBody>
      </p:sp>
      <p:sp>
        <p:nvSpPr>
          <p:cNvPr id="20" name="Picture Placeholder 15">
            <a:extLst>
              <a:ext uri="{FF2B5EF4-FFF2-40B4-BE49-F238E27FC236}">
                <a16:creationId xmlns:a16="http://schemas.microsoft.com/office/drawing/2014/main" id="{ED0BCDCE-72FA-F3E6-C968-84566E1BEF5B}"/>
              </a:ext>
            </a:extLst>
          </p:cNvPr>
          <p:cNvSpPr>
            <a:spLocks noGrp="1"/>
          </p:cNvSpPr>
          <p:nvPr>
            <p:ph type="pic" sz="quarter" idx="24" hasCustomPrompt="1"/>
          </p:nvPr>
        </p:nvSpPr>
        <p:spPr>
          <a:xfrm>
            <a:off x="4295776" y="3975101"/>
            <a:ext cx="360362" cy="360362"/>
          </a:xfrm>
          <a:noFill/>
        </p:spPr>
        <p:txBody>
          <a:bodyPr anchor="ctr" anchorCtr="0"/>
          <a:lstStyle>
            <a:lvl1pPr marL="0" indent="0" algn="ctr">
              <a:buNone/>
              <a:defRPr sz="1000">
                <a:solidFill>
                  <a:schemeClr val="accent2"/>
                </a:solidFill>
                <a:latin typeface="+mn-lt"/>
              </a:defRPr>
            </a:lvl1pPr>
          </a:lstStyle>
          <a:p>
            <a:pPr lvl="0"/>
            <a:r>
              <a:rPr lang="en-GB"/>
              <a:t>icon</a:t>
            </a:r>
          </a:p>
        </p:txBody>
      </p:sp>
      <p:sp>
        <p:nvSpPr>
          <p:cNvPr id="21" name="Picture Placeholder 15">
            <a:extLst>
              <a:ext uri="{FF2B5EF4-FFF2-40B4-BE49-F238E27FC236}">
                <a16:creationId xmlns:a16="http://schemas.microsoft.com/office/drawing/2014/main" id="{95AC45EB-6812-379E-D631-F1DE40638311}"/>
              </a:ext>
            </a:extLst>
          </p:cNvPr>
          <p:cNvSpPr>
            <a:spLocks noGrp="1"/>
          </p:cNvSpPr>
          <p:nvPr>
            <p:ph type="pic" sz="quarter" idx="25" hasCustomPrompt="1"/>
          </p:nvPr>
        </p:nvSpPr>
        <p:spPr>
          <a:xfrm>
            <a:off x="8040687" y="3975101"/>
            <a:ext cx="360362" cy="360362"/>
          </a:xfrm>
          <a:noFill/>
        </p:spPr>
        <p:txBody>
          <a:bodyPr anchor="ctr" anchorCtr="0"/>
          <a:lstStyle>
            <a:lvl1pPr marL="0" indent="0" algn="ctr">
              <a:buNone/>
              <a:defRPr sz="1000">
                <a:solidFill>
                  <a:schemeClr val="accent2"/>
                </a:solidFill>
                <a:latin typeface="+mn-lt"/>
              </a:defRPr>
            </a:lvl1pPr>
          </a:lstStyle>
          <a:p>
            <a:pPr lvl="0"/>
            <a:r>
              <a:rPr lang="en-GB"/>
              <a:t>icon</a:t>
            </a:r>
          </a:p>
        </p:txBody>
      </p:sp>
      <p:sp>
        <p:nvSpPr>
          <p:cNvPr id="5" name="Text Placeholder 12">
            <a:extLst>
              <a:ext uri="{FF2B5EF4-FFF2-40B4-BE49-F238E27FC236}">
                <a16:creationId xmlns:a16="http://schemas.microsoft.com/office/drawing/2014/main" id="{9A6FB466-17DF-825B-8CFE-D36B7DFFAAC9}"/>
              </a:ext>
            </a:extLst>
          </p:cNvPr>
          <p:cNvSpPr>
            <a:spLocks noGrp="1"/>
          </p:cNvSpPr>
          <p:nvPr>
            <p:ph type="body" sz="quarter" idx="41" hasCustomPrompt="1"/>
          </p:nvPr>
        </p:nvSpPr>
        <p:spPr>
          <a:xfrm>
            <a:off x="550864" y="2354265"/>
            <a:ext cx="3204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One</a:t>
            </a:r>
          </a:p>
        </p:txBody>
      </p:sp>
      <p:sp>
        <p:nvSpPr>
          <p:cNvPr id="9" name="Text Placeholder 12">
            <a:extLst>
              <a:ext uri="{FF2B5EF4-FFF2-40B4-BE49-F238E27FC236}">
                <a16:creationId xmlns:a16="http://schemas.microsoft.com/office/drawing/2014/main" id="{EBA31540-DD60-C1FE-84D9-AB3B913DE24E}"/>
              </a:ext>
            </a:extLst>
          </p:cNvPr>
          <p:cNvSpPr>
            <a:spLocks noGrp="1"/>
          </p:cNvSpPr>
          <p:nvPr>
            <p:ph type="body" sz="quarter" idx="45" hasCustomPrompt="1"/>
          </p:nvPr>
        </p:nvSpPr>
        <p:spPr>
          <a:xfrm>
            <a:off x="4301240" y="2354265"/>
            <a:ext cx="3204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wo</a:t>
            </a:r>
          </a:p>
        </p:txBody>
      </p:sp>
      <p:sp>
        <p:nvSpPr>
          <p:cNvPr id="15" name="Text Placeholder 12">
            <a:extLst>
              <a:ext uri="{FF2B5EF4-FFF2-40B4-BE49-F238E27FC236}">
                <a16:creationId xmlns:a16="http://schemas.microsoft.com/office/drawing/2014/main" id="{47A08AD4-EF40-3EEE-D086-FAFE12BF8572}"/>
              </a:ext>
            </a:extLst>
          </p:cNvPr>
          <p:cNvSpPr>
            <a:spLocks noGrp="1"/>
          </p:cNvSpPr>
          <p:nvPr>
            <p:ph type="body" sz="quarter" idx="67" hasCustomPrompt="1"/>
          </p:nvPr>
        </p:nvSpPr>
        <p:spPr>
          <a:xfrm>
            <a:off x="8039099" y="2354265"/>
            <a:ext cx="3204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hree</a:t>
            </a:r>
          </a:p>
        </p:txBody>
      </p:sp>
      <p:sp>
        <p:nvSpPr>
          <p:cNvPr id="22" name="Text Placeholder 12">
            <a:extLst>
              <a:ext uri="{FF2B5EF4-FFF2-40B4-BE49-F238E27FC236}">
                <a16:creationId xmlns:a16="http://schemas.microsoft.com/office/drawing/2014/main" id="{488A00D0-DFE0-4018-7DEA-DB963BB63359}"/>
              </a:ext>
            </a:extLst>
          </p:cNvPr>
          <p:cNvSpPr>
            <a:spLocks noGrp="1"/>
          </p:cNvSpPr>
          <p:nvPr>
            <p:ph type="body" sz="quarter" idx="68" hasCustomPrompt="1"/>
          </p:nvPr>
        </p:nvSpPr>
        <p:spPr>
          <a:xfrm>
            <a:off x="550864" y="4514851"/>
            <a:ext cx="3204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Four</a:t>
            </a:r>
          </a:p>
        </p:txBody>
      </p:sp>
      <p:sp>
        <p:nvSpPr>
          <p:cNvPr id="23" name="Text Placeholder 12">
            <a:extLst>
              <a:ext uri="{FF2B5EF4-FFF2-40B4-BE49-F238E27FC236}">
                <a16:creationId xmlns:a16="http://schemas.microsoft.com/office/drawing/2014/main" id="{35021A18-46DC-3008-76D5-10DA7AF4F84A}"/>
              </a:ext>
            </a:extLst>
          </p:cNvPr>
          <p:cNvSpPr>
            <a:spLocks noGrp="1"/>
          </p:cNvSpPr>
          <p:nvPr>
            <p:ph type="body" sz="quarter" idx="69" hasCustomPrompt="1"/>
          </p:nvPr>
        </p:nvSpPr>
        <p:spPr>
          <a:xfrm>
            <a:off x="4301240" y="4514851"/>
            <a:ext cx="3204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Five</a:t>
            </a:r>
          </a:p>
        </p:txBody>
      </p:sp>
      <p:sp>
        <p:nvSpPr>
          <p:cNvPr id="24" name="Text Placeholder 12">
            <a:extLst>
              <a:ext uri="{FF2B5EF4-FFF2-40B4-BE49-F238E27FC236}">
                <a16:creationId xmlns:a16="http://schemas.microsoft.com/office/drawing/2014/main" id="{69000ADE-09E6-91EC-6A61-155867714C5E}"/>
              </a:ext>
            </a:extLst>
          </p:cNvPr>
          <p:cNvSpPr>
            <a:spLocks noGrp="1"/>
          </p:cNvSpPr>
          <p:nvPr>
            <p:ph type="body" sz="quarter" idx="70" hasCustomPrompt="1"/>
          </p:nvPr>
        </p:nvSpPr>
        <p:spPr>
          <a:xfrm>
            <a:off x="8039099" y="4514851"/>
            <a:ext cx="3204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Six</a:t>
            </a:r>
          </a:p>
        </p:txBody>
      </p:sp>
    </p:spTree>
    <p:extLst>
      <p:ext uri="{BB962C8B-B14F-4D97-AF65-F5344CB8AC3E}">
        <p14:creationId xmlns:p14="http://schemas.microsoft.com/office/powerpoint/2010/main" val="211493743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x Pictogram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5" y="368828"/>
            <a:ext cx="10692860"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5" y="752052"/>
            <a:ext cx="10692860"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6" name="Picture Placeholder 15">
            <a:extLst>
              <a:ext uri="{FF2B5EF4-FFF2-40B4-BE49-F238E27FC236}">
                <a16:creationId xmlns:a16="http://schemas.microsoft.com/office/drawing/2014/main" id="{5EA0C833-46C2-988C-0074-D6A83249C216}"/>
              </a:ext>
            </a:extLst>
          </p:cNvPr>
          <p:cNvSpPr>
            <a:spLocks noGrp="1"/>
          </p:cNvSpPr>
          <p:nvPr>
            <p:ph type="pic" sz="quarter" idx="20" hasCustomPrompt="1"/>
          </p:nvPr>
        </p:nvSpPr>
        <p:spPr>
          <a:xfrm>
            <a:off x="551231" y="1815305"/>
            <a:ext cx="936257" cy="892971"/>
          </a:xfrm>
          <a:noFill/>
        </p:spPr>
        <p:txBody>
          <a:bodyPr anchor="ctr" anchorCtr="0"/>
          <a:lstStyle>
            <a:lvl1pPr marL="0" indent="0" algn="ctr">
              <a:spcBef>
                <a:spcPts val="0"/>
              </a:spcBef>
              <a:buNone/>
              <a:defRPr sz="1050">
                <a:solidFill>
                  <a:schemeClr val="accent2"/>
                </a:solidFill>
                <a:latin typeface="+mn-lt"/>
              </a:defRPr>
            </a:lvl1pPr>
          </a:lstStyle>
          <a:p>
            <a:pPr lvl="0"/>
            <a:r>
              <a:rPr lang="en-GB"/>
              <a:t>click or drag </a:t>
            </a:r>
            <a:br>
              <a:rPr lang="en-GB"/>
            </a:br>
            <a:r>
              <a:rPr lang="en-GB"/>
              <a:t>to insert pictogram</a:t>
            </a:r>
          </a:p>
        </p:txBody>
      </p:sp>
      <p:sp>
        <p:nvSpPr>
          <p:cNvPr id="15" name="Text Placeholder 12">
            <a:extLst>
              <a:ext uri="{FF2B5EF4-FFF2-40B4-BE49-F238E27FC236}">
                <a16:creationId xmlns:a16="http://schemas.microsoft.com/office/drawing/2014/main" id="{7E826685-2A04-0F68-4915-A118119AB364}"/>
              </a:ext>
            </a:extLst>
          </p:cNvPr>
          <p:cNvSpPr>
            <a:spLocks noGrp="1"/>
          </p:cNvSpPr>
          <p:nvPr>
            <p:ph type="body" sz="quarter" idx="26"/>
          </p:nvPr>
        </p:nvSpPr>
        <p:spPr>
          <a:xfrm>
            <a:off x="563381" y="3435900"/>
            <a:ext cx="3204000" cy="1979613"/>
          </a:xfrm>
        </p:spPr>
        <p:txBody>
          <a:bodyPr/>
          <a:lstStyle/>
          <a:p>
            <a:pPr lvl="0"/>
            <a:r>
              <a:rPr lang="en-US"/>
              <a:t>Click to edit Master text styles</a:t>
            </a:r>
          </a:p>
          <a:p>
            <a:pPr lvl="1"/>
            <a:r>
              <a:rPr lang="en-US"/>
              <a:t>Second level</a:t>
            </a:r>
          </a:p>
          <a:p>
            <a:pPr lvl="2"/>
            <a:r>
              <a:rPr lang="en-US"/>
              <a:t>Third level</a:t>
            </a:r>
          </a:p>
        </p:txBody>
      </p:sp>
      <p:sp>
        <p:nvSpPr>
          <p:cNvPr id="22" name="Picture Placeholder 15">
            <a:extLst>
              <a:ext uri="{FF2B5EF4-FFF2-40B4-BE49-F238E27FC236}">
                <a16:creationId xmlns:a16="http://schemas.microsoft.com/office/drawing/2014/main" id="{164A5E75-1C3A-DC3D-81BD-E0B3A4964763}"/>
              </a:ext>
            </a:extLst>
          </p:cNvPr>
          <p:cNvSpPr>
            <a:spLocks noGrp="1"/>
          </p:cNvSpPr>
          <p:nvPr>
            <p:ph type="pic" sz="quarter" idx="27" hasCustomPrompt="1"/>
          </p:nvPr>
        </p:nvSpPr>
        <p:spPr>
          <a:xfrm>
            <a:off x="4301608" y="1816649"/>
            <a:ext cx="930792" cy="892971"/>
          </a:xfrm>
          <a:noFill/>
        </p:spPr>
        <p:txBody>
          <a:bodyPr anchor="ctr" anchorCtr="0"/>
          <a:lstStyle>
            <a:lvl1pPr marL="0" indent="0" algn="ctr">
              <a:spcBef>
                <a:spcPts val="0"/>
              </a:spcBef>
              <a:buNone/>
              <a:defRPr sz="1050">
                <a:solidFill>
                  <a:schemeClr val="accent2"/>
                </a:solidFill>
                <a:latin typeface="+mn-lt"/>
              </a:defRPr>
            </a:lvl1pPr>
          </a:lstStyle>
          <a:p>
            <a:pPr lvl="0"/>
            <a:r>
              <a:rPr lang="en-GB"/>
              <a:t>click or drag </a:t>
            </a:r>
            <a:br>
              <a:rPr lang="en-GB"/>
            </a:br>
            <a:r>
              <a:rPr lang="en-GB"/>
              <a:t>to insert pictogram</a:t>
            </a:r>
          </a:p>
        </p:txBody>
      </p:sp>
      <p:sp>
        <p:nvSpPr>
          <p:cNvPr id="23" name="Text Placeholder 12">
            <a:extLst>
              <a:ext uri="{FF2B5EF4-FFF2-40B4-BE49-F238E27FC236}">
                <a16:creationId xmlns:a16="http://schemas.microsoft.com/office/drawing/2014/main" id="{5371896C-3F0D-4AC8-A11F-BDE72D75131C}"/>
              </a:ext>
            </a:extLst>
          </p:cNvPr>
          <p:cNvSpPr>
            <a:spLocks noGrp="1"/>
          </p:cNvSpPr>
          <p:nvPr>
            <p:ph type="body" sz="quarter" idx="28"/>
          </p:nvPr>
        </p:nvSpPr>
        <p:spPr>
          <a:xfrm>
            <a:off x="4301240" y="3437244"/>
            <a:ext cx="3204000" cy="1979613"/>
          </a:xfrm>
        </p:spPr>
        <p:txBody>
          <a:bodyPr/>
          <a:lstStyle/>
          <a:p>
            <a:pPr lvl="0"/>
            <a:r>
              <a:rPr lang="en-US"/>
              <a:t>Click to edit Master text styles</a:t>
            </a:r>
          </a:p>
          <a:p>
            <a:pPr lvl="1"/>
            <a:r>
              <a:rPr lang="en-US"/>
              <a:t>Second level</a:t>
            </a:r>
          </a:p>
          <a:p>
            <a:pPr lvl="2"/>
            <a:r>
              <a:rPr lang="en-US"/>
              <a:t>Third level</a:t>
            </a:r>
          </a:p>
        </p:txBody>
      </p:sp>
      <p:sp>
        <p:nvSpPr>
          <p:cNvPr id="24" name="Picture Placeholder 15">
            <a:extLst>
              <a:ext uri="{FF2B5EF4-FFF2-40B4-BE49-F238E27FC236}">
                <a16:creationId xmlns:a16="http://schemas.microsoft.com/office/drawing/2014/main" id="{113F9B6D-211A-B9B6-4248-1FACCD47C162}"/>
              </a:ext>
            </a:extLst>
          </p:cNvPr>
          <p:cNvSpPr>
            <a:spLocks noGrp="1"/>
          </p:cNvSpPr>
          <p:nvPr>
            <p:ph type="pic" sz="quarter" idx="29" hasCustomPrompt="1"/>
          </p:nvPr>
        </p:nvSpPr>
        <p:spPr>
          <a:xfrm>
            <a:off x="8039099" y="1816892"/>
            <a:ext cx="936257" cy="892971"/>
          </a:xfrm>
          <a:noFill/>
        </p:spPr>
        <p:txBody>
          <a:bodyPr anchor="ctr" anchorCtr="0"/>
          <a:lstStyle>
            <a:lvl1pPr marL="0" indent="0" algn="ctr">
              <a:spcBef>
                <a:spcPts val="0"/>
              </a:spcBef>
              <a:buNone/>
              <a:defRPr sz="1050">
                <a:solidFill>
                  <a:schemeClr val="accent2"/>
                </a:solidFill>
                <a:latin typeface="+mn-lt"/>
              </a:defRPr>
            </a:lvl1pPr>
          </a:lstStyle>
          <a:p>
            <a:pPr lvl="0"/>
            <a:r>
              <a:rPr lang="en-GB"/>
              <a:t>click or drag </a:t>
            </a:r>
            <a:br>
              <a:rPr lang="en-GB"/>
            </a:br>
            <a:r>
              <a:rPr lang="en-GB"/>
              <a:t>to insert pictogram</a:t>
            </a:r>
          </a:p>
        </p:txBody>
      </p:sp>
      <p:sp>
        <p:nvSpPr>
          <p:cNvPr id="25" name="Text Placeholder 12">
            <a:extLst>
              <a:ext uri="{FF2B5EF4-FFF2-40B4-BE49-F238E27FC236}">
                <a16:creationId xmlns:a16="http://schemas.microsoft.com/office/drawing/2014/main" id="{9319EC4E-4AC2-69F0-186B-251CEA53F4F3}"/>
              </a:ext>
            </a:extLst>
          </p:cNvPr>
          <p:cNvSpPr>
            <a:spLocks noGrp="1"/>
          </p:cNvSpPr>
          <p:nvPr>
            <p:ph type="body" sz="quarter" idx="30"/>
          </p:nvPr>
        </p:nvSpPr>
        <p:spPr>
          <a:xfrm>
            <a:off x="8039099" y="3437487"/>
            <a:ext cx="3204000" cy="1979613"/>
          </a:xfrm>
        </p:spPr>
        <p:txBody>
          <a:bodyPr/>
          <a:lstStyle/>
          <a:p>
            <a:pPr lvl="0"/>
            <a:r>
              <a:rPr lang="en-US"/>
              <a:t>Click to edit Master text styles</a:t>
            </a:r>
          </a:p>
          <a:p>
            <a:pPr lvl="1"/>
            <a:r>
              <a:rPr lang="en-US"/>
              <a:t>Second level</a:t>
            </a:r>
          </a:p>
          <a:p>
            <a:pPr lvl="2"/>
            <a:r>
              <a:rPr lang="en-US"/>
              <a:t>Third level</a:t>
            </a:r>
          </a:p>
        </p:txBody>
      </p:sp>
      <p:sp>
        <p:nvSpPr>
          <p:cNvPr id="5" name="Text Placeholder 12">
            <a:extLst>
              <a:ext uri="{FF2B5EF4-FFF2-40B4-BE49-F238E27FC236}">
                <a16:creationId xmlns:a16="http://schemas.microsoft.com/office/drawing/2014/main" id="{B2482E55-CD47-6253-53E5-42929A12AC26}"/>
              </a:ext>
            </a:extLst>
          </p:cNvPr>
          <p:cNvSpPr>
            <a:spLocks noGrp="1"/>
          </p:cNvSpPr>
          <p:nvPr>
            <p:ph type="body" sz="quarter" idx="41" hasCustomPrompt="1"/>
          </p:nvPr>
        </p:nvSpPr>
        <p:spPr>
          <a:xfrm>
            <a:off x="550864" y="3068637"/>
            <a:ext cx="3204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One</a:t>
            </a:r>
          </a:p>
        </p:txBody>
      </p:sp>
      <p:sp>
        <p:nvSpPr>
          <p:cNvPr id="6" name="Text Placeholder 12">
            <a:extLst>
              <a:ext uri="{FF2B5EF4-FFF2-40B4-BE49-F238E27FC236}">
                <a16:creationId xmlns:a16="http://schemas.microsoft.com/office/drawing/2014/main" id="{78A5A533-705A-55BF-9640-A52E87924F43}"/>
              </a:ext>
            </a:extLst>
          </p:cNvPr>
          <p:cNvSpPr>
            <a:spLocks noGrp="1"/>
          </p:cNvSpPr>
          <p:nvPr>
            <p:ph type="body" sz="quarter" idx="45" hasCustomPrompt="1"/>
          </p:nvPr>
        </p:nvSpPr>
        <p:spPr>
          <a:xfrm>
            <a:off x="4301240" y="3068637"/>
            <a:ext cx="3204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wo</a:t>
            </a:r>
          </a:p>
        </p:txBody>
      </p:sp>
      <p:sp>
        <p:nvSpPr>
          <p:cNvPr id="7" name="Text Placeholder 12">
            <a:extLst>
              <a:ext uri="{FF2B5EF4-FFF2-40B4-BE49-F238E27FC236}">
                <a16:creationId xmlns:a16="http://schemas.microsoft.com/office/drawing/2014/main" id="{6B81F170-703F-7395-84C2-03E6D0796583}"/>
              </a:ext>
            </a:extLst>
          </p:cNvPr>
          <p:cNvSpPr>
            <a:spLocks noGrp="1"/>
          </p:cNvSpPr>
          <p:nvPr>
            <p:ph type="body" sz="quarter" idx="67" hasCustomPrompt="1"/>
          </p:nvPr>
        </p:nvSpPr>
        <p:spPr>
          <a:xfrm>
            <a:off x="8039099" y="3068637"/>
            <a:ext cx="3204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hree</a:t>
            </a:r>
          </a:p>
        </p:txBody>
      </p:sp>
    </p:spTree>
    <p:extLst>
      <p:ext uri="{BB962C8B-B14F-4D97-AF65-F5344CB8AC3E}">
        <p14:creationId xmlns:p14="http://schemas.microsoft.com/office/powerpoint/2010/main" val="20405306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18/2025</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x Pictogram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10692859"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5" y="752052"/>
            <a:ext cx="10692858"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6" name="Picture Placeholder 15">
            <a:extLst>
              <a:ext uri="{FF2B5EF4-FFF2-40B4-BE49-F238E27FC236}">
                <a16:creationId xmlns:a16="http://schemas.microsoft.com/office/drawing/2014/main" id="{5EA0C833-46C2-988C-0074-D6A83249C216}"/>
              </a:ext>
            </a:extLst>
          </p:cNvPr>
          <p:cNvSpPr>
            <a:spLocks noGrp="1"/>
          </p:cNvSpPr>
          <p:nvPr>
            <p:ph type="pic" sz="quarter" idx="20" hasCustomPrompt="1"/>
          </p:nvPr>
        </p:nvSpPr>
        <p:spPr>
          <a:xfrm>
            <a:off x="551231" y="1815304"/>
            <a:ext cx="936257" cy="892971"/>
          </a:xfrm>
          <a:noFill/>
        </p:spPr>
        <p:txBody>
          <a:bodyPr anchor="ctr" anchorCtr="0"/>
          <a:lstStyle>
            <a:lvl1pPr marL="0" indent="0" algn="ctr">
              <a:spcBef>
                <a:spcPts val="0"/>
              </a:spcBef>
              <a:buNone/>
              <a:defRPr sz="1000">
                <a:solidFill>
                  <a:schemeClr val="accent2"/>
                </a:solidFill>
                <a:latin typeface="+mn-lt"/>
              </a:defRPr>
            </a:lvl1pPr>
          </a:lstStyle>
          <a:p>
            <a:pPr lvl="0"/>
            <a:r>
              <a:rPr lang="en-GB"/>
              <a:t>click or drag </a:t>
            </a:r>
            <a:br>
              <a:rPr lang="en-GB"/>
            </a:br>
            <a:r>
              <a:rPr lang="en-GB"/>
              <a:t>to insert pictogram</a:t>
            </a:r>
          </a:p>
        </p:txBody>
      </p:sp>
      <p:sp>
        <p:nvSpPr>
          <p:cNvPr id="15" name="Text Placeholder 12">
            <a:extLst>
              <a:ext uri="{FF2B5EF4-FFF2-40B4-BE49-F238E27FC236}">
                <a16:creationId xmlns:a16="http://schemas.microsoft.com/office/drawing/2014/main" id="{7E826685-2A04-0F68-4915-A118119AB364}"/>
              </a:ext>
            </a:extLst>
          </p:cNvPr>
          <p:cNvSpPr>
            <a:spLocks noGrp="1"/>
          </p:cNvSpPr>
          <p:nvPr>
            <p:ph type="body" sz="quarter" idx="26"/>
          </p:nvPr>
        </p:nvSpPr>
        <p:spPr>
          <a:xfrm>
            <a:off x="550864" y="3429000"/>
            <a:ext cx="2268000" cy="1979613"/>
          </a:xfrm>
        </p:spPr>
        <p:txBody>
          <a:bodyPr/>
          <a:lstStyle/>
          <a:p>
            <a:pPr lvl="0"/>
            <a:r>
              <a:rPr lang="en-US"/>
              <a:t>Click to edit Master text styles</a:t>
            </a:r>
          </a:p>
          <a:p>
            <a:pPr lvl="1"/>
            <a:r>
              <a:rPr lang="en-US"/>
              <a:t>Second level</a:t>
            </a:r>
          </a:p>
          <a:p>
            <a:pPr lvl="2"/>
            <a:r>
              <a:rPr lang="en-US"/>
              <a:t>Third level</a:t>
            </a:r>
          </a:p>
        </p:txBody>
      </p:sp>
      <p:sp>
        <p:nvSpPr>
          <p:cNvPr id="22" name="Picture Placeholder 15">
            <a:extLst>
              <a:ext uri="{FF2B5EF4-FFF2-40B4-BE49-F238E27FC236}">
                <a16:creationId xmlns:a16="http://schemas.microsoft.com/office/drawing/2014/main" id="{164A5E75-1C3A-DC3D-81BD-E0B3A4964763}"/>
              </a:ext>
            </a:extLst>
          </p:cNvPr>
          <p:cNvSpPr>
            <a:spLocks noGrp="1"/>
          </p:cNvSpPr>
          <p:nvPr>
            <p:ph type="pic" sz="quarter" idx="27" hasCustomPrompt="1"/>
          </p:nvPr>
        </p:nvSpPr>
        <p:spPr>
          <a:xfrm>
            <a:off x="3359518" y="1815304"/>
            <a:ext cx="936257" cy="892971"/>
          </a:xfrm>
          <a:noFill/>
        </p:spPr>
        <p:txBody>
          <a:bodyPr anchor="ctr" anchorCtr="0"/>
          <a:lstStyle>
            <a:lvl1pPr marL="0" indent="0" algn="ctr">
              <a:spcBef>
                <a:spcPts val="0"/>
              </a:spcBef>
              <a:buNone/>
              <a:defRPr sz="1000">
                <a:solidFill>
                  <a:schemeClr val="accent2"/>
                </a:solidFill>
                <a:latin typeface="+mn-lt"/>
              </a:defRPr>
            </a:lvl1pPr>
          </a:lstStyle>
          <a:p>
            <a:pPr lvl="0"/>
            <a:r>
              <a:rPr lang="en-GB"/>
              <a:t>click or drag </a:t>
            </a:r>
            <a:br>
              <a:rPr lang="en-GB"/>
            </a:br>
            <a:r>
              <a:rPr lang="en-GB"/>
              <a:t>to insert pictogram</a:t>
            </a:r>
          </a:p>
        </p:txBody>
      </p:sp>
      <p:sp>
        <p:nvSpPr>
          <p:cNvPr id="23" name="Text Placeholder 12">
            <a:extLst>
              <a:ext uri="{FF2B5EF4-FFF2-40B4-BE49-F238E27FC236}">
                <a16:creationId xmlns:a16="http://schemas.microsoft.com/office/drawing/2014/main" id="{5371896C-3F0D-4AC8-A11F-BDE72D75131C}"/>
              </a:ext>
            </a:extLst>
          </p:cNvPr>
          <p:cNvSpPr>
            <a:spLocks noGrp="1"/>
          </p:cNvSpPr>
          <p:nvPr>
            <p:ph type="body" sz="quarter" idx="28"/>
          </p:nvPr>
        </p:nvSpPr>
        <p:spPr>
          <a:xfrm>
            <a:off x="3359151" y="3429000"/>
            <a:ext cx="2268000" cy="1979613"/>
          </a:xfrm>
        </p:spPr>
        <p:txBody>
          <a:bodyPr/>
          <a:lstStyle/>
          <a:p>
            <a:pPr lvl="0"/>
            <a:r>
              <a:rPr lang="en-US"/>
              <a:t>Click to edit Master text styles</a:t>
            </a:r>
          </a:p>
          <a:p>
            <a:pPr lvl="1"/>
            <a:r>
              <a:rPr lang="en-US"/>
              <a:t>Second level</a:t>
            </a:r>
          </a:p>
          <a:p>
            <a:pPr lvl="2"/>
            <a:r>
              <a:rPr lang="en-US"/>
              <a:t>Third level</a:t>
            </a:r>
          </a:p>
        </p:txBody>
      </p:sp>
      <p:sp>
        <p:nvSpPr>
          <p:cNvPr id="24" name="Picture Placeholder 15">
            <a:extLst>
              <a:ext uri="{FF2B5EF4-FFF2-40B4-BE49-F238E27FC236}">
                <a16:creationId xmlns:a16="http://schemas.microsoft.com/office/drawing/2014/main" id="{113F9B6D-211A-B9B6-4248-1FACCD47C162}"/>
              </a:ext>
            </a:extLst>
          </p:cNvPr>
          <p:cNvSpPr>
            <a:spLocks noGrp="1"/>
          </p:cNvSpPr>
          <p:nvPr>
            <p:ph type="pic" sz="quarter" idx="29" hasCustomPrompt="1"/>
          </p:nvPr>
        </p:nvSpPr>
        <p:spPr>
          <a:xfrm>
            <a:off x="6167805" y="1815304"/>
            <a:ext cx="936257" cy="892971"/>
          </a:xfrm>
          <a:noFill/>
        </p:spPr>
        <p:txBody>
          <a:bodyPr anchor="ctr" anchorCtr="0"/>
          <a:lstStyle>
            <a:lvl1pPr marL="0" indent="0" algn="ctr">
              <a:spcBef>
                <a:spcPts val="0"/>
              </a:spcBef>
              <a:buNone/>
              <a:defRPr sz="1000">
                <a:solidFill>
                  <a:schemeClr val="accent2"/>
                </a:solidFill>
                <a:latin typeface="+mn-lt"/>
              </a:defRPr>
            </a:lvl1pPr>
          </a:lstStyle>
          <a:p>
            <a:pPr lvl="0"/>
            <a:r>
              <a:rPr lang="en-GB"/>
              <a:t>click or drag </a:t>
            </a:r>
            <a:br>
              <a:rPr lang="en-GB"/>
            </a:br>
            <a:r>
              <a:rPr lang="en-GB"/>
              <a:t>to insert pictogram</a:t>
            </a:r>
          </a:p>
        </p:txBody>
      </p:sp>
      <p:sp>
        <p:nvSpPr>
          <p:cNvPr id="25" name="Text Placeholder 12">
            <a:extLst>
              <a:ext uri="{FF2B5EF4-FFF2-40B4-BE49-F238E27FC236}">
                <a16:creationId xmlns:a16="http://schemas.microsoft.com/office/drawing/2014/main" id="{9319EC4E-4AC2-69F0-186B-251CEA53F4F3}"/>
              </a:ext>
            </a:extLst>
          </p:cNvPr>
          <p:cNvSpPr>
            <a:spLocks noGrp="1"/>
          </p:cNvSpPr>
          <p:nvPr>
            <p:ph type="body" sz="quarter" idx="30"/>
          </p:nvPr>
        </p:nvSpPr>
        <p:spPr>
          <a:xfrm>
            <a:off x="6167438" y="3429000"/>
            <a:ext cx="2268000" cy="1979613"/>
          </a:xfrm>
        </p:spPr>
        <p:txBody>
          <a:bodyPr/>
          <a:lstStyle/>
          <a:p>
            <a:pPr lvl="0"/>
            <a:r>
              <a:rPr lang="en-US"/>
              <a:t>Click to edit Master text styles</a:t>
            </a:r>
          </a:p>
          <a:p>
            <a:pPr lvl="1"/>
            <a:r>
              <a:rPr lang="en-US"/>
              <a:t>Second level</a:t>
            </a:r>
          </a:p>
          <a:p>
            <a:pPr lvl="2"/>
            <a:r>
              <a:rPr lang="en-US"/>
              <a:t>Third level</a:t>
            </a:r>
          </a:p>
        </p:txBody>
      </p:sp>
      <p:sp>
        <p:nvSpPr>
          <p:cNvPr id="26" name="Picture Placeholder 15">
            <a:extLst>
              <a:ext uri="{FF2B5EF4-FFF2-40B4-BE49-F238E27FC236}">
                <a16:creationId xmlns:a16="http://schemas.microsoft.com/office/drawing/2014/main" id="{B2667B7A-D629-4091-56C6-D363D67E793B}"/>
              </a:ext>
            </a:extLst>
          </p:cNvPr>
          <p:cNvSpPr>
            <a:spLocks noGrp="1"/>
          </p:cNvSpPr>
          <p:nvPr>
            <p:ph type="pic" sz="quarter" idx="31" hasCustomPrompt="1"/>
          </p:nvPr>
        </p:nvSpPr>
        <p:spPr>
          <a:xfrm>
            <a:off x="8976091" y="1815304"/>
            <a:ext cx="936257" cy="892971"/>
          </a:xfrm>
          <a:noFill/>
        </p:spPr>
        <p:txBody>
          <a:bodyPr anchor="ctr" anchorCtr="0"/>
          <a:lstStyle>
            <a:lvl1pPr marL="0" indent="0" algn="ctr">
              <a:spcBef>
                <a:spcPts val="0"/>
              </a:spcBef>
              <a:buNone/>
              <a:defRPr sz="1000">
                <a:solidFill>
                  <a:schemeClr val="accent2"/>
                </a:solidFill>
                <a:latin typeface="+mn-lt"/>
              </a:defRPr>
            </a:lvl1pPr>
          </a:lstStyle>
          <a:p>
            <a:pPr lvl="0"/>
            <a:r>
              <a:rPr lang="en-GB"/>
              <a:t>click or drag </a:t>
            </a:r>
            <a:br>
              <a:rPr lang="en-GB"/>
            </a:br>
            <a:r>
              <a:rPr lang="en-GB" err="1"/>
              <a:t>toinsert</a:t>
            </a:r>
            <a:r>
              <a:rPr lang="en-GB"/>
              <a:t> pictogram</a:t>
            </a:r>
          </a:p>
        </p:txBody>
      </p:sp>
      <p:sp>
        <p:nvSpPr>
          <p:cNvPr id="27" name="Text Placeholder 12">
            <a:extLst>
              <a:ext uri="{FF2B5EF4-FFF2-40B4-BE49-F238E27FC236}">
                <a16:creationId xmlns:a16="http://schemas.microsoft.com/office/drawing/2014/main" id="{CA6B12B2-861A-5081-56F5-2053A7672719}"/>
              </a:ext>
            </a:extLst>
          </p:cNvPr>
          <p:cNvSpPr>
            <a:spLocks noGrp="1"/>
          </p:cNvSpPr>
          <p:nvPr>
            <p:ph type="body" sz="quarter" idx="32"/>
          </p:nvPr>
        </p:nvSpPr>
        <p:spPr>
          <a:xfrm>
            <a:off x="8975724" y="3429000"/>
            <a:ext cx="2268000" cy="1979613"/>
          </a:xfrm>
        </p:spPr>
        <p:txBody>
          <a:bodyPr/>
          <a:lstStyle/>
          <a:p>
            <a:pPr lvl="0"/>
            <a:r>
              <a:rPr lang="en-US"/>
              <a:t>Click to edit Master text styles</a:t>
            </a:r>
          </a:p>
          <a:p>
            <a:pPr lvl="1"/>
            <a:r>
              <a:rPr lang="en-US"/>
              <a:t>Second level</a:t>
            </a:r>
          </a:p>
          <a:p>
            <a:pPr lvl="2"/>
            <a:r>
              <a:rPr lang="en-US"/>
              <a:t>Third level</a:t>
            </a:r>
          </a:p>
        </p:txBody>
      </p:sp>
      <p:sp>
        <p:nvSpPr>
          <p:cNvPr id="5" name="Text Placeholder 12">
            <a:extLst>
              <a:ext uri="{FF2B5EF4-FFF2-40B4-BE49-F238E27FC236}">
                <a16:creationId xmlns:a16="http://schemas.microsoft.com/office/drawing/2014/main" id="{169E0A6E-F6FC-97AD-7624-C07FE47220AD}"/>
              </a:ext>
            </a:extLst>
          </p:cNvPr>
          <p:cNvSpPr>
            <a:spLocks noGrp="1"/>
          </p:cNvSpPr>
          <p:nvPr>
            <p:ph type="body" sz="quarter" idx="41" hasCustomPrompt="1"/>
          </p:nvPr>
        </p:nvSpPr>
        <p:spPr>
          <a:xfrm>
            <a:off x="550864" y="3068637"/>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One</a:t>
            </a:r>
          </a:p>
        </p:txBody>
      </p:sp>
      <p:sp>
        <p:nvSpPr>
          <p:cNvPr id="6" name="Text Placeholder 12">
            <a:extLst>
              <a:ext uri="{FF2B5EF4-FFF2-40B4-BE49-F238E27FC236}">
                <a16:creationId xmlns:a16="http://schemas.microsoft.com/office/drawing/2014/main" id="{C8EA8597-2A4A-0CD6-F43E-581D734CDCAD}"/>
              </a:ext>
            </a:extLst>
          </p:cNvPr>
          <p:cNvSpPr>
            <a:spLocks noGrp="1"/>
          </p:cNvSpPr>
          <p:nvPr>
            <p:ph type="body" sz="quarter" idx="45" hasCustomPrompt="1"/>
          </p:nvPr>
        </p:nvSpPr>
        <p:spPr>
          <a:xfrm>
            <a:off x="3364873" y="3068637"/>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wo</a:t>
            </a:r>
          </a:p>
        </p:txBody>
      </p:sp>
      <p:sp>
        <p:nvSpPr>
          <p:cNvPr id="7" name="Text Placeholder 12">
            <a:extLst>
              <a:ext uri="{FF2B5EF4-FFF2-40B4-BE49-F238E27FC236}">
                <a16:creationId xmlns:a16="http://schemas.microsoft.com/office/drawing/2014/main" id="{68A568C4-ADFE-5A6C-2391-882D49319A87}"/>
              </a:ext>
            </a:extLst>
          </p:cNvPr>
          <p:cNvSpPr>
            <a:spLocks noGrp="1"/>
          </p:cNvSpPr>
          <p:nvPr>
            <p:ph type="body" sz="quarter" idx="67" hasCustomPrompt="1"/>
          </p:nvPr>
        </p:nvSpPr>
        <p:spPr>
          <a:xfrm>
            <a:off x="6167438" y="3068637"/>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hree</a:t>
            </a:r>
          </a:p>
        </p:txBody>
      </p:sp>
      <p:sp>
        <p:nvSpPr>
          <p:cNvPr id="9" name="Text Placeholder 12">
            <a:extLst>
              <a:ext uri="{FF2B5EF4-FFF2-40B4-BE49-F238E27FC236}">
                <a16:creationId xmlns:a16="http://schemas.microsoft.com/office/drawing/2014/main" id="{27AAA7D2-9EA7-4887-CE73-9A4FFE173C8C}"/>
              </a:ext>
            </a:extLst>
          </p:cNvPr>
          <p:cNvSpPr>
            <a:spLocks noGrp="1"/>
          </p:cNvSpPr>
          <p:nvPr>
            <p:ph type="body" sz="quarter" idx="70" hasCustomPrompt="1"/>
          </p:nvPr>
        </p:nvSpPr>
        <p:spPr>
          <a:xfrm>
            <a:off x="8982703" y="3068637"/>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Four</a:t>
            </a:r>
          </a:p>
        </p:txBody>
      </p:sp>
    </p:spTree>
    <p:extLst>
      <p:ext uri="{BB962C8B-B14F-4D97-AF65-F5344CB8AC3E}">
        <p14:creationId xmlns:p14="http://schemas.microsoft.com/office/powerpoint/2010/main" val="383674692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x Columns - Pastel">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1A42F6E-246E-1108-4C12-F80987CC1815}"/>
              </a:ext>
            </a:extLst>
          </p:cNvPr>
          <p:cNvSpPr/>
          <p:nvPr userDrawn="1"/>
        </p:nvSpPr>
        <p:spPr>
          <a:xfrm>
            <a:off x="7896226" y="0"/>
            <a:ext cx="4295774" cy="6858000"/>
          </a:xfrm>
          <a:prstGeom prst="rect">
            <a:avLst/>
          </a:prstGeom>
          <a:solidFill>
            <a:srgbClr val="FAF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8" name="Text Placeholder 12">
            <a:extLst>
              <a:ext uri="{FF2B5EF4-FFF2-40B4-BE49-F238E27FC236}">
                <a16:creationId xmlns:a16="http://schemas.microsoft.com/office/drawing/2014/main" id="{3F44278E-E901-C1DE-92E4-ACA715734969}"/>
              </a:ext>
            </a:extLst>
          </p:cNvPr>
          <p:cNvSpPr>
            <a:spLocks noGrp="1"/>
          </p:cNvSpPr>
          <p:nvPr>
            <p:ph type="body" sz="quarter" idx="14"/>
          </p:nvPr>
        </p:nvSpPr>
        <p:spPr>
          <a:xfrm>
            <a:off x="550864"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9" name="Text Placeholder 12">
            <a:extLst>
              <a:ext uri="{FF2B5EF4-FFF2-40B4-BE49-F238E27FC236}">
                <a16:creationId xmlns:a16="http://schemas.microsoft.com/office/drawing/2014/main" id="{BF118552-E3C1-3540-F57A-9CA2F0C7D623}"/>
              </a:ext>
            </a:extLst>
          </p:cNvPr>
          <p:cNvSpPr>
            <a:spLocks noGrp="1"/>
          </p:cNvSpPr>
          <p:nvPr>
            <p:ph type="body" sz="quarter" idx="17"/>
          </p:nvPr>
        </p:nvSpPr>
        <p:spPr>
          <a:xfrm>
            <a:off x="4295151"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11" name="Text Placeholder 12">
            <a:extLst>
              <a:ext uri="{FF2B5EF4-FFF2-40B4-BE49-F238E27FC236}">
                <a16:creationId xmlns:a16="http://schemas.microsoft.com/office/drawing/2014/main" id="{A9CD24D4-DA21-58A6-D7F7-52F6BB2323FF}"/>
              </a:ext>
            </a:extLst>
          </p:cNvPr>
          <p:cNvSpPr>
            <a:spLocks noGrp="1"/>
          </p:cNvSpPr>
          <p:nvPr>
            <p:ph type="body" sz="quarter" idx="18"/>
          </p:nvPr>
        </p:nvSpPr>
        <p:spPr>
          <a:xfrm>
            <a:off x="8437136"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7002007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x Columns - Blue / Purpl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DAD0FDE-F3B7-E9ED-8FBE-820CEDD9BD52}"/>
              </a:ext>
            </a:extLst>
          </p:cNvPr>
          <p:cNvSpPr/>
          <p:nvPr userDrawn="1"/>
        </p:nvSpPr>
        <p:spPr>
          <a:xfrm rot="10800000">
            <a:off x="8040684" y="0"/>
            <a:ext cx="4151311" cy="6858000"/>
          </a:xfrm>
          <a:prstGeom prst="rect">
            <a:avLst/>
          </a:pr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1" name="Text Placeholder 12">
            <a:extLst>
              <a:ext uri="{FF2B5EF4-FFF2-40B4-BE49-F238E27FC236}">
                <a16:creationId xmlns:a16="http://schemas.microsoft.com/office/drawing/2014/main" id="{CBD94631-F21A-E9A8-E18B-36A8C2123E83}"/>
              </a:ext>
            </a:extLst>
          </p:cNvPr>
          <p:cNvSpPr>
            <a:spLocks noGrp="1"/>
          </p:cNvSpPr>
          <p:nvPr>
            <p:ph type="body" sz="quarter" idx="14"/>
          </p:nvPr>
        </p:nvSpPr>
        <p:spPr>
          <a:xfrm>
            <a:off x="550864"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12" name="Text Placeholder 12">
            <a:extLst>
              <a:ext uri="{FF2B5EF4-FFF2-40B4-BE49-F238E27FC236}">
                <a16:creationId xmlns:a16="http://schemas.microsoft.com/office/drawing/2014/main" id="{78E62AFA-8CAC-DF8F-ECBF-F7D5E587FEDD}"/>
              </a:ext>
            </a:extLst>
          </p:cNvPr>
          <p:cNvSpPr>
            <a:spLocks noGrp="1"/>
          </p:cNvSpPr>
          <p:nvPr>
            <p:ph type="body" sz="quarter" idx="17"/>
          </p:nvPr>
        </p:nvSpPr>
        <p:spPr>
          <a:xfrm>
            <a:off x="4295151"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FB29449A-7F88-8F52-2169-99B80B568955}"/>
              </a:ext>
            </a:extLst>
          </p:cNvPr>
          <p:cNvSpPr>
            <a:spLocks noGrp="1"/>
          </p:cNvSpPr>
          <p:nvPr>
            <p:ph type="body" sz="quarter" idx="18"/>
          </p:nvPr>
        </p:nvSpPr>
        <p:spPr>
          <a:xfrm>
            <a:off x="8437136" y="1808163"/>
            <a:ext cx="3204000" cy="4321175"/>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3258123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0:50 Split -  Blue / Purple Quot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01870E7-67C3-31B4-3763-30D7343FC40E}"/>
              </a:ext>
            </a:extLst>
          </p:cNvPr>
          <p:cNvSpPr/>
          <p:nvPr userDrawn="1"/>
        </p:nvSpPr>
        <p:spPr>
          <a:xfrm rot="10800000">
            <a:off x="6095999" y="0"/>
            <a:ext cx="6096000" cy="6858000"/>
          </a:xfrm>
          <a:prstGeom prst="rect">
            <a:avLst/>
          </a:pr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5" y="368828"/>
            <a:ext cx="5075998"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5" y="753852"/>
            <a:ext cx="5075998"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2" y="1808163"/>
            <a:ext cx="5076000" cy="4321175"/>
          </a:xfrm>
        </p:spPr>
        <p:txBody>
          <a:bodyPr/>
          <a:lstStyle/>
          <a:p>
            <a:pPr lvl="0"/>
            <a:r>
              <a:rPr lang="en-US"/>
              <a:t>Click to edit Master text styles</a:t>
            </a:r>
          </a:p>
          <a:p>
            <a:pPr lvl="1"/>
            <a:r>
              <a:rPr lang="en-US"/>
              <a:t>Second level</a:t>
            </a:r>
          </a:p>
          <a:p>
            <a:pPr lvl="2"/>
            <a:r>
              <a:rPr lang="en-US"/>
              <a:t>Third level</a:t>
            </a:r>
          </a:p>
        </p:txBody>
      </p:sp>
      <p:sp>
        <p:nvSpPr>
          <p:cNvPr id="5" name="Text Placeholder 9">
            <a:extLst>
              <a:ext uri="{FF2B5EF4-FFF2-40B4-BE49-F238E27FC236}">
                <a16:creationId xmlns:a16="http://schemas.microsoft.com/office/drawing/2014/main" id="{EA5CF333-E5B7-1960-5F54-967F39A4A11B}"/>
              </a:ext>
            </a:extLst>
          </p:cNvPr>
          <p:cNvSpPr>
            <a:spLocks noGrp="1"/>
          </p:cNvSpPr>
          <p:nvPr>
            <p:ph type="body" sz="quarter" idx="15" hasCustomPrompt="1"/>
          </p:nvPr>
        </p:nvSpPr>
        <p:spPr>
          <a:xfrm>
            <a:off x="7102800" y="2766536"/>
            <a:ext cx="3601713" cy="738664"/>
          </a:xfrm>
          <a:prstGeom prst="rect">
            <a:avLst/>
          </a:prstGeom>
        </p:spPr>
        <p:txBody>
          <a:bodyPr wrap="square" lIns="0" tIns="0" rIns="0" bIns="0" anchor="b" anchorCtr="0">
            <a:spAutoFit/>
          </a:bodyPr>
          <a:lstStyle>
            <a:lvl1pPr marL="0" indent="0" algn="l">
              <a:buNone/>
              <a:tabLst/>
              <a:defRPr sz="2400">
                <a:solidFill>
                  <a:schemeClr val="bg1"/>
                </a:solidFill>
                <a:latin typeface="+mj-lt"/>
              </a:defRPr>
            </a:lvl1pPr>
          </a:lstStyle>
          <a:p>
            <a:pPr lvl="0"/>
            <a:r>
              <a:rPr lang="en-US"/>
              <a:t>“Quote Copy Avenir Demi 24pt”.</a:t>
            </a:r>
            <a:endParaRPr lang="en-GB"/>
          </a:p>
        </p:txBody>
      </p:sp>
      <p:sp>
        <p:nvSpPr>
          <p:cNvPr id="6" name="Text Placeholder 12">
            <a:extLst>
              <a:ext uri="{FF2B5EF4-FFF2-40B4-BE49-F238E27FC236}">
                <a16:creationId xmlns:a16="http://schemas.microsoft.com/office/drawing/2014/main" id="{CF395936-4441-9E95-2851-1ED7A64D3777}"/>
              </a:ext>
            </a:extLst>
          </p:cNvPr>
          <p:cNvSpPr>
            <a:spLocks noGrp="1"/>
          </p:cNvSpPr>
          <p:nvPr>
            <p:ph type="body" sz="quarter" idx="16" hasCustomPrompt="1"/>
          </p:nvPr>
        </p:nvSpPr>
        <p:spPr>
          <a:xfrm>
            <a:off x="7102800" y="3634999"/>
            <a:ext cx="2808287" cy="252000"/>
          </a:xfrm>
        </p:spPr>
        <p:txBody>
          <a:bodyPr/>
          <a:lstStyle>
            <a:lvl1pPr marL="0" indent="0" algn="l">
              <a:buNone/>
              <a:defRPr sz="1600">
                <a:solidFill>
                  <a:schemeClr val="bg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7" name="Text Placeholder 12">
            <a:extLst>
              <a:ext uri="{FF2B5EF4-FFF2-40B4-BE49-F238E27FC236}">
                <a16:creationId xmlns:a16="http://schemas.microsoft.com/office/drawing/2014/main" id="{51759836-E0B1-5577-37C5-D2B5A794D942}"/>
              </a:ext>
            </a:extLst>
          </p:cNvPr>
          <p:cNvSpPr>
            <a:spLocks noGrp="1"/>
          </p:cNvSpPr>
          <p:nvPr>
            <p:ph type="body" sz="quarter" idx="27" hasCustomPrompt="1"/>
          </p:nvPr>
        </p:nvSpPr>
        <p:spPr>
          <a:xfrm>
            <a:off x="7102800" y="3892179"/>
            <a:ext cx="2808287" cy="252000"/>
          </a:xfrm>
        </p:spPr>
        <p:txBody>
          <a:bodyPr/>
          <a:lstStyle>
            <a:lvl1pPr marL="0" indent="0" algn="l">
              <a:buNone/>
              <a:defRPr sz="1500">
                <a:solidFill>
                  <a:schemeClr val="bg1"/>
                </a:solidFill>
                <a:latin typeface="+mn-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Company name</a:t>
            </a:r>
          </a:p>
        </p:txBody>
      </p:sp>
    </p:spTree>
    <p:extLst>
      <p:ext uri="{BB962C8B-B14F-4D97-AF65-F5344CB8AC3E}">
        <p14:creationId xmlns:p14="http://schemas.microsoft.com/office/powerpoint/2010/main" val="345356892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50:50 Text -  Blue / Purple Big Sta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AB8773E-2F29-ECD1-16FF-8BC5E75E1E40}"/>
              </a:ext>
            </a:extLst>
          </p:cNvPr>
          <p:cNvSpPr/>
          <p:nvPr userDrawn="1"/>
        </p:nvSpPr>
        <p:spPr>
          <a:xfrm rot="10800000">
            <a:off x="6095999" y="0"/>
            <a:ext cx="6096000" cy="6858000"/>
          </a:xfrm>
          <a:prstGeom prst="rect">
            <a:avLst/>
          </a:pr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6959600" y="2168525"/>
            <a:ext cx="4679821" cy="1620837"/>
          </a:xfrm>
        </p:spPr>
        <p:txBody>
          <a:bodyPr anchor="b" anchorCtr="0"/>
          <a:lstStyle>
            <a:lvl1pPr marL="0" indent="0" algn="ctr">
              <a:buNone/>
              <a:defRPr sz="12000" spc="-300" baseline="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6959600" y="3608388"/>
            <a:ext cx="4679821"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7" name="Title 1">
            <a:extLst>
              <a:ext uri="{FF2B5EF4-FFF2-40B4-BE49-F238E27FC236}">
                <a16:creationId xmlns:a16="http://schemas.microsoft.com/office/drawing/2014/main" id="{7DE71408-1F6A-1900-3166-8B0F27B91CF7}"/>
              </a:ext>
            </a:extLst>
          </p:cNvPr>
          <p:cNvSpPr>
            <a:spLocks noGrp="1"/>
          </p:cNvSpPr>
          <p:nvPr>
            <p:ph type="title" hasCustomPrompt="1"/>
          </p:nvPr>
        </p:nvSpPr>
        <p:spPr>
          <a:xfrm>
            <a:off x="550865" y="368828"/>
            <a:ext cx="5075998" cy="251885"/>
          </a:xfrm>
        </p:spPr>
        <p:txBody>
          <a:bodyPr/>
          <a:lstStyle>
            <a:lvl1pPr>
              <a:defRPr/>
            </a:lvl1pPr>
          </a:lstStyle>
          <a:p>
            <a:r>
              <a:rPr lang="en-US"/>
              <a:t>Header avenir demi 24pt</a:t>
            </a:r>
            <a:endParaRPr lang="en-GB"/>
          </a:p>
        </p:txBody>
      </p:sp>
      <p:sp>
        <p:nvSpPr>
          <p:cNvPr id="10" name="Text Placeholder 9">
            <a:extLst>
              <a:ext uri="{FF2B5EF4-FFF2-40B4-BE49-F238E27FC236}">
                <a16:creationId xmlns:a16="http://schemas.microsoft.com/office/drawing/2014/main" id="{E040A9B4-F93C-AB35-66CE-1690CFBC2581}"/>
              </a:ext>
            </a:extLst>
          </p:cNvPr>
          <p:cNvSpPr>
            <a:spLocks noGrp="1"/>
          </p:cNvSpPr>
          <p:nvPr>
            <p:ph type="body" sz="quarter" idx="13" hasCustomPrompt="1"/>
          </p:nvPr>
        </p:nvSpPr>
        <p:spPr>
          <a:xfrm>
            <a:off x="550865" y="753852"/>
            <a:ext cx="5075998"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03BC752C-CC9E-C49E-83BC-B6B704830335}"/>
              </a:ext>
            </a:extLst>
          </p:cNvPr>
          <p:cNvSpPr>
            <a:spLocks noGrp="1"/>
          </p:cNvSpPr>
          <p:nvPr>
            <p:ph type="body" sz="quarter" idx="14"/>
          </p:nvPr>
        </p:nvSpPr>
        <p:spPr>
          <a:xfrm>
            <a:off x="550862" y="1808163"/>
            <a:ext cx="5076000" cy="4321175"/>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6983863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 Blue / Purple Big Sta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28D564B-EB64-218D-674E-69E2C567CF28}"/>
              </a:ext>
            </a:extLst>
          </p:cNvPr>
          <p:cNvSpPr/>
          <p:nvPr userDrawn="1"/>
        </p:nvSpPr>
        <p:spPr>
          <a:xfrm rot="10800000">
            <a:off x="8040684" y="0"/>
            <a:ext cx="4151311" cy="6858000"/>
          </a:xfrm>
          <a:prstGeom prst="rect">
            <a:avLst/>
          </a:pr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2168525"/>
            <a:ext cx="3024000" cy="1620837"/>
          </a:xfrm>
        </p:spPr>
        <p:txBody>
          <a:bodyPr anchor="b" anchorCtr="0"/>
          <a:lstStyle>
            <a:lvl1pPr marL="0" indent="0" algn="ctr">
              <a:buNone/>
              <a:defRPr sz="12000" spc="-300" baseline="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3608388"/>
            <a:ext cx="3024000"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11" name="Title 1">
            <a:extLst>
              <a:ext uri="{FF2B5EF4-FFF2-40B4-BE49-F238E27FC236}">
                <a16:creationId xmlns:a16="http://schemas.microsoft.com/office/drawing/2014/main" id="{5F4A0393-5E31-B1D7-44B4-0AE64D41191E}"/>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12" name="Text Placeholder 9">
            <a:extLst>
              <a:ext uri="{FF2B5EF4-FFF2-40B4-BE49-F238E27FC236}">
                <a16:creationId xmlns:a16="http://schemas.microsoft.com/office/drawing/2014/main" id="{3EF12EEA-B717-A2D4-DD8A-8AD5480E07F4}"/>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2" name="Text Placeholder 12">
            <a:extLst>
              <a:ext uri="{FF2B5EF4-FFF2-40B4-BE49-F238E27FC236}">
                <a16:creationId xmlns:a16="http://schemas.microsoft.com/office/drawing/2014/main" id="{2C9B01AB-F676-3FF4-AEAE-E94065157406}"/>
              </a:ext>
            </a:extLst>
          </p:cNvPr>
          <p:cNvSpPr>
            <a:spLocks noGrp="1"/>
          </p:cNvSpPr>
          <p:nvPr>
            <p:ph type="body" sz="quarter" idx="14"/>
          </p:nvPr>
        </p:nvSpPr>
        <p:spPr>
          <a:xfrm>
            <a:off x="550861" y="1808163"/>
            <a:ext cx="6966375" cy="4321175"/>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2645844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x Columns -  Blue / Purple Big Sta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E5CACE1-373F-1887-B5D9-B73EA9691DEA}"/>
              </a:ext>
            </a:extLst>
          </p:cNvPr>
          <p:cNvSpPr/>
          <p:nvPr userDrawn="1"/>
        </p:nvSpPr>
        <p:spPr>
          <a:xfrm rot="10800000">
            <a:off x="8040684" y="0"/>
            <a:ext cx="4151311" cy="6858000"/>
          </a:xfrm>
          <a:prstGeom prst="rect">
            <a:avLst/>
          </a:pr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2168525"/>
            <a:ext cx="3024000" cy="1620837"/>
          </a:xfrm>
        </p:spPr>
        <p:txBody>
          <a:bodyPr anchor="b" anchorCtr="0"/>
          <a:lstStyle>
            <a:lvl1pPr marL="0" indent="0" algn="ctr">
              <a:buNone/>
              <a:defRPr sz="12000" spc="-300" baseline="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3608388"/>
            <a:ext cx="3024000"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11" name="Title 1">
            <a:extLst>
              <a:ext uri="{FF2B5EF4-FFF2-40B4-BE49-F238E27FC236}">
                <a16:creationId xmlns:a16="http://schemas.microsoft.com/office/drawing/2014/main" id="{5F4A0393-5E31-B1D7-44B4-0AE64D41191E}"/>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12" name="Text Placeholder 9">
            <a:extLst>
              <a:ext uri="{FF2B5EF4-FFF2-40B4-BE49-F238E27FC236}">
                <a16:creationId xmlns:a16="http://schemas.microsoft.com/office/drawing/2014/main" id="{3EF12EEA-B717-A2D4-DD8A-8AD5480E07F4}"/>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E85E9EA0-2A22-199D-48CF-03EB94ECF487}"/>
              </a:ext>
            </a:extLst>
          </p:cNvPr>
          <p:cNvSpPr>
            <a:spLocks noGrp="1"/>
          </p:cNvSpPr>
          <p:nvPr>
            <p:ph type="body" sz="quarter" idx="14"/>
          </p:nvPr>
        </p:nvSpPr>
        <p:spPr>
          <a:xfrm>
            <a:off x="550864" y="1808163"/>
            <a:ext cx="3204000" cy="4321175"/>
          </a:xfrm>
        </p:spPr>
        <p:txBody>
          <a:bodyPr/>
          <a:lstStyle/>
          <a:p>
            <a:pPr lvl="0"/>
            <a:r>
              <a:rPr lang="en-US"/>
              <a:t>Click to 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269DCDE0-20E2-91A9-6591-26711B40C6C3}"/>
              </a:ext>
            </a:extLst>
          </p:cNvPr>
          <p:cNvSpPr>
            <a:spLocks noGrp="1"/>
          </p:cNvSpPr>
          <p:nvPr>
            <p:ph type="body" sz="quarter" idx="15"/>
          </p:nvPr>
        </p:nvSpPr>
        <p:spPr>
          <a:xfrm>
            <a:off x="4295774" y="1808163"/>
            <a:ext cx="3204000" cy="4321175"/>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5931975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1 Light Image - Blue / Purple Big Sta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73EBDDE-664E-22FA-02F4-D12882D309AB}"/>
              </a:ext>
            </a:extLst>
          </p:cNvPr>
          <p:cNvSpPr/>
          <p:nvPr userDrawn="1"/>
        </p:nvSpPr>
        <p:spPr>
          <a:xfrm rot="10800000">
            <a:off x="8040687" y="0"/>
            <a:ext cx="4151311" cy="6858000"/>
          </a:xfrm>
          <a:prstGeom prst="rect">
            <a:avLst/>
          </a:pr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ectangle 1">
            <a:extLst>
              <a:ext uri="{FF2B5EF4-FFF2-40B4-BE49-F238E27FC236}">
                <a16:creationId xmlns:a16="http://schemas.microsoft.com/office/drawing/2014/main" id="{31AA0871-DF4F-3D16-30B1-C25E0C64F490}"/>
              </a:ext>
            </a:extLst>
          </p:cNvPr>
          <p:cNvSpPr/>
          <p:nvPr userDrawn="1"/>
        </p:nvSpPr>
        <p:spPr>
          <a:xfrm>
            <a:off x="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3" name="Picture Placeholder 42">
            <a:extLst>
              <a:ext uri="{FF2B5EF4-FFF2-40B4-BE49-F238E27FC236}">
                <a16:creationId xmlns:a16="http://schemas.microsoft.com/office/drawing/2014/main" id="{C6FE3766-7949-D482-997B-F037BAB90A2C}"/>
              </a:ext>
            </a:extLst>
          </p:cNvPr>
          <p:cNvSpPr>
            <a:spLocks noGrp="1"/>
          </p:cNvSpPr>
          <p:nvPr>
            <p:ph type="pic" sz="quarter" idx="20" hasCustomPrompt="1"/>
          </p:nvPr>
        </p:nvSpPr>
        <p:spPr>
          <a:xfrm>
            <a:off x="0" y="0"/>
            <a:ext cx="8040688" cy="6858000"/>
          </a:xfrm>
          <a:custGeom>
            <a:avLst/>
            <a:gdLst>
              <a:gd name="connsiteX0" fmla="*/ 1592699 w 8040688"/>
              <a:gd name="connsiteY0" fmla="*/ 6492423 h 6858000"/>
              <a:gd name="connsiteX1" fmla="*/ 1592699 w 8040688"/>
              <a:gd name="connsiteY1" fmla="*/ 6501164 h 6858000"/>
              <a:gd name="connsiteX2" fmla="*/ 1592546 w 8040688"/>
              <a:gd name="connsiteY2" fmla="*/ 6504388 h 6858000"/>
              <a:gd name="connsiteX3" fmla="*/ 1568857 w 8040688"/>
              <a:gd name="connsiteY3" fmla="*/ 6522619 h 6858000"/>
              <a:gd name="connsiteX4" fmla="*/ 1551438 w 8040688"/>
              <a:gd name="connsiteY4" fmla="*/ 6508315 h 6858000"/>
              <a:gd name="connsiteX5" fmla="*/ 1568857 w 8040688"/>
              <a:gd name="connsiteY5" fmla="*/ 6495071 h 6858000"/>
              <a:gd name="connsiteX6" fmla="*/ 1581983 w 8040688"/>
              <a:gd name="connsiteY6" fmla="*/ 6495071 h 6858000"/>
              <a:gd name="connsiteX7" fmla="*/ 1592699 w 8040688"/>
              <a:gd name="connsiteY7" fmla="*/ 6492423 h 6858000"/>
              <a:gd name="connsiteX8" fmla="*/ 1172060 w 8040688"/>
              <a:gd name="connsiteY8" fmla="*/ 6492423 h 6858000"/>
              <a:gd name="connsiteX9" fmla="*/ 1172060 w 8040688"/>
              <a:gd name="connsiteY9" fmla="*/ 6501164 h 6858000"/>
              <a:gd name="connsiteX10" fmla="*/ 1171906 w 8040688"/>
              <a:gd name="connsiteY10" fmla="*/ 6504389 h 6858000"/>
              <a:gd name="connsiteX11" fmla="*/ 1148216 w 8040688"/>
              <a:gd name="connsiteY11" fmla="*/ 6522619 h 6858000"/>
              <a:gd name="connsiteX12" fmla="*/ 1130802 w 8040688"/>
              <a:gd name="connsiteY12" fmla="*/ 6508315 h 6858000"/>
              <a:gd name="connsiteX13" fmla="*/ 1148216 w 8040688"/>
              <a:gd name="connsiteY13" fmla="*/ 6495071 h 6858000"/>
              <a:gd name="connsiteX14" fmla="*/ 1161343 w 8040688"/>
              <a:gd name="connsiteY14" fmla="*/ 6495071 h 6858000"/>
              <a:gd name="connsiteX15" fmla="*/ 1172060 w 8040688"/>
              <a:gd name="connsiteY15" fmla="*/ 6492423 h 6858000"/>
              <a:gd name="connsiteX16" fmla="*/ 1796056 w 8040688"/>
              <a:gd name="connsiteY16" fmla="*/ 6448718 h 6858000"/>
              <a:gd name="connsiteX17" fmla="*/ 1823115 w 8040688"/>
              <a:gd name="connsiteY17" fmla="*/ 6470969 h 6858000"/>
              <a:gd name="connsiteX18" fmla="*/ 1768190 w 8040688"/>
              <a:gd name="connsiteY18" fmla="*/ 6470969 h 6858000"/>
              <a:gd name="connsiteX19" fmla="*/ 1796056 w 8040688"/>
              <a:gd name="connsiteY19" fmla="*/ 6448718 h 6858000"/>
              <a:gd name="connsiteX20" fmla="*/ 1385331 w 8040688"/>
              <a:gd name="connsiteY20" fmla="*/ 6423290 h 6858000"/>
              <a:gd name="connsiteX21" fmla="*/ 1427128 w 8040688"/>
              <a:gd name="connsiteY21" fmla="*/ 6544605 h 6858000"/>
              <a:gd name="connsiteX22" fmla="*/ 1470261 w 8040688"/>
              <a:gd name="connsiteY22" fmla="*/ 6544605 h 6858000"/>
              <a:gd name="connsiteX23" fmla="*/ 1513932 w 8040688"/>
              <a:gd name="connsiteY23" fmla="*/ 6423290 h 6858000"/>
              <a:gd name="connsiteX24" fmla="*/ 1477223 w 8040688"/>
              <a:gd name="connsiteY24" fmla="*/ 6423290 h 6858000"/>
              <a:gd name="connsiteX25" fmla="*/ 1449367 w 8040688"/>
              <a:gd name="connsiteY25" fmla="*/ 6507521 h 6858000"/>
              <a:gd name="connsiteX26" fmla="*/ 1423104 w 8040688"/>
              <a:gd name="connsiteY26" fmla="*/ 6423290 h 6858000"/>
              <a:gd name="connsiteX27" fmla="*/ 1319153 w 8040688"/>
              <a:gd name="connsiteY27" fmla="*/ 6423290 h 6858000"/>
              <a:gd name="connsiteX28" fmla="*/ 1319153 w 8040688"/>
              <a:gd name="connsiteY28" fmla="*/ 6452426 h 6858000"/>
              <a:gd name="connsiteX29" fmla="*/ 1336299 w 8040688"/>
              <a:gd name="connsiteY29" fmla="*/ 6452426 h 6858000"/>
              <a:gd name="connsiteX30" fmla="*/ 1336299 w 8040688"/>
              <a:gd name="connsiteY30" fmla="*/ 6544604 h 6858000"/>
              <a:gd name="connsiteX31" fmla="*/ 1371127 w 8040688"/>
              <a:gd name="connsiteY31" fmla="*/ 6544604 h 6858000"/>
              <a:gd name="connsiteX32" fmla="*/ 1371127 w 8040688"/>
              <a:gd name="connsiteY32" fmla="*/ 6423290 h 6858000"/>
              <a:gd name="connsiteX33" fmla="*/ 1293161 w 8040688"/>
              <a:gd name="connsiteY33" fmla="*/ 6421700 h 6858000"/>
              <a:gd name="connsiteX34" fmla="*/ 1261280 w 8040688"/>
              <a:gd name="connsiteY34" fmla="*/ 6442626 h 6858000"/>
              <a:gd name="connsiteX35" fmla="*/ 1261280 w 8040688"/>
              <a:gd name="connsiteY35" fmla="*/ 6423290 h 6858000"/>
              <a:gd name="connsiteX36" fmla="*/ 1227522 w 8040688"/>
              <a:gd name="connsiteY36" fmla="*/ 6423290 h 6858000"/>
              <a:gd name="connsiteX37" fmla="*/ 1227522 w 8040688"/>
              <a:gd name="connsiteY37" fmla="*/ 6544604 h 6858000"/>
              <a:gd name="connsiteX38" fmla="*/ 1262352 w 8040688"/>
              <a:gd name="connsiteY38" fmla="*/ 6544604 h 6858000"/>
              <a:gd name="connsiteX39" fmla="*/ 1262352 w 8040688"/>
              <a:gd name="connsiteY39" fmla="*/ 6486596 h 6858000"/>
              <a:gd name="connsiteX40" fmla="*/ 1288073 w 8040688"/>
              <a:gd name="connsiteY40" fmla="*/ 6457194 h 6858000"/>
              <a:gd name="connsiteX41" fmla="*/ 1302808 w 8040688"/>
              <a:gd name="connsiteY41" fmla="*/ 6457194 h 6858000"/>
              <a:gd name="connsiteX42" fmla="*/ 1302808 w 8040688"/>
              <a:gd name="connsiteY42" fmla="*/ 6422760 h 6858000"/>
              <a:gd name="connsiteX43" fmla="*/ 1293161 w 8040688"/>
              <a:gd name="connsiteY43" fmla="*/ 6421700 h 6858000"/>
              <a:gd name="connsiteX44" fmla="*/ 1796056 w 8040688"/>
              <a:gd name="connsiteY44" fmla="*/ 6420112 h 6858000"/>
              <a:gd name="connsiteX45" fmla="*/ 1791956 w 8040688"/>
              <a:gd name="connsiteY45" fmla="*/ 6420138 h 6858000"/>
              <a:gd name="connsiteX46" fmla="*/ 1732297 w 8040688"/>
              <a:gd name="connsiteY46" fmla="*/ 6483948 h 6858000"/>
              <a:gd name="connsiteX47" fmla="*/ 1770879 w 8040688"/>
              <a:gd name="connsiteY47" fmla="*/ 6541990 h 6858000"/>
              <a:gd name="connsiteX48" fmla="*/ 1857943 w 8040688"/>
              <a:gd name="connsiteY48" fmla="*/ 6509641 h 6858000"/>
              <a:gd name="connsiteX49" fmla="*/ 1821781 w 8040688"/>
              <a:gd name="connsiteY49" fmla="*/ 6505933 h 6858000"/>
              <a:gd name="connsiteX50" fmla="*/ 1802269 w 8040688"/>
              <a:gd name="connsiteY50" fmla="*/ 6518046 h 6858000"/>
              <a:gd name="connsiteX51" fmla="*/ 1768997 w 8040688"/>
              <a:gd name="connsiteY51" fmla="*/ 6494013 h 6858000"/>
              <a:gd name="connsiteX52" fmla="*/ 1860353 w 8040688"/>
              <a:gd name="connsiteY52" fmla="*/ 6494013 h 6858000"/>
              <a:gd name="connsiteX53" fmla="*/ 1860353 w 8040688"/>
              <a:gd name="connsiteY53" fmla="*/ 6492689 h 6858000"/>
              <a:gd name="connsiteX54" fmla="*/ 1796056 w 8040688"/>
              <a:gd name="connsiteY54" fmla="*/ 6420112 h 6858000"/>
              <a:gd name="connsiteX55" fmla="*/ 1574215 w 8040688"/>
              <a:gd name="connsiteY55" fmla="*/ 6420111 h 6858000"/>
              <a:gd name="connsiteX56" fmla="*/ 1521700 w 8040688"/>
              <a:gd name="connsiteY56" fmla="*/ 6434944 h 6858000"/>
              <a:gd name="connsiteX57" fmla="*/ 1535364 w 8040688"/>
              <a:gd name="connsiteY57" fmla="*/ 6460902 h 6858000"/>
              <a:gd name="connsiteX58" fmla="*/ 1572342 w 8040688"/>
              <a:gd name="connsiteY58" fmla="*/ 6449512 h 6858000"/>
              <a:gd name="connsiteX59" fmla="*/ 1592699 w 8040688"/>
              <a:gd name="connsiteY59" fmla="*/ 6463816 h 6858000"/>
              <a:gd name="connsiteX60" fmla="*/ 1592699 w 8040688"/>
              <a:gd name="connsiteY60" fmla="*/ 6465140 h 6858000"/>
              <a:gd name="connsiteX61" fmla="*/ 1584124 w 8040688"/>
              <a:gd name="connsiteY61" fmla="*/ 6472292 h 6858000"/>
              <a:gd name="connsiteX62" fmla="*/ 1560013 w 8040688"/>
              <a:gd name="connsiteY62" fmla="*/ 6472292 h 6858000"/>
              <a:gd name="connsiteX63" fmla="*/ 1515545 w 8040688"/>
              <a:gd name="connsiteY63" fmla="*/ 6509640 h 6858000"/>
              <a:gd name="connsiteX64" fmla="*/ 1515603 w 8040688"/>
              <a:gd name="connsiteY64" fmla="*/ 6510750 h 6858000"/>
              <a:gd name="connsiteX65" fmla="*/ 1558409 w 8040688"/>
              <a:gd name="connsiteY65" fmla="*/ 6547782 h 6858000"/>
              <a:gd name="connsiteX66" fmla="*/ 1592699 w 8040688"/>
              <a:gd name="connsiteY66" fmla="*/ 6533214 h 6858000"/>
              <a:gd name="connsiteX67" fmla="*/ 1592699 w 8040688"/>
              <a:gd name="connsiteY67" fmla="*/ 6544604 h 6858000"/>
              <a:gd name="connsiteX68" fmla="*/ 1627527 w 8040688"/>
              <a:gd name="connsiteY68" fmla="*/ 6544604 h 6858000"/>
              <a:gd name="connsiteX69" fmla="*/ 1627527 w 8040688"/>
              <a:gd name="connsiteY69" fmla="*/ 6464875 h 6858000"/>
              <a:gd name="connsiteX70" fmla="*/ 1574215 w 8040688"/>
              <a:gd name="connsiteY70" fmla="*/ 6420111 h 6858000"/>
              <a:gd name="connsiteX71" fmla="*/ 1153574 w 8040688"/>
              <a:gd name="connsiteY71" fmla="*/ 6420111 h 6858000"/>
              <a:gd name="connsiteX72" fmla="*/ 1101062 w 8040688"/>
              <a:gd name="connsiteY72" fmla="*/ 6434944 h 6858000"/>
              <a:gd name="connsiteX73" fmla="*/ 1114726 w 8040688"/>
              <a:gd name="connsiteY73" fmla="*/ 6460902 h 6858000"/>
              <a:gd name="connsiteX74" fmla="*/ 1151699 w 8040688"/>
              <a:gd name="connsiteY74" fmla="*/ 6449512 h 6858000"/>
              <a:gd name="connsiteX75" fmla="*/ 1172060 w 8040688"/>
              <a:gd name="connsiteY75" fmla="*/ 6463816 h 6858000"/>
              <a:gd name="connsiteX76" fmla="*/ 1172060 w 8040688"/>
              <a:gd name="connsiteY76" fmla="*/ 6465140 h 6858000"/>
              <a:gd name="connsiteX77" fmla="*/ 1163487 w 8040688"/>
              <a:gd name="connsiteY77" fmla="*/ 6472292 h 6858000"/>
              <a:gd name="connsiteX78" fmla="*/ 1139375 w 8040688"/>
              <a:gd name="connsiteY78" fmla="*/ 6472292 h 6858000"/>
              <a:gd name="connsiteX79" fmla="*/ 1094901 w 8040688"/>
              <a:gd name="connsiteY79" fmla="*/ 6509640 h 6858000"/>
              <a:gd name="connsiteX80" fmla="*/ 1094960 w 8040688"/>
              <a:gd name="connsiteY80" fmla="*/ 6510749 h 6858000"/>
              <a:gd name="connsiteX81" fmla="*/ 1137766 w 8040688"/>
              <a:gd name="connsiteY81" fmla="*/ 6547782 h 6858000"/>
              <a:gd name="connsiteX82" fmla="*/ 1172060 w 8040688"/>
              <a:gd name="connsiteY82" fmla="*/ 6533214 h 6858000"/>
              <a:gd name="connsiteX83" fmla="*/ 1172060 w 8040688"/>
              <a:gd name="connsiteY83" fmla="*/ 6544604 h 6858000"/>
              <a:gd name="connsiteX84" fmla="*/ 1206890 w 8040688"/>
              <a:gd name="connsiteY84" fmla="*/ 6544604 h 6858000"/>
              <a:gd name="connsiteX85" fmla="*/ 1206890 w 8040688"/>
              <a:gd name="connsiteY85" fmla="*/ 6464875 h 6858000"/>
              <a:gd name="connsiteX86" fmla="*/ 1153574 w 8040688"/>
              <a:gd name="connsiteY86" fmla="*/ 6420111 h 6858000"/>
              <a:gd name="connsiteX87" fmla="*/ 568575 w 8040688"/>
              <a:gd name="connsiteY87" fmla="*/ 6383429 h 6858000"/>
              <a:gd name="connsiteX88" fmla="*/ 568549 w 8040688"/>
              <a:gd name="connsiteY88" fmla="*/ 6520396 h 6858000"/>
              <a:gd name="connsiteX89" fmla="*/ 624511 w 8040688"/>
              <a:gd name="connsiteY89" fmla="*/ 6519097 h 6858000"/>
              <a:gd name="connsiteX90" fmla="*/ 618898 w 8040688"/>
              <a:gd name="connsiteY90" fmla="*/ 6402004 h 6858000"/>
              <a:gd name="connsiteX91" fmla="*/ 624479 w 8040688"/>
              <a:gd name="connsiteY91" fmla="*/ 6384725 h 6858000"/>
              <a:gd name="connsiteX92" fmla="*/ 568575 w 8040688"/>
              <a:gd name="connsiteY92" fmla="*/ 6383429 h 6858000"/>
              <a:gd name="connsiteX93" fmla="*/ 1659953 w 8040688"/>
              <a:gd name="connsiteY93" fmla="*/ 6377201 h 6858000"/>
              <a:gd name="connsiteX94" fmla="*/ 1659953 w 8040688"/>
              <a:gd name="connsiteY94" fmla="*/ 6423290 h 6858000"/>
              <a:gd name="connsiteX95" fmla="*/ 1640662 w 8040688"/>
              <a:gd name="connsiteY95" fmla="*/ 6423290 h 6858000"/>
              <a:gd name="connsiteX96" fmla="*/ 1640662 w 8040688"/>
              <a:gd name="connsiteY96" fmla="*/ 6452426 h 6858000"/>
              <a:gd name="connsiteX97" fmla="*/ 1659953 w 8040688"/>
              <a:gd name="connsiteY97" fmla="*/ 6452426 h 6858000"/>
              <a:gd name="connsiteX98" fmla="*/ 1659953 w 8040688"/>
              <a:gd name="connsiteY98" fmla="*/ 6518911 h 6858000"/>
              <a:gd name="connsiteX99" fmla="*/ 1695318 w 8040688"/>
              <a:gd name="connsiteY99" fmla="*/ 6546194 h 6858000"/>
              <a:gd name="connsiteX100" fmla="*/ 1722377 w 8040688"/>
              <a:gd name="connsiteY100" fmla="*/ 6544604 h 6858000"/>
              <a:gd name="connsiteX101" fmla="*/ 1722377 w 8040688"/>
              <a:gd name="connsiteY101" fmla="*/ 6515203 h 6858000"/>
              <a:gd name="connsiteX102" fmla="*/ 1706303 w 8040688"/>
              <a:gd name="connsiteY102" fmla="*/ 6515998 h 6858000"/>
              <a:gd name="connsiteX103" fmla="*/ 1694780 w 8040688"/>
              <a:gd name="connsiteY103" fmla="*/ 6507256 h 6858000"/>
              <a:gd name="connsiteX104" fmla="*/ 1694780 w 8040688"/>
              <a:gd name="connsiteY104" fmla="*/ 6452426 h 6858000"/>
              <a:gd name="connsiteX105" fmla="*/ 1721302 w 8040688"/>
              <a:gd name="connsiteY105" fmla="*/ 6452426 h 6858000"/>
              <a:gd name="connsiteX106" fmla="*/ 1721302 w 8040688"/>
              <a:gd name="connsiteY106" fmla="*/ 6423290 h 6858000"/>
              <a:gd name="connsiteX107" fmla="*/ 1694780 w 8040688"/>
              <a:gd name="connsiteY107" fmla="*/ 6423290 h 6858000"/>
              <a:gd name="connsiteX108" fmla="*/ 1694780 w 8040688"/>
              <a:gd name="connsiteY108" fmla="*/ 6377201 h 6858000"/>
              <a:gd name="connsiteX109" fmla="*/ 1884617 w 8040688"/>
              <a:gd name="connsiteY109" fmla="*/ 6359355 h 6858000"/>
              <a:gd name="connsiteX110" fmla="*/ 1884617 w 8040688"/>
              <a:gd name="connsiteY110" fmla="*/ 6392335 h 6858000"/>
              <a:gd name="connsiteX111" fmla="*/ 1893998 w 8040688"/>
              <a:gd name="connsiteY111" fmla="*/ 6392335 h 6858000"/>
              <a:gd name="connsiteX112" fmla="*/ 1893998 w 8040688"/>
              <a:gd name="connsiteY112" fmla="*/ 6373492 h 6858000"/>
              <a:gd name="connsiteX113" fmla="*/ 1898291 w 8040688"/>
              <a:gd name="connsiteY113" fmla="*/ 6385270 h 6858000"/>
              <a:gd name="connsiteX114" fmla="*/ 1905819 w 8040688"/>
              <a:gd name="connsiteY114" fmla="*/ 6385270 h 6858000"/>
              <a:gd name="connsiteX115" fmla="*/ 1910111 w 8040688"/>
              <a:gd name="connsiteY115" fmla="*/ 6373492 h 6858000"/>
              <a:gd name="connsiteX116" fmla="*/ 1910111 w 8040688"/>
              <a:gd name="connsiteY116" fmla="*/ 6392335 h 6858000"/>
              <a:gd name="connsiteX117" fmla="*/ 1919685 w 8040688"/>
              <a:gd name="connsiteY117" fmla="*/ 6392335 h 6858000"/>
              <a:gd name="connsiteX118" fmla="*/ 1919685 w 8040688"/>
              <a:gd name="connsiteY118" fmla="*/ 6359355 h 6858000"/>
              <a:gd name="connsiteX119" fmla="*/ 1907566 w 8040688"/>
              <a:gd name="connsiteY119" fmla="*/ 6359355 h 6858000"/>
              <a:gd name="connsiteX120" fmla="*/ 1902362 w 8040688"/>
              <a:gd name="connsiteY120" fmla="*/ 6373114 h 6858000"/>
              <a:gd name="connsiteX121" fmla="*/ 1897494 w 8040688"/>
              <a:gd name="connsiteY121" fmla="*/ 6359355 h 6858000"/>
              <a:gd name="connsiteX122" fmla="*/ 1850683 w 8040688"/>
              <a:gd name="connsiteY122" fmla="*/ 6359355 h 6858000"/>
              <a:gd name="connsiteX123" fmla="*/ 1850683 w 8040688"/>
              <a:gd name="connsiteY123" fmla="*/ 6367929 h 6858000"/>
              <a:gd name="connsiteX124" fmla="*/ 1860074 w 8040688"/>
              <a:gd name="connsiteY124" fmla="*/ 6367929 h 6858000"/>
              <a:gd name="connsiteX125" fmla="*/ 1860074 w 8040688"/>
              <a:gd name="connsiteY125" fmla="*/ 6392335 h 6858000"/>
              <a:gd name="connsiteX126" fmla="*/ 1869839 w 8040688"/>
              <a:gd name="connsiteY126" fmla="*/ 6392335 h 6858000"/>
              <a:gd name="connsiteX127" fmla="*/ 1869839 w 8040688"/>
              <a:gd name="connsiteY127" fmla="*/ 6367929 h 6858000"/>
              <a:gd name="connsiteX128" fmla="*/ 1879230 w 8040688"/>
              <a:gd name="connsiteY128" fmla="*/ 6367929 h 6858000"/>
              <a:gd name="connsiteX129" fmla="*/ 1879230 w 8040688"/>
              <a:gd name="connsiteY129" fmla="*/ 6359355 h 6858000"/>
              <a:gd name="connsiteX130" fmla="*/ 1352105 w 8040688"/>
              <a:gd name="connsiteY130" fmla="*/ 6359189 h 6858000"/>
              <a:gd name="connsiteX131" fmla="*/ 1329868 w 8040688"/>
              <a:gd name="connsiteY131" fmla="*/ 6381439 h 6858000"/>
              <a:gd name="connsiteX132" fmla="*/ 1352108 w 8040688"/>
              <a:gd name="connsiteY132" fmla="*/ 6403427 h 6858000"/>
              <a:gd name="connsiteX133" fmla="*/ 1374610 w 8040688"/>
              <a:gd name="connsiteY133" fmla="*/ 6381439 h 6858000"/>
              <a:gd name="connsiteX134" fmla="*/ 1374610 w 8040688"/>
              <a:gd name="connsiteY134" fmla="*/ 6381364 h 6858000"/>
              <a:gd name="connsiteX135" fmla="*/ 1352105 w 8040688"/>
              <a:gd name="connsiteY135" fmla="*/ 6359189 h 6858000"/>
              <a:gd name="connsiteX136" fmla="*/ 1041583 w 8040688"/>
              <a:gd name="connsiteY136" fmla="*/ 6359189 h 6858000"/>
              <a:gd name="connsiteX137" fmla="*/ 1041583 w 8040688"/>
              <a:gd name="connsiteY137" fmla="*/ 6544604 h 6858000"/>
              <a:gd name="connsiteX138" fmla="*/ 1076143 w 8040688"/>
              <a:gd name="connsiteY138" fmla="*/ 6544604 h 6858000"/>
              <a:gd name="connsiteX139" fmla="*/ 1076143 w 8040688"/>
              <a:gd name="connsiteY139" fmla="*/ 6359189 h 6858000"/>
              <a:gd name="connsiteX140" fmla="*/ 925239 w 8040688"/>
              <a:gd name="connsiteY140" fmla="*/ 6355990 h 6858000"/>
              <a:gd name="connsiteX141" fmla="*/ 832602 w 8040688"/>
              <a:gd name="connsiteY141" fmla="*/ 6451897 h 6858000"/>
              <a:gd name="connsiteX142" fmla="*/ 832623 w 8040688"/>
              <a:gd name="connsiteY142" fmla="*/ 6456990 h 6858000"/>
              <a:gd name="connsiteX143" fmla="*/ 930389 w 8040688"/>
              <a:gd name="connsiteY143" fmla="*/ 6547783 h 6858000"/>
              <a:gd name="connsiteX144" fmla="*/ 1022285 w 8040688"/>
              <a:gd name="connsiteY144" fmla="*/ 6478650 h 6858000"/>
              <a:gd name="connsiteX145" fmla="*/ 981294 w 8040688"/>
              <a:gd name="connsiteY145" fmla="*/ 6478650 h 6858000"/>
              <a:gd name="connsiteX146" fmla="*/ 930389 w 8040688"/>
              <a:gd name="connsiteY146" fmla="*/ 6513878 h 6858000"/>
              <a:gd name="connsiteX147" fmla="*/ 871450 w 8040688"/>
              <a:gd name="connsiteY147" fmla="*/ 6451897 h 6858000"/>
              <a:gd name="connsiteX148" fmla="*/ 930389 w 8040688"/>
              <a:gd name="connsiteY148" fmla="*/ 6389916 h 6858000"/>
              <a:gd name="connsiteX149" fmla="*/ 981294 w 8040688"/>
              <a:gd name="connsiteY149" fmla="*/ 6425144 h 6858000"/>
              <a:gd name="connsiteX150" fmla="*/ 1022285 w 8040688"/>
              <a:gd name="connsiteY150" fmla="*/ 6425144 h 6858000"/>
              <a:gd name="connsiteX151" fmla="*/ 930389 w 8040688"/>
              <a:gd name="connsiteY151" fmla="*/ 6356011 h 6858000"/>
              <a:gd name="connsiteX152" fmla="*/ 925239 w 8040688"/>
              <a:gd name="connsiteY152" fmla="*/ 6355990 h 6858000"/>
              <a:gd name="connsiteX153" fmla="*/ 651232 w 8040688"/>
              <a:gd name="connsiteY153" fmla="*/ 6336161 h 6858000"/>
              <a:gd name="connsiteX154" fmla="*/ 624479 w 8040688"/>
              <a:gd name="connsiteY154" fmla="*/ 6384726 h 6858000"/>
              <a:gd name="connsiteX155" fmla="*/ 742033 w 8040688"/>
              <a:gd name="connsiteY155" fmla="*/ 6451914 h 6858000"/>
              <a:gd name="connsiteX156" fmla="*/ 624512 w 8040688"/>
              <a:gd name="connsiteY156" fmla="*/ 6519097 h 6858000"/>
              <a:gd name="connsiteX157" fmla="*/ 651373 w 8040688"/>
              <a:gd name="connsiteY157" fmla="*/ 6567631 h 6858000"/>
              <a:gd name="connsiteX158" fmla="*/ 771228 w 8040688"/>
              <a:gd name="connsiteY158" fmla="*/ 6499136 h 6858000"/>
              <a:gd name="connsiteX159" fmla="*/ 742033 w 8040688"/>
              <a:gd name="connsiteY159" fmla="*/ 6451914 h 6858000"/>
              <a:gd name="connsiteX160" fmla="*/ 771227 w 8040688"/>
              <a:gd name="connsiteY160" fmla="*/ 6404692 h 6858000"/>
              <a:gd name="connsiteX161" fmla="*/ 651232 w 8040688"/>
              <a:gd name="connsiteY161" fmla="*/ 6336161 h 6858000"/>
              <a:gd name="connsiteX162" fmla="*/ 0 w 8040688"/>
              <a:gd name="connsiteY162" fmla="*/ 0 h 6858000"/>
              <a:gd name="connsiteX163" fmla="*/ 8040688 w 8040688"/>
              <a:gd name="connsiteY163" fmla="*/ 0 h 6858000"/>
              <a:gd name="connsiteX164" fmla="*/ 8040688 w 8040688"/>
              <a:gd name="connsiteY164" fmla="*/ 6858000 h 6858000"/>
              <a:gd name="connsiteX165" fmla="*/ 0 w 8040688"/>
              <a:gd name="connsiteY16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Lst>
            <a:rect l="l" t="t" r="r" b="b"/>
            <a:pathLst>
              <a:path w="8040688" h="6858000">
                <a:moveTo>
                  <a:pt x="1592699" y="6492423"/>
                </a:moveTo>
                <a:lnTo>
                  <a:pt x="1592699" y="6501164"/>
                </a:lnTo>
                <a:cubicBezTo>
                  <a:pt x="1592738" y="6502241"/>
                  <a:pt x="1592680" y="6503319"/>
                  <a:pt x="1592546" y="6504388"/>
                </a:cubicBezTo>
                <a:cubicBezTo>
                  <a:pt x="1591096" y="6515890"/>
                  <a:pt x="1580495" y="6524053"/>
                  <a:pt x="1568857" y="6522619"/>
                </a:cubicBezTo>
                <a:cubicBezTo>
                  <a:pt x="1558141" y="6522619"/>
                  <a:pt x="1551438" y="6516526"/>
                  <a:pt x="1551438" y="6508315"/>
                </a:cubicBezTo>
                <a:cubicBezTo>
                  <a:pt x="1551438" y="6499839"/>
                  <a:pt x="1557872" y="6495071"/>
                  <a:pt x="1568857" y="6495071"/>
                </a:cubicBezTo>
                <a:lnTo>
                  <a:pt x="1581983" y="6495071"/>
                </a:lnTo>
                <a:cubicBezTo>
                  <a:pt x="1585766" y="6495554"/>
                  <a:pt x="1589598" y="6494609"/>
                  <a:pt x="1592699" y="6492423"/>
                </a:cubicBezTo>
                <a:close/>
                <a:moveTo>
                  <a:pt x="1172060" y="6492423"/>
                </a:moveTo>
                <a:lnTo>
                  <a:pt x="1172060" y="6501164"/>
                </a:lnTo>
                <a:cubicBezTo>
                  <a:pt x="1172093" y="6502242"/>
                  <a:pt x="1172042" y="6503320"/>
                  <a:pt x="1171906" y="6504389"/>
                </a:cubicBezTo>
                <a:cubicBezTo>
                  <a:pt x="1170456" y="6515891"/>
                  <a:pt x="1159850" y="6524053"/>
                  <a:pt x="1148216" y="6522619"/>
                </a:cubicBezTo>
                <a:cubicBezTo>
                  <a:pt x="1137499" y="6522619"/>
                  <a:pt x="1130802" y="6516526"/>
                  <a:pt x="1130802" y="6508315"/>
                </a:cubicBezTo>
                <a:cubicBezTo>
                  <a:pt x="1130802" y="6499839"/>
                  <a:pt x="1137232" y="6495071"/>
                  <a:pt x="1148216" y="6495071"/>
                </a:cubicBezTo>
                <a:lnTo>
                  <a:pt x="1161343" y="6495071"/>
                </a:lnTo>
                <a:cubicBezTo>
                  <a:pt x="1165125" y="6495554"/>
                  <a:pt x="1168953" y="6494609"/>
                  <a:pt x="1172060" y="6492423"/>
                </a:cubicBezTo>
                <a:close/>
                <a:moveTo>
                  <a:pt x="1796056" y="6448718"/>
                </a:moveTo>
                <a:cubicBezTo>
                  <a:pt x="1809461" y="6448340"/>
                  <a:pt x="1821051" y="6457873"/>
                  <a:pt x="1823115" y="6470969"/>
                </a:cubicBezTo>
                <a:lnTo>
                  <a:pt x="1768190" y="6470969"/>
                </a:lnTo>
                <a:cubicBezTo>
                  <a:pt x="1770601" y="6457738"/>
                  <a:pt x="1782469" y="6448261"/>
                  <a:pt x="1796056" y="6448718"/>
                </a:cubicBezTo>
                <a:close/>
                <a:moveTo>
                  <a:pt x="1385331" y="6423290"/>
                </a:moveTo>
                <a:lnTo>
                  <a:pt x="1427128" y="6544605"/>
                </a:lnTo>
                <a:lnTo>
                  <a:pt x="1470261" y="6544605"/>
                </a:lnTo>
                <a:lnTo>
                  <a:pt x="1513932" y="6423290"/>
                </a:lnTo>
                <a:lnTo>
                  <a:pt x="1477223" y="6423290"/>
                </a:lnTo>
                <a:lnTo>
                  <a:pt x="1449367" y="6507521"/>
                </a:lnTo>
                <a:lnTo>
                  <a:pt x="1423104" y="6423290"/>
                </a:lnTo>
                <a:close/>
                <a:moveTo>
                  <a:pt x="1319153" y="6423290"/>
                </a:moveTo>
                <a:lnTo>
                  <a:pt x="1319153" y="6452426"/>
                </a:lnTo>
                <a:lnTo>
                  <a:pt x="1336299" y="6452426"/>
                </a:lnTo>
                <a:lnTo>
                  <a:pt x="1336299" y="6544604"/>
                </a:lnTo>
                <a:lnTo>
                  <a:pt x="1371127" y="6544604"/>
                </a:lnTo>
                <a:lnTo>
                  <a:pt x="1371127" y="6423290"/>
                </a:lnTo>
                <a:close/>
                <a:moveTo>
                  <a:pt x="1293161" y="6421700"/>
                </a:moveTo>
                <a:cubicBezTo>
                  <a:pt x="1279051" y="6421037"/>
                  <a:pt x="1266138" y="6429512"/>
                  <a:pt x="1261280" y="6442626"/>
                </a:cubicBezTo>
                <a:lnTo>
                  <a:pt x="1261280" y="6423290"/>
                </a:lnTo>
                <a:lnTo>
                  <a:pt x="1227522" y="6423290"/>
                </a:lnTo>
                <a:lnTo>
                  <a:pt x="1227522" y="6544604"/>
                </a:lnTo>
                <a:lnTo>
                  <a:pt x="1262352" y="6544604"/>
                </a:lnTo>
                <a:lnTo>
                  <a:pt x="1262352" y="6486596"/>
                </a:lnTo>
                <a:cubicBezTo>
                  <a:pt x="1262352" y="6465405"/>
                  <a:pt x="1270389" y="6457194"/>
                  <a:pt x="1288073" y="6457194"/>
                </a:cubicBezTo>
                <a:lnTo>
                  <a:pt x="1302808" y="6457194"/>
                </a:lnTo>
                <a:lnTo>
                  <a:pt x="1302808" y="6422760"/>
                </a:lnTo>
                <a:cubicBezTo>
                  <a:pt x="1299648" y="6422016"/>
                  <a:pt x="1296409" y="6421660"/>
                  <a:pt x="1293161" y="6421700"/>
                </a:cubicBezTo>
                <a:close/>
                <a:moveTo>
                  <a:pt x="1796056" y="6420112"/>
                </a:moveTo>
                <a:cubicBezTo>
                  <a:pt x="1794693" y="6420076"/>
                  <a:pt x="1793320" y="6420084"/>
                  <a:pt x="1791956" y="6420138"/>
                </a:cubicBezTo>
                <a:cubicBezTo>
                  <a:pt x="1757657" y="6421470"/>
                  <a:pt x="1730943" y="6450039"/>
                  <a:pt x="1732297" y="6483948"/>
                </a:cubicBezTo>
                <a:cubicBezTo>
                  <a:pt x="1732749" y="6509035"/>
                  <a:pt x="1747766" y="6531624"/>
                  <a:pt x="1770879" y="6541990"/>
                </a:cubicBezTo>
                <a:cubicBezTo>
                  <a:pt x="1803959" y="6556828"/>
                  <a:pt x="1842934" y="6542344"/>
                  <a:pt x="1857943" y="6509641"/>
                </a:cubicBezTo>
                <a:lnTo>
                  <a:pt x="1821781" y="6505933"/>
                </a:lnTo>
                <a:cubicBezTo>
                  <a:pt x="1817229" y="6512448"/>
                  <a:pt x="1810181" y="6516829"/>
                  <a:pt x="1802269" y="6518046"/>
                </a:cubicBezTo>
                <a:cubicBezTo>
                  <a:pt x="1786368" y="6520493"/>
                  <a:pt x="1771474" y="6509733"/>
                  <a:pt x="1768997" y="6494013"/>
                </a:cubicBezTo>
                <a:lnTo>
                  <a:pt x="1860353" y="6494013"/>
                </a:lnTo>
                <a:lnTo>
                  <a:pt x="1860353" y="6492689"/>
                </a:lnTo>
                <a:cubicBezTo>
                  <a:pt x="1860353" y="6441832"/>
                  <a:pt x="1829808" y="6420112"/>
                  <a:pt x="1796056" y="6420112"/>
                </a:cubicBezTo>
                <a:close/>
                <a:moveTo>
                  <a:pt x="1574215" y="6420111"/>
                </a:moveTo>
                <a:cubicBezTo>
                  <a:pt x="1555692" y="6420390"/>
                  <a:pt x="1537573" y="6425507"/>
                  <a:pt x="1521700" y="6434944"/>
                </a:cubicBezTo>
                <a:lnTo>
                  <a:pt x="1535364" y="6460902"/>
                </a:lnTo>
                <a:cubicBezTo>
                  <a:pt x="1546618" y="6454290"/>
                  <a:pt x="1559283" y="6450388"/>
                  <a:pt x="1572342" y="6449512"/>
                </a:cubicBezTo>
                <a:cubicBezTo>
                  <a:pt x="1585738" y="6449512"/>
                  <a:pt x="1592699" y="6455075"/>
                  <a:pt x="1592699" y="6463816"/>
                </a:cubicBezTo>
                <a:lnTo>
                  <a:pt x="1592699" y="6465140"/>
                </a:lnTo>
                <a:cubicBezTo>
                  <a:pt x="1592699" y="6469643"/>
                  <a:pt x="1590020" y="6472292"/>
                  <a:pt x="1584124" y="6472292"/>
                </a:cubicBezTo>
                <a:lnTo>
                  <a:pt x="1560013" y="6472292"/>
                </a:lnTo>
                <a:cubicBezTo>
                  <a:pt x="1532685" y="6472292"/>
                  <a:pt x="1515545" y="6486595"/>
                  <a:pt x="1515545" y="6509640"/>
                </a:cubicBezTo>
                <a:cubicBezTo>
                  <a:pt x="1515555" y="6510010"/>
                  <a:pt x="1515574" y="6510380"/>
                  <a:pt x="1515603" y="6510750"/>
                </a:cubicBezTo>
                <a:cubicBezTo>
                  <a:pt x="1517081" y="6532663"/>
                  <a:pt x="1536247" y="6549244"/>
                  <a:pt x="1558409" y="6547782"/>
                </a:cubicBezTo>
                <a:cubicBezTo>
                  <a:pt x="1571536" y="6548591"/>
                  <a:pt x="1584259" y="6543183"/>
                  <a:pt x="1592699" y="6533214"/>
                </a:cubicBezTo>
                <a:lnTo>
                  <a:pt x="1592699" y="6544604"/>
                </a:lnTo>
                <a:lnTo>
                  <a:pt x="1627527" y="6544604"/>
                </a:lnTo>
                <a:lnTo>
                  <a:pt x="1627527" y="6464875"/>
                </a:lnTo>
                <a:cubicBezTo>
                  <a:pt x="1627527" y="6432825"/>
                  <a:pt x="1602081" y="6420111"/>
                  <a:pt x="1574215" y="6420111"/>
                </a:cubicBezTo>
                <a:close/>
                <a:moveTo>
                  <a:pt x="1153574" y="6420111"/>
                </a:moveTo>
                <a:cubicBezTo>
                  <a:pt x="1135053" y="6420390"/>
                  <a:pt x="1116936" y="6425508"/>
                  <a:pt x="1101062" y="6434944"/>
                </a:cubicBezTo>
                <a:lnTo>
                  <a:pt x="1114726" y="6460902"/>
                </a:lnTo>
                <a:cubicBezTo>
                  <a:pt x="1125976" y="6454290"/>
                  <a:pt x="1138641" y="6450388"/>
                  <a:pt x="1151699" y="6449512"/>
                </a:cubicBezTo>
                <a:cubicBezTo>
                  <a:pt x="1165095" y="6449512"/>
                  <a:pt x="1172060" y="6455075"/>
                  <a:pt x="1172060" y="6463816"/>
                </a:cubicBezTo>
                <a:lnTo>
                  <a:pt x="1172060" y="6465140"/>
                </a:lnTo>
                <a:cubicBezTo>
                  <a:pt x="1172060" y="6469643"/>
                  <a:pt x="1169381" y="6472292"/>
                  <a:pt x="1163487" y="6472292"/>
                </a:cubicBezTo>
                <a:lnTo>
                  <a:pt x="1139375" y="6472292"/>
                </a:lnTo>
                <a:cubicBezTo>
                  <a:pt x="1112046" y="6472292"/>
                  <a:pt x="1094901" y="6486595"/>
                  <a:pt x="1094901" y="6509640"/>
                </a:cubicBezTo>
                <a:cubicBezTo>
                  <a:pt x="1094915" y="6510010"/>
                  <a:pt x="1094936" y="6510379"/>
                  <a:pt x="1094960" y="6510749"/>
                </a:cubicBezTo>
                <a:cubicBezTo>
                  <a:pt x="1096437" y="6532662"/>
                  <a:pt x="1115603" y="6549243"/>
                  <a:pt x="1137766" y="6547782"/>
                </a:cubicBezTo>
                <a:cubicBezTo>
                  <a:pt x="1150890" y="6548592"/>
                  <a:pt x="1163622" y="6543184"/>
                  <a:pt x="1172060" y="6533214"/>
                </a:cubicBezTo>
                <a:lnTo>
                  <a:pt x="1172060" y="6544604"/>
                </a:lnTo>
                <a:lnTo>
                  <a:pt x="1206890" y="6544604"/>
                </a:lnTo>
                <a:lnTo>
                  <a:pt x="1206890" y="6464875"/>
                </a:lnTo>
                <a:cubicBezTo>
                  <a:pt x="1206890" y="6432825"/>
                  <a:pt x="1181438" y="6420111"/>
                  <a:pt x="1153574" y="6420111"/>
                </a:cubicBezTo>
                <a:close/>
                <a:moveTo>
                  <a:pt x="568575" y="6383429"/>
                </a:moveTo>
                <a:cubicBezTo>
                  <a:pt x="555414" y="6428156"/>
                  <a:pt x="555406" y="6475664"/>
                  <a:pt x="568549" y="6520396"/>
                </a:cubicBezTo>
                <a:cubicBezTo>
                  <a:pt x="587170" y="6522621"/>
                  <a:pt x="606017" y="6522184"/>
                  <a:pt x="624511" y="6519097"/>
                </a:cubicBezTo>
                <a:cubicBezTo>
                  <a:pt x="610287" y="6481610"/>
                  <a:pt x="608324" y="6440654"/>
                  <a:pt x="618898" y="6402004"/>
                </a:cubicBezTo>
                <a:cubicBezTo>
                  <a:pt x="620492" y="6396123"/>
                  <a:pt x="622369" y="6390366"/>
                  <a:pt x="624479" y="6384725"/>
                </a:cubicBezTo>
                <a:cubicBezTo>
                  <a:pt x="606004" y="6381645"/>
                  <a:pt x="587176" y="6381208"/>
                  <a:pt x="568575" y="6383429"/>
                </a:cubicBezTo>
                <a:close/>
                <a:moveTo>
                  <a:pt x="1659953" y="6377201"/>
                </a:moveTo>
                <a:lnTo>
                  <a:pt x="1659953" y="6423290"/>
                </a:lnTo>
                <a:lnTo>
                  <a:pt x="1640662" y="6423290"/>
                </a:lnTo>
                <a:lnTo>
                  <a:pt x="1640662" y="6452426"/>
                </a:lnTo>
                <a:lnTo>
                  <a:pt x="1659953" y="6452426"/>
                </a:lnTo>
                <a:lnTo>
                  <a:pt x="1659953" y="6518911"/>
                </a:lnTo>
                <a:cubicBezTo>
                  <a:pt x="1659953" y="6543280"/>
                  <a:pt x="1677900" y="6546194"/>
                  <a:pt x="1695318" y="6546194"/>
                </a:cubicBezTo>
                <a:cubicBezTo>
                  <a:pt x="1705497" y="6546194"/>
                  <a:pt x="1722377" y="6544604"/>
                  <a:pt x="1722377" y="6544604"/>
                </a:cubicBezTo>
                <a:lnTo>
                  <a:pt x="1722377" y="6515203"/>
                </a:lnTo>
                <a:cubicBezTo>
                  <a:pt x="1722377" y="6515203"/>
                  <a:pt x="1715137" y="6515998"/>
                  <a:pt x="1706303" y="6515998"/>
                </a:cubicBezTo>
                <a:cubicBezTo>
                  <a:pt x="1700945" y="6515998"/>
                  <a:pt x="1694780" y="6514938"/>
                  <a:pt x="1694780" y="6507256"/>
                </a:cubicBezTo>
                <a:lnTo>
                  <a:pt x="1694780" y="6452426"/>
                </a:lnTo>
                <a:lnTo>
                  <a:pt x="1721302" y="6452426"/>
                </a:lnTo>
                <a:lnTo>
                  <a:pt x="1721302" y="6423290"/>
                </a:lnTo>
                <a:lnTo>
                  <a:pt x="1694780" y="6423290"/>
                </a:lnTo>
                <a:lnTo>
                  <a:pt x="1694780" y="6377201"/>
                </a:lnTo>
                <a:close/>
                <a:moveTo>
                  <a:pt x="1884617" y="6359355"/>
                </a:moveTo>
                <a:lnTo>
                  <a:pt x="1884617" y="6392335"/>
                </a:lnTo>
                <a:lnTo>
                  <a:pt x="1893998" y="6392335"/>
                </a:lnTo>
                <a:lnTo>
                  <a:pt x="1893998" y="6373492"/>
                </a:lnTo>
                <a:lnTo>
                  <a:pt x="1898291" y="6385270"/>
                </a:lnTo>
                <a:lnTo>
                  <a:pt x="1905819" y="6385270"/>
                </a:lnTo>
                <a:lnTo>
                  <a:pt x="1910111" y="6373492"/>
                </a:lnTo>
                <a:lnTo>
                  <a:pt x="1910111" y="6392335"/>
                </a:lnTo>
                <a:lnTo>
                  <a:pt x="1919685" y="6392335"/>
                </a:lnTo>
                <a:lnTo>
                  <a:pt x="1919685" y="6359355"/>
                </a:lnTo>
                <a:lnTo>
                  <a:pt x="1907566" y="6359355"/>
                </a:lnTo>
                <a:lnTo>
                  <a:pt x="1902362" y="6373114"/>
                </a:lnTo>
                <a:lnTo>
                  <a:pt x="1897494" y="6359355"/>
                </a:lnTo>
                <a:close/>
                <a:moveTo>
                  <a:pt x="1850683" y="6359355"/>
                </a:moveTo>
                <a:lnTo>
                  <a:pt x="1850683" y="6367929"/>
                </a:lnTo>
                <a:lnTo>
                  <a:pt x="1860074" y="6367929"/>
                </a:lnTo>
                <a:lnTo>
                  <a:pt x="1860074" y="6392335"/>
                </a:lnTo>
                <a:lnTo>
                  <a:pt x="1869839" y="6392335"/>
                </a:lnTo>
                <a:lnTo>
                  <a:pt x="1869839" y="6367929"/>
                </a:lnTo>
                <a:lnTo>
                  <a:pt x="1879230" y="6367929"/>
                </a:lnTo>
                <a:lnTo>
                  <a:pt x="1879230" y="6359355"/>
                </a:lnTo>
                <a:close/>
                <a:moveTo>
                  <a:pt x="1352105" y="6359189"/>
                </a:moveTo>
                <a:cubicBezTo>
                  <a:pt x="1339759" y="6359284"/>
                  <a:pt x="1329816" y="6369233"/>
                  <a:pt x="1329868" y="6381439"/>
                </a:cubicBezTo>
                <a:cubicBezTo>
                  <a:pt x="1329940" y="6393552"/>
                  <a:pt x="1339855" y="6403355"/>
                  <a:pt x="1352108" y="6403427"/>
                </a:cubicBezTo>
                <a:cubicBezTo>
                  <a:pt x="1364463" y="6403498"/>
                  <a:pt x="1374538" y="6393654"/>
                  <a:pt x="1374610" y="6381439"/>
                </a:cubicBezTo>
                <a:cubicBezTo>
                  <a:pt x="1374610" y="6381414"/>
                  <a:pt x="1374610" y="6381388"/>
                  <a:pt x="1374610" y="6381364"/>
                </a:cubicBezTo>
                <a:cubicBezTo>
                  <a:pt x="1374589" y="6369096"/>
                  <a:pt x="1364513" y="6359168"/>
                  <a:pt x="1352105" y="6359189"/>
                </a:cubicBezTo>
                <a:close/>
                <a:moveTo>
                  <a:pt x="1041583" y="6359189"/>
                </a:moveTo>
                <a:lnTo>
                  <a:pt x="1041583" y="6544604"/>
                </a:lnTo>
                <a:lnTo>
                  <a:pt x="1076143" y="6544604"/>
                </a:lnTo>
                <a:lnTo>
                  <a:pt x="1076143" y="6359189"/>
                </a:lnTo>
                <a:close/>
                <a:moveTo>
                  <a:pt x="925239" y="6355990"/>
                </a:moveTo>
                <a:cubicBezTo>
                  <a:pt x="872870" y="6357183"/>
                  <a:pt x="831395" y="6400122"/>
                  <a:pt x="832602" y="6451897"/>
                </a:cubicBezTo>
                <a:cubicBezTo>
                  <a:pt x="832562" y="6453595"/>
                  <a:pt x="832569" y="6455292"/>
                  <a:pt x="832623" y="6456990"/>
                </a:cubicBezTo>
                <a:cubicBezTo>
                  <a:pt x="834261" y="6508753"/>
                  <a:pt x="878033" y="6549402"/>
                  <a:pt x="930389" y="6547783"/>
                </a:cubicBezTo>
                <a:cubicBezTo>
                  <a:pt x="973630" y="6548900"/>
                  <a:pt x="1011845" y="6520151"/>
                  <a:pt x="1022285" y="6478650"/>
                </a:cubicBezTo>
                <a:lnTo>
                  <a:pt x="981294" y="6478650"/>
                </a:lnTo>
                <a:cubicBezTo>
                  <a:pt x="974516" y="6500553"/>
                  <a:pt x="953525" y="6515080"/>
                  <a:pt x="930389" y="6513878"/>
                </a:cubicBezTo>
                <a:cubicBezTo>
                  <a:pt x="895026" y="6513878"/>
                  <a:pt x="871450" y="6487391"/>
                  <a:pt x="871450" y="6451897"/>
                </a:cubicBezTo>
                <a:cubicBezTo>
                  <a:pt x="871450" y="6416403"/>
                  <a:pt x="895026" y="6389916"/>
                  <a:pt x="930389" y="6389916"/>
                </a:cubicBezTo>
                <a:cubicBezTo>
                  <a:pt x="953525" y="6388714"/>
                  <a:pt x="974516" y="6403241"/>
                  <a:pt x="981294" y="6425144"/>
                </a:cubicBezTo>
                <a:lnTo>
                  <a:pt x="1022285" y="6425144"/>
                </a:lnTo>
                <a:cubicBezTo>
                  <a:pt x="1011846" y="6383642"/>
                  <a:pt x="973630" y="6354892"/>
                  <a:pt x="930389" y="6356011"/>
                </a:cubicBezTo>
                <a:cubicBezTo>
                  <a:pt x="928673" y="6355958"/>
                  <a:pt x="926955" y="6355951"/>
                  <a:pt x="925239" y="6355990"/>
                </a:cubicBezTo>
                <a:close/>
                <a:moveTo>
                  <a:pt x="651232" y="6336161"/>
                </a:moveTo>
                <a:cubicBezTo>
                  <a:pt x="639985" y="6350984"/>
                  <a:pt x="630973" y="6367343"/>
                  <a:pt x="624479" y="6384726"/>
                </a:cubicBezTo>
                <a:cubicBezTo>
                  <a:pt x="670541" y="6392471"/>
                  <a:pt x="712258" y="6416315"/>
                  <a:pt x="742033" y="6451914"/>
                </a:cubicBezTo>
                <a:cubicBezTo>
                  <a:pt x="712265" y="6487505"/>
                  <a:pt x="670562" y="6511346"/>
                  <a:pt x="624512" y="6519097"/>
                </a:cubicBezTo>
                <a:cubicBezTo>
                  <a:pt x="631041" y="6536476"/>
                  <a:pt x="640089" y="6552825"/>
                  <a:pt x="651373" y="6567631"/>
                </a:cubicBezTo>
                <a:cubicBezTo>
                  <a:pt x="697088" y="6556502"/>
                  <a:pt x="738657" y="6532746"/>
                  <a:pt x="771228" y="6499136"/>
                </a:cubicBezTo>
                <a:cubicBezTo>
                  <a:pt x="763842" y="6482091"/>
                  <a:pt x="754009" y="6466186"/>
                  <a:pt x="742033" y="6451914"/>
                </a:cubicBezTo>
                <a:cubicBezTo>
                  <a:pt x="754009" y="6437642"/>
                  <a:pt x="763841" y="6421738"/>
                  <a:pt x="771227" y="6404692"/>
                </a:cubicBezTo>
                <a:cubicBezTo>
                  <a:pt x="738623" y="6371047"/>
                  <a:pt x="697001" y="6347276"/>
                  <a:pt x="651232" y="6336161"/>
                </a:cubicBezTo>
                <a:close/>
                <a:moveTo>
                  <a:pt x="0" y="0"/>
                </a:moveTo>
                <a:lnTo>
                  <a:pt x="8040688" y="0"/>
                </a:lnTo>
                <a:lnTo>
                  <a:pt x="8040688" y="6858000"/>
                </a:lnTo>
                <a:lnTo>
                  <a:pt x="0" y="6858000"/>
                </a:lnTo>
                <a:close/>
              </a:path>
            </a:pathLst>
          </a:custGeom>
          <a:solidFill>
            <a:schemeClr val="bg1">
              <a:lumMod val="95000"/>
            </a:schemeClr>
          </a:solidFill>
          <a:ln>
            <a:noFill/>
          </a:ln>
        </p:spPr>
        <p:txBody>
          <a:bodyPr wrap="square" tIns="180000" anchor="t" anchorCtr="0">
            <a:noAutofit/>
          </a:bodyPr>
          <a:lstStyle>
            <a:lvl1pPr marL="0" indent="0" algn="ctr">
              <a:buNone/>
              <a:defRPr sz="1000">
                <a:solidFill>
                  <a:schemeClr val="accent2"/>
                </a:solidFill>
                <a:latin typeface="+mn-lt"/>
              </a:defRPr>
            </a:lvl1pPr>
          </a:lstStyle>
          <a:p>
            <a:pPr lvl="0"/>
            <a:r>
              <a:rPr lang="en-US"/>
              <a:t>Drag picture file here or click </a:t>
            </a:r>
            <a:r>
              <a:rPr lang="en-GB" noProof="0" err="1"/>
              <a:t>center</a:t>
            </a:r>
            <a:r>
              <a:rPr lang="en-US"/>
              <a:t> icon to insert light image</a:t>
            </a:r>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2168525"/>
            <a:ext cx="3024000" cy="1620837"/>
          </a:xfrm>
        </p:spPr>
        <p:txBody>
          <a:bodyPr anchor="b" anchorCtr="0"/>
          <a:lstStyle>
            <a:lvl1pPr marL="0" indent="0" algn="ctr">
              <a:buNone/>
              <a:defRPr sz="12000" spc="-300" baseline="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3608388"/>
            <a:ext cx="3024000"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66982108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0:50 Text / Big Stat">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192AC438-4963-3E86-AF1D-907809837B4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096000" y="2861"/>
            <a:ext cx="6096000" cy="6852277"/>
          </a:xfrm>
          <a:prstGeom prst="rect">
            <a:avLst/>
          </a:prstGeom>
        </p:spPr>
      </p:pic>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6959600" y="2168525"/>
            <a:ext cx="4679821" cy="1620837"/>
          </a:xfrm>
        </p:spPr>
        <p:txBody>
          <a:bodyPr anchor="b" anchorCtr="0"/>
          <a:lstStyle>
            <a:lvl1pPr marL="0" indent="0" algn="ctr">
              <a:buNone/>
              <a:defRPr lang="en-US" sz="12000" kern="1200" spc="-300" baseline="0" dirty="0">
                <a:solidFill>
                  <a:schemeClr val="accent1"/>
                </a:solidFill>
                <a:latin typeface="+mn-lt"/>
                <a:ea typeface="+mn-ea"/>
                <a:cs typeface="+mn-cs"/>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marL="0" lvl="0" indent="0" algn="ctr" defTabSz="914400" rtl="0" eaLnBrk="1" latinLnBrk="0" hangingPunct="1">
              <a:lnSpc>
                <a:spcPct val="100000"/>
              </a:lnSpc>
              <a:spcBef>
                <a:spcPts val="900"/>
              </a:spcBef>
              <a:buFont typeface="Arial" panose="020B0604020202020204" pitchFamily="34" charset="0"/>
              <a:buNone/>
            </a:pPr>
            <a:r>
              <a:rPr lang="en-US"/>
              <a:t>88%</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6959600" y="3608388"/>
            <a:ext cx="4679821"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7" name="Title 1">
            <a:extLst>
              <a:ext uri="{FF2B5EF4-FFF2-40B4-BE49-F238E27FC236}">
                <a16:creationId xmlns:a16="http://schemas.microsoft.com/office/drawing/2014/main" id="{7DE71408-1F6A-1900-3166-8B0F27B91CF7}"/>
              </a:ext>
            </a:extLst>
          </p:cNvPr>
          <p:cNvSpPr>
            <a:spLocks noGrp="1"/>
          </p:cNvSpPr>
          <p:nvPr>
            <p:ph type="title" hasCustomPrompt="1"/>
          </p:nvPr>
        </p:nvSpPr>
        <p:spPr>
          <a:xfrm>
            <a:off x="550865" y="368828"/>
            <a:ext cx="5075998" cy="251885"/>
          </a:xfrm>
        </p:spPr>
        <p:txBody>
          <a:bodyPr/>
          <a:lstStyle>
            <a:lvl1pPr>
              <a:defRPr/>
            </a:lvl1pPr>
          </a:lstStyle>
          <a:p>
            <a:r>
              <a:rPr lang="en-US"/>
              <a:t>Header avenir demi 24pt</a:t>
            </a:r>
            <a:endParaRPr lang="en-GB"/>
          </a:p>
        </p:txBody>
      </p:sp>
      <p:sp>
        <p:nvSpPr>
          <p:cNvPr id="10" name="Text Placeholder 9">
            <a:extLst>
              <a:ext uri="{FF2B5EF4-FFF2-40B4-BE49-F238E27FC236}">
                <a16:creationId xmlns:a16="http://schemas.microsoft.com/office/drawing/2014/main" id="{E040A9B4-F93C-AB35-66CE-1690CFBC2581}"/>
              </a:ext>
            </a:extLst>
          </p:cNvPr>
          <p:cNvSpPr>
            <a:spLocks noGrp="1"/>
          </p:cNvSpPr>
          <p:nvPr>
            <p:ph type="body" sz="quarter" idx="13" hasCustomPrompt="1"/>
          </p:nvPr>
        </p:nvSpPr>
        <p:spPr>
          <a:xfrm>
            <a:off x="550865" y="753852"/>
            <a:ext cx="5075998"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03BC752C-CC9E-C49E-83BC-B6B704830335}"/>
              </a:ext>
            </a:extLst>
          </p:cNvPr>
          <p:cNvSpPr>
            <a:spLocks noGrp="1"/>
          </p:cNvSpPr>
          <p:nvPr>
            <p:ph type="body" sz="quarter" idx="14"/>
          </p:nvPr>
        </p:nvSpPr>
        <p:spPr>
          <a:xfrm>
            <a:off x="550862" y="1808163"/>
            <a:ext cx="5076000" cy="4321175"/>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6361172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xt / Big Stat">
    <p:spTree>
      <p:nvGrpSpPr>
        <p:cNvPr id="1" name=""/>
        <p:cNvGrpSpPr/>
        <p:nvPr/>
      </p:nvGrpSpPr>
      <p:grpSpPr>
        <a:xfrm>
          <a:off x="0" y="0"/>
          <a:ext cx="0" cy="0"/>
          <a:chOff x="0" y="0"/>
          <a:chExt cx="0" cy="0"/>
        </a:xfrm>
      </p:grpSpPr>
      <p:pic>
        <p:nvPicPr>
          <p:cNvPr id="5" name="Picture 4" descr="A picture containing dark, lit, white, light&#10;&#10;Description automatically generated">
            <a:extLst>
              <a:ext uri="{FF2B5EF4-FFF2-40B4-BE49-F238E27FC236}">
                <a16:creationId xmlns:a16="http://schemas.microsoft.com/office/drawing/2014/main" id="{F3AC6818-4D80-7C27-6F3D-8D1DFA9EF1C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040689" y="1"/>
            <a:ext cx="4151312" cy="6858000"/>
          </a:xfrm>
          <a:prstGeom prst="rect">
            <a:avLst/>
          </a:prstGeom>
        </p:spPr>
      </p:pic>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2168525"/>
            <a:ext cx="3024000" cy="1620837"/>
          </a:xfrm>
        </p:spPr>
        <p:txBody>
          <a:bodyPr anchor="b" anchorCtr="0"/>
          <a:lstStyle>
            <a:lvl1pPr marL="0" indent="0" algn="ctr">
              <a:buNone/>
              <a:defRPr sz="12000" spc="-300" baseline="0">
                <a:solidFill>
                  <a:schemeClr val="accent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3608388"/>
            <a:ext cx="3024000"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11" name="Title 1">
            <a:extLst>
              <a:ext uri="{FF2B5EF4-FFF2-40B4-BE49-F238E27FC236}">
                <a16:creationId xmlns:a16="http://schemas.microsoft.com/office/drawing/2014/main" id="{5F4A0393-5E31-B1D7-44B4-0AE64D41191E}"/>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12" name="Text Placeholder 9">
            <a:extLst>
              <a:ext uri="{FF2B5EF4-FFF2-40B4-BE49-F238E27FC236}">
                <a16:creationId xmlns:a16="http://schemas.microsoft.com/office/drawing/2014/main" id="{3EF12EEA-B717-A2D4-DD8A-8AD5480E07F4}"/>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2" name="Text Placeholder 12">
            <a:extLst>
              <a:ext uri="{FF2B5EF4-FFF2-40B4-BE49-F238E27FC236}">
                <a16:creationId xmlns:a16="http://schemas.microsoft.com/office/drawing/2014/main" id="{2C9B01AB-F676-3FF4-AEAE-E94065157406}"/>
              </a:ext>
            </a:extLst>
          </p:cNvPr>
          <p:cNvSpPr>
            <a:spLocks noGrp="1"/>
          </p:cNvSpPr>
          <p:nvPr>
            <p:ph type="body" sz="quarter" idx="14"/>
          </p:nvPr>
        </p:nvSpPr>
        <p:spPr>
          <a:xfrm>
            <a:off x="550861" y="1808163"/>
            <a:ext cx="6966375" cy="4321175"/>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508786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Purple Stars - Full Detail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9A3069A-5503-59F7-D61A-D5B5F0BC70E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3"/>
            <a:ext cx="12192004" cy="6858003"/>
          </a:xfrm>
          <a:prstGeom prst="rect">
            <a:avLst/>
          </a:prstGeom>
        </p:spPr>
      </p:pic>
      <p:pic>
        <p:nvPicPr>
          <p:cNvPr id="14" name="Graphic 13">
            <a:extLst>
              <a:ext uri="{FF2B5EF4-FFF2-40B4-BE49-F238E27FC236}">
                <a16:creationId xmlns:a16="http://schemas.microsoft.com/office/drawing/2014/main" id="{1096E191-2144-60BE-91CE-85588EF18E7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300468" y="437514"/>
            <a:ext cx="1591064" cy="268913"/>
          </a:xfrm>
          <a:prstGeom prst="rect">
            <a:avLst/>
          </a:prstGeom>
        </p:spPr>
      </p:pic>
      <p:sp>
        <p:nvSpPr>
          <p:cNvPr id="17" name="Text Placeholder 9">
            <a:extLst>
              <a:ext uri="{FF2B5EF4-FFF2-40B4-BE49-F238E27FC236}">
                <a16:creationId xmlns:a16="http://schemas.microsoft.com/office/drawing/2014/main" id="{49C182B8-C7DD-EE7B-F51B-FA5E11F3C83E}"/>
              </a:ext>
            </a:extLst>
          </p:cNvPr>
          <p:cNvSpPr>
            <a:spLocks noGrp="1"/>
          </p:cNvSpPr>
          <p:nvPr>
            <p:ph type="body" sz="quarter" idx="13" hasCustomPrompt="1"/>
          </p:nvPr>
        </p:nvSpPr>
        <p:spPr>
          <a:xfrm>
            <a:off x="3359151" y="4274031"/>
            <a:ext cx="5473700" cy="252000"/>
          </a:xfrm>
          <a:prstGeom prst="rect">
            <a:avLst/>
          </a:prstGeom>
        </p:spPr>
        <p:txBody>
          <a:bodyPr lIns="0" tIns="0" rIns="0" bIns="0">
            <a:noAutofit/>
          </a:bodyPr>
          <a:lstStyle>
            <a:lvl1pPr marL="0" indent="0" algn="ctr">
              <a:lnSpc>
                <a:spcPct val="90000"/>
              </a:lnSpc>
              <a:buNone/>
              <a:defRPr sz="1800">
                <a:solidFill>
                  <a:schemeClr val="bg1"/>
                </a:solidFill>
                <a:latin typeface="+mj-lt"/>
              </a:defRPr>
            </a:lvl1pPr>
          </a:lstStyle>
          <a:p>
            <a:pPr lvl="0"/>
            <a:r>
              <a:rPr lang="en-US"/>
              <a:t>Forename Surname</a:t>
            </a:r>
            <a:endParaRPr lang="en-GB"/>
          </a:p>
        </p:txBody>
      </p:sp>
      <p:sp>
        <p:nvSpPr>
          <p:cNvPr id="18" name="Text Placeholder 9">
            <a:extLst>
              <a:ext uri="{FF2B5EF4-FFF2-40B4-BE49-F238E27FC236}">
                <a16:creationId xmlns:a16="http://schemas.microsoft.com/office/drawing/2014/main" id="{7E298FBE-14CA-2668-CBA1-51444BE8783F}"/>
              </a:ext>
            </a:extLst>
          </p:cNvPr>
          <p:cNvSpPr>
            <a:spLocks noGrp="1"/>
          </p:cNvSpPr>
          <p:nvPr>
            <p:ph type="body" sz="quarter" idx="14" hasCustomPrompt="1"/>
          </p:nvPr>
        </p:nvSpPr>
        <p:spPr>
          <a:xfrm>
            <a:off x="3359150" y="4540162"/>
            <a:ext cx="5473699" cy="252000"/>
          </a:xfrm>
          <a:prstGeom prst="rect">
            <a:avLst/>
          </a:prstGeom>
        </p:spPr>
        <p:txBody>
          <a:bodyPr lIns="0" tIns="0" rIns="0" bIns="0">
            <a:noAutofit/>
          </a:bodyPr>
          <a:lstStyle>
            <a:lvl1pPr marL="0" indent="0" algn="ctr">
              <a:lnSpc>
                <a:spcPct val="90000"/>
              </a:lnSpc>
              <a:buNone/>
              <a:defRPr sz="1800">
                <a:solidFill>
                  <a:schemeClr val="bg1"/>
                </a:solidFill>
                <a:latin typeface="+mn-lt"/>
              </a:defRPr>
            </a:lvl1pPr>
          </a:lstStyle>
          <a:p>
            <a:pPr lvl="0"/>
            <a:r>
              <a:rPr lang="en-US"/>
              <a:t>forename.surname@clarivate.com</a:t>
            </a:r>
            <a:endParaRPr lang="en-GB"/>
          </a:p>
        </p:txBody>
      </p:sp>
      <p:sp>
        <p:nvSpPr>
          <p:cNvPr id="19" name="Text Placeholder 9">
            <a:extLst>
              <a:ext uri="{FF2B5EF4-FFF2-40B4-BE49-F238E27FC236}">
                <a16:creationId xmlns:a16="http://schemas.microsoft.com/office/drawing/2014/main" id="{6C38E137-2FCE-14E8-AECF-571F9A547EBB}"/>
              </a:ext>
            </a:extLst>
          </p:cNvPr>
          <p:cNvSpPr>
            <a:spLocks noGrp="1"/>
          </p:cNvSpPr>
          <p:nvPr>
            <p:ph type="body" sz="quarter" idx="15" hasCustomPrompt="1"/>
          </p:nvPr>
        </p:nvSpPr>
        <p:spPr>
          <a:xfrm>
            <a:off x="3359151" y="4834830"/>
            <a:ext cx="5473699" cy="252000"/>
          </a:xfrm>
          <a:prstGeom prst="rect">
            <a:avLst/>
          </a:prstGeom>
        </p:spPr>
        <p:txBody>
          <a:bodyPr lIns="0" tIns="0" rIns="0" bIns="0">
            <a:noAutofit/>
          </a:bodyPr>
          <a:lstStyle>
            <a:lvl1pPr marL="0" indent="0" algn="ctr">
              <a:lnSpc>
                <a:spcPct val="90000"/>
              </a:lnSpc>
              <a:buNone/>
              <a:defRPr sz="1700">
                <a:solidFill>
                  <a:schemeClr val="bg1"/>
                </a:solidFill>
                <a:latin typeface="+mn-lt"/>
              </a:defRPr>
            </a:lvl1pPr>
          </a:lstStyle>
          <a:p>
            <a:pPr lvl="0"/>
            <a:r>
              <a:rPr lang="en-US"/>
              <a:t>+000 0000 0000</a:t>
            </a:r>
            <a:endParaRPr lang="en-GB"/>
          </a:p>
        </p:txBody>
      </p:sp>
      <p:sp>
        <p:nvSpPr>
          <p:cNvPr id="20" name="Text Placeholder 9">
            <a:extLst>
              <a:ext uri="{FF2B5EF4-FFF2-40B4-BE49-F238E27FC236}">
                <a16:creationId xmlns:a16="http://schemas.microsoft.com/office/drawing/2014/main" id="{97390884-694C-EA75-63FD-50D2649429CF}"/>
              </a:ext>
            </a:extLst>
          </p:cNvPr>
          <p:cNvSpPr>
            <a:spLocks noGrp="1"/>
          </p:cNvSpPr>
          <p:nvPr>
            <p:ph type="body" sz="quarter" idx="16" hasCustomPrompt="1"/>
          </p:nvPr>
        </p:nvSpPr>
        <p:spPr>
          <a:xfrm>
            <a:off x="554037" y="2901862"/>
            <a:ext cx="11094244" cy="719138"/>
          </a:xfrm>
          <a:prstGeom prst="rect">
            <a:avLst/>
          </a:prstGeom>
        </p:spPr>
        <p:txBody>
          <a:bodyPr lIns="0" tIns="36000" rIns="0" bIns="0" anchor="ctr" anchorCtr="0">
            <a:noAutofit/>
          </a:bodyPr>
          <a:lstStyle>
            <a:lvl1pPr marL="0" indent="0" algn="ctr">
              <a:lnSpc>
                <a:spcPct val="90000"/>
              </a:lnSpc>
              <a:buNone/>
              <a:defRPr sz="4400">
                <a:solidFill>
                  <a:schemeClr val="bg1"/>
                </a:solidFill>
                <a:latin typeface="+mj-lt"/>
              </a:defRPr>
            </a:lvl1pPr>
          </a:lstStyle>
          <a:p>
            <a:pPr lvl="0"/>
            <a:r>
              <a:rPr lang="en-US"/>
              <a:t>Thank you</a:t>
            </a:r>
            <a:endParaRPr lang="en-GB"/>
          </a:p>
        </p:txBody>
      </p:sp>
      <p:sp>
        <p:nvSpPr>
          <p:cNvPr id="5" name="TextBox 4">
            <a:extLst>
              <a:ext uri="{FF2B5EF4-FFF2-40B4-BE49-F238E27FC236}">
                <a16:creationId xmlns:a16="http://schemas.microsoft.com/office/drawing/2014/main" id="{47EC7D1E-62E3-3E63-06C1-118A7ED2A8FB}"/>
              </a:ext>
            </a:extLst>
          </p:cNvPr>
          <p:cNvSpPr txBox="1"/>
          <p:nvPr userDrawn="1"/>
        </p:nvSpPr>
        <p:spPr>
          <a:xfrm>
            <a:off x="8901583" y="6065125"/>
            <a:ext cx="2746698" cy="684803"/>
          </a:xfrm>
          <a:prstGeom prst="rect">
            <a:avLst/>
          </a:prstGeom>
          <a:noFill/>
        </p:spPr>
        <p:txBody>
          <a:bodyPr wrap="square" rtlCol="0">
            <a:spAutoFit/>
          </a:bodyPr>
          <a:lstStyle/>
          <a:p>
            <a:pPr marL="0" algn="l" defTabSz="914400" rtl="0" eaLnBrk="1" latinLnBrk="0" hangingPunct="1">
              <a:spcAft>
                <a:spcPts val="300"/>
              </a:spcAft>
            </a:pPr>
            <a:r>
              <a:rPr lang="en-US" sz="900" kern="1200" noProof="0">
                <a:solidFill>
                  <a:schemeClr val="bg1"/>
                </a:solidFill>
                <a:latin typeface="+mj-lt"/>
                <a:ea typeface="+mn-ea"/>
                <a:cs typeface="+mn-cs"/>
              </a:rPr>
              <a:t>© 2023 Clarivate</a:t>
            </a:r>
          </a:p>
          <a:p>
            <a:r>
              <a:rPr lang="en-US" sz="900" noProof="0">
                <a:solidFill>
                  <a:schemeClr val="bg1"/>
                </a:solidFill>
              </a:rPr>
              <a:t>Clarivate and its logo, as well as all other trademarks used herein are trademarks of their respective owners and used under license.</a:t>
            </a:r>
          </a:p>
        </p:txBody>
      </p:sp>
      <p:sp>
        <p:nvSpPr>
          <p:cNvPr id="6" name="TextBox 5">
            <a:extLst>
              <a:ext uri="{FF2B5EF4-FFF2-40B4-BE49-F238E27FC236}">
                <a16:creationId xmlns:a16="http://schemas.microsoft.com/office/drawing/2014/main" id="{87AB04B5-3D56-0BB5-9DDB-477262BE3C48}"/>
              </a:ext>
            </a:extLst>
          </p:cNvPr>
          <p:cNvSpPr txBox="1"/>
          <p:nvPr userDrawn="1"/>
        </p:nvSpPr>
        <p:spPr>
          <a:xfrm>
            <a:off x="481400" y="6065125"/>
            <a:ext cx="8351450" cy="684803"/>
          </a:xfrm>
          <a:prstGeom prst="rect">
            <a:avLst/>
          </a:prstGeom>
          <a:noFill/>
        </p:spPr>
        <p:txBody>
          <a:bodyPr wrap="square" rtlCol="0">
            <a:spAutoFit/>
          </a:bodyPr>
          <a:lstStyle/>
          <a:p>
            <a:pPr>
              <a:spcAft>
                <a:spcPts val="300"/>
              </a:spcAft>
            </a:pPr>
            <a:r>
              <a:rPr lang="en-US" sz="900" noProof="0">
                <a:solidFill>
                  <a:schemeClr val="bg1"/>
                </a:solidFill>
                <a:latin typeface="+mj-lt"/>
              </a:rPr>
              <a:t>About Clarivate</a:t>
            </a:r>
          </a:p>
          <a:p>
            <a:r>
              <a:rPr lang="en-US" sz="900" b="0" i="0" u="none" strike="noStrike" noProof="0">
                <a:solidFill>
                  <a:schemeClr val="bg1"/>
                </a:solidFill>
                <a:effectLst/>
              </a:rPr>
              <a:t>Clarivate is the leading global information services provider. We connect people and organizations to intelligence they can trust to transform their perspective, their work and our world. Our subscription and technology-based solutions are coupled with deep domain expertise and cover the areas </a:t>
            </a:r>
            <a:br>
              <a:rPr lang="en-US" sz="900" b="0" i="0" u="none" strike="noStrike" noProof="0">
                <a:solidFill>
                  <a:schemeClr val="bg1"/>
                </a:solidFill>
                <a:effectLst/>
              </a:rPr>
            </a:br>
            <a:r>
              <a:rPr lang="en-US" sz="900" b="0" i="0" u="none" strike="noStrike" noProof="0">
                <a:solidFill>
                  <a:schemeClr val="bg1"/>
                </a:solidFill>
                <a:effectLst/>
              </a:rPr>
              <a:t>of Academia &amp; Government, Life Sciences &amp; Healthcare and Intellectual Property. For more information, please visit </a:t>
            </a:r>
            <a:r>
              <a:rPr lang="en-US" sz="900" b="0" i="0" noProof="0">
                <a:solidFill>
                  <a:schemeClr val="bg1"/>
                </a:solidFill>
                <a:effectLst/>
                <a:hlinkClick r:id="rId5" tooltip="http://clarivate.com">
                  <a:extLst>
                    <a:ext uri="{A12FA001-AC4F-418D-AE19-62706E023703}">
                      <ahyp:hlinkClr xmlns:ahyp="http://schemas.microsoft.com/office/drawing/2018/hyperlinkcolor" val="tx"/>
                    </a:ext>
                  </a:extLst>
                </a:hlinkClick>
              </a:rPr>
              <a:t>clarivate.com</a:t>
            </a:r>
            <a:endParaRPr lang="en-US" sz="900" noProof="0">
              <a:solidFill>
                <a:schemeClr val="bg1"/>
              </a:solidFill>
            </a:endParaRPr>
          </a:p>
        </p:txBody>
      </p:sp>
    </p:spTree>
    <p:extLst>
      <p:ext uri="{BB962C8B-B14F-4D97-AF65-F5344CB8AC3E}">
        <p14:creationId xmlns:p14="http://schemas.microsoft.com/office/powerpoint/2010/main" val="314598923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x Columns / Big Stat">
    <p:spTree>
      <p:nvGrpSpPr>
        <p:cNvPr id="1" name=""/>
        <p:cNvGrpSpPr/>
        <p:nvPr/>
      </p:nvGrpSpPr>
      <p:grpSpPr>
        <a:xfrm>
          <a:off x="0" y="0"/>
          <a:ext cx="0" cy="0"/>
          <a:chOff x="0" y="0"/>
          <a:chExt cx="0" cy="0"/>
        </a:xfrm>
      </p:grpSpPr>
      <p:pic>
        <p:nvPicPr>
          <p:cNvPr id="5" name="Picture 4" descr="A picture containing dark, lit, white, light&#10;&#10;Description automatically generated">
            <a:extLst>
              <a:ext uri="{FF2B5EF4-FFF2-40B4-BE49-F238E27FC236}">
                <a16:creationId xmlns:a16="http://schemas.microsoft.com/office/drawing/2014/main" id="{F3AC6818-4D80-7C27-6F3D-8D1DFA9EF1C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040689" y="1"/>
            <a:ext cx="4151312" cy="6858000"/>
          </a:xfrm>
          <a:prstGeom prst="rect">
            <a:avLst/>
          </a:prstGeom>
        </p:spPr>
      </p:pic>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2168525"/>
            <a:ext cx="3024000" cy="1620837"/>
          </a:xfrm>
        </p:spPr>
        <p:txBody>
          <a:bodyPr anchor="b" anchorCtr="0"/>
          <a:lstStyle>
            <a:lvl1pPr marL="0" indent="0" algn="ctr">
              <a:buNone/>
              <a:defRPr sz="12000" spc="-300" baseline="0">
                <a:solidFill>
                  <a:schemeClr val="accent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3608388"/>
            <a:ext cx="3024000"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11" name="Title 1">
            <a:extLst>
              <a:ext uri="{FF2B5EF4-FFF2-40B4-BE49-F238E27FC236}">
                <a16:creationId xmlns:a16="http://schemas.microsoft.com/office/drawing/2014/main" id="{5F4A0393-5E31-B1D7-44B4-0AE64D41191E}"/>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12" name="Text Placeholder 9">
            <a:extLst>
              <a:ext uri="{FF2B5EF4-FFF2-40B4-BE49-F238E27FC236}">
                <a16:creationId xmlns:a16="http://schemas.microsoft.com/office/drawing/2014/main" id="{3EF12EEA-B717-A2D4-DD8A-8AD5480E07F4}"/>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E85E9EA0-2A22-199D-48CF-03EB94ECF487}"/>
              </a:ext>
            </a:extLst>
          </p:cNvPr>
          <p:cNvSpPr>
            <a:spLocks noGrp="1"/>
          </p:cNvSpPr>
          <p:nvPr>
            <p:ph type="body" sz="quarter" idx="14"/>
          </p:nvPr>
        </p:nvSpPr>
        <p:spPr>
          <a:xfrm>
            <a:off x="550864" y="1808163"/>
            <a:ext cx="3204000" cy="4321175"/>
          </a:xfrm>
        </p:spPr>
        <p:txBody>
          <a:bodyPr/>
          <a:lstStyle/>
          <a:p>
            <a:pPr lvl="0"/>
            <a:r>
              <a:rPr lang="en-US"/>
              <a:t>Click to 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269DCDE0-20E2-91A9-6591-26711B40C6C3}"/>
              </a:ext>
            </a:extLst>
          </p:cNvPr>
          <p:cNvSpPr>
            <a:spLocks noGrp="1"/>
          </p:cNvSpPr>
          <p:nvPr>
            <p:ph type="body" sz="quarter" idx="15"/>
          </p:nvPr>
        </p:nvSpPr>
        <p:spPr>
          <a:xfrm>
            <a:off x="4295774" y="1808163"/>
            <a:ext cx="3204000" cy="4321175"/>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1802712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1 Light Image / Big Sta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1AA0871-DF4F-3D16-30B1-C25E0C64F490}"/>
              </a:ext>
            </a:extLst>
          </p:cNvPr>
          <p:cNvSpPr/>
          <p:nvPr userDrawn="1"/>
        </p:nvSpPr>
        <p:spPr>
          <a:xfrm>
            <a:off x="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Picture 4" descr="A picture containing dark, lit, white, light&#10;&#10;Description automatically generated">
            <a:extLst>
              <a:ext uri="{FF2B5EF4-FFF2-40B4-BE49-F238E27FC236}">
                <a16:creationId xmlns:a16="http://schemas.microsoft.com/office/drawing/2014/main" id="{F3AC6818-4D80-7C27-6F3D-8D1DFA9EF1C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040689" y="1"/>
            <a:ext cx="4151312" cy="6858000"/>
          </a:xfrm>
          <a:prstGeom prst="rect">
            <a:avLst/>
          </a:prstGeom>
        </p:spPr>
      </p:pic>
      <p:sp>
        <p:nvSpPr>
          <p:cNvPr id="43" name="Picture Placeholder 42">
            <a:extLst>
              <a:ext uri="{FF2B5EF4-FFF2-40B4-BE49-F238E27FC236}">
                <a16:creationId xmlns:a16="http://schemas.microsoft.com/office/drawing/2014/main" id="{C6FE3766-7949-D482-997B-F037BAB90A2C}"/>
              </a:ext>
            </a:extLst>
          </p:cNvPr>
          <p:cNvSpPr>
            <a:spLocks noGrp="1"/>
          </p:cNvSpPr>
          <p:nvPr>
            <p:ph type="pic" sz="quarter" idx="20" hasCustomPrompt="1"/>
          </p:nvPr>
        </p:nvSpPr>
        <p:spPr>
          <a:xfrm>
            <a:off x="0" y="0"/>
            <a:ext cx="8040688" cy="6858000"/>
          </a:xfrm>
          <a:custGeom>
            <a:avLst/>
            <a:gdLst>
              <a:gd name="connsiteX0" fmla="*/ 1592699 w 8040688"/>
              <a:gd name="connsiteY0" fmla="*/ 6492423 h 6858000"/>
              <a:gd name="connsiteX1" fmla="*/ 1592699 w 8040688"/>
              <a:gd name="connsiteY1" fmla="*/ 6501164 h 6858000"/>
              <a:gd name="connsiteX2" fmla="*/ 1592546 w 8040688"/>
              <a:gd name="connsiteY2" fmla="*/ 6504388 h 6858000"/>
              <a:gd name="connsiteX3" fmla="*/ 1568857 w 8040688"/>
              <a:gd name="connsiteY3" fmla="*/ 6522619 h 6858000"/>
              <a:gd name="connsiteX4" fmla="*/ 1551438 w 8040688"/>
              <a:gd name="connsiteY4" fmla="*/ 6508315 h 6858000"/>
              <a:gd name="connsiteX5" fmla="*/ 1568857 w 8040688"/>
              <a:gd name="connsiteY5" fmla="*/ 6495071 h 6858000"/>
              <a:gd name="connsiteX6" fmla="*/ 1581983 w 8040688"/>
              <a:gd name="connsiteY6" fmla="*/ 6495071 h 6858000"/>
              <a:gd name="connsiteX7" fmla="*/ 1592699 w 8040688"/>
              <a:gd name="connsiteY7" fmla="*/ 6492423 h 6858000"/>
              <a:gd name="connsiteX8" fmla="*/ 1172060 w 8040688"/>
              <a:gd name="connsiteY8" fmla="*/ 6492423 h 6858000"/>
              <a:gd name="connsiteX9" fmla="*/ 1172060 w 8040688"/>
              <a:gd name="connsiteY9" fmla="*/ 6501164 h 6858000"/>
              <a:gd name="connsiteX10" fmla="*/ 1171906 w 8040688"/>
              <a:gd name="connsiteY10" fmla="*/ 6504389 h 6858000"/>
              <a:gd name="connsiteX11" fmla="*/ 1148216 w 8040688"/>
              <a:gd name="connsiteY11" fmla="*/ 6522619 h 6858000"/>
              <a:gd name="connsiteX12" fmla="*/ 1130802 w 8040688"/>
              <a:gd name="connsiteY12" fmla="*/ 6508315 h 6858000"/>
              <a:gd name="connsiteX13" fmla="*/ 1148216 w 8040688"/>
              <a:gd name="connsiteY13" fmla="*/ 6495071 h 6858000"/>
              <a:gd name="connsiteX14" fmla="*/ 1161343 w 8040688"/>
              <a:gd name="connsiteY14" fmla="*/ 6495071 h 6858000"/>
              <a:gd name="connsiteX15" fmla="*/ 1172060 w 8040688"/>
              <a:gd name="connsiteY15" fmla="*/ 6492423 h 6858000"/>
              <a:gd name="connsiteX16" fmla="*/ 1796056 w 8040688"/>
              <a:gd name="connsiteY16" fmla="*/ 6448718 h 6858000"/>
              <a:gd name="connsiteX17" fmla="*/ 1823115 w 8040688"/>
              <a:gd name="connsiteY17" fmla="*/ 6470969 h 6858000"/>
              <a:gd name="connsiteX18" fmla="*/ 1768190 w 8040688"/>
              <a:gd name="connsiteY18" fmla="*/ 6470969 h 6858000"/>
              <a:gd name="connsiteX19" fmla="*/ 1796056 w 8040688"/>
              <a:gd name="connsiteY19" fmla="*/ 6448718 h 6858000"/>
              <a:gd name="connsiteX20" fmla="*/ 1385331 w 8040688"/>
              <a:gd name="connsiteY20" fmla="*/ 6423290 h 6858000"/>
              <a:gd name="connsiteX21" fmla="*/ 1427128 w 8040688"/>
              <a:gd name="connsiteY21" fmla="*/ 6544605 h 6858000"/>
              <a:gd name="connsiteX22" fmla="*/ 1470261 w 8040688"/>
              <a:gd name="connsiteY22" fmla="*/ 6544605 h 6858000"/>
              <a:gd name="connsiteX23" fmla="*/ 1513932 w 8040688"/>
              <a:gd name="connsiteY23" fmla="*/ 6423290 h 6858000"/>
              <a:gd name="connsiteX24" fmla="*/ 1477223 w 8040688"/>
              <a:gd name="connsiteY24" fmla="*/ 6423290 h 6858000"/>
              <a:gd name="connsiteX25" fmla="*/ 1449367 w 8040688"/>
              <a:gd name="connsiteY25" fmla="*/ 6507521 h 6858000"/>
              <a:gd name="connsiteX26" fmla="*/ 1423104 w 8040688"/>
              <a:gd name="connsiteY26" fmla="*/ 6423290 h 6858000"/>
              <a:gd name="connsiteX27" fmla="*/ 1319153 w 8040688"/>
              <a:gd name="connsiteY27" fmla="*/ 6423290 h 6858000"/>
              <a:gd name="connsiteX28" fmla="*/ 1319153 w 8040688"/>
              <a:gd name="connsiteY28" fmla="*/ 6452426 h 6858000"/>
              <a:gd name="connsiteX29" fmla="*/ 1336299 w 8040688"/>
              <a:gd name="connsiteY29" fmla="*/ 6452426 h 6858000"/>
              <a:gd name="connsiteX30" fmla="*/ 1336299 w 8040688"/>
              <a:gd name="connsiteY30" fmla="*/ 6544604 h 6858000"/>
              <a:gd name="connsiteX31" fmla="*/ 1371127 w 8040688"/>
              <a:gd name="connsiteY31" fmla="*/ 6544604 h 6858000"/>
              <a:gd name="connsiteX32" fmla="*/ 1371127 w 8040688"/>
              <a:gd name="connsiteY32" fmla="*/ 6423290 h 6858000"/>
              <a:gd name="connsiteX33" fmla="*/ 1293161 w 8040688"/>
              <a:gd name="connsiteY33" fmla="*/ 6421700 h 6858000"/>
              <a:gd name="connsiteX34" fmla="*/ 1261280 w 8040688"/>
              <a:gd name="connsiteY34" fmla="*/ 6442626 h 6858000"/>
              <a:gd name="connsiteX35" fmla="*/ 1261280 w 8040688"/>
              <a:gd name="connsiteY35" fmla="*/ 6423290 h 6858000"/>
              <a:gd name="connsiteX36" fmla="*/ 1227522 w 8040688"/>
              <a:gd name="connsiteY36" fmla="*/ 6423290 h 6858000"/>
              <a:gd name="connsiteX37" fmla="*/ 1227522 w 8040688"/>
              <a:gd name="connsiteY37" fmla="*/ 6544604 h 6858000"/>
              <a:gd name="connsiteX38" fmla="*/ 1262352 w 8040688"/>
              <a:gd name="connsiteY38" fmla="*/ 6544604 h 6858000"/>
              <a:gd name="connsiteX39" fmla="*/ 1262352 w 8040688"/>
              <a:gd name="connsiteY39" fmla="*/ 6486596 h 6858000"/>
              <a:gd name="connsiteX40" fmla="*/ 1288073 w 8040688"/>
              <a:gd name="connsiteY40" fmla="*/ 6457194 h 6858000"/>
              <a:gd name="connsiteX41" fmla="*/ 1302808 w 8040688"/>
              <a:gd name="connsiteY41" fmla="*/ 6457194 h 6858000"/>
              <a:gd name="connsiteX42" fmla="*/ 1302808 w 8040688"/>
              <a:gd name="connsiteY42" fmla="*/ 6422760 h 6858000"/>
              <a:gd name="connsiteX43" fmla="*/ 1293161 w 8040688"/>
              <a:gd name="connsiteY43" fmla="*/ 6421700 h 6858000"/>
              <a:gd name="connsiteX44" fmla="*/ 1796056 w 8040688"/>
              <a:gd name="connsiteY44" fmla="*/ 6420112 h 6858000"/>
              <a:gd name="connsiteX45" fmla="*/ 1791956 w 8040688"/>
              <a:gd name="connsiteY45" fmla="*/ 6420138 h 6858000"/>
              <a:gd name="connsiteX46" fmla="*/ 1732297 w 8040688"/>
              <a:gd name="connsiteY46" fmla="*/ 6483948 h 6858000"/>
              <a:gd name="connsiteX47" fmla="*/ 1770879 w 8040688"/>
              <a:gd name="connsiteY47" fmla="*/ 6541990 h 6858000"/>
              <a:gd name="connsiteX48" fmla="*/ 1857943 w 8040688"/>
              <a:gd name="connsiteY48" fmla="*/ 6509641 h 6858000"/>
              <a:gd name="connsiteX49" fmla="*/ 1821781 w 8040688"/>
              <a:gd name="connsiteY49" fmla="*/ 6505933 h 6858000"/>
              <a:gd name="connsiteX50" fmla="*/ 1802269 w 8040688"/>
              <a:gd name="connsiteY50" fmla="*/ 6518046 h 6858000"/>
              <a:gd name="connsiteX51" fmla="*/ 1768997 w 8040688"/>
              <a:gd name="connsiteY51" fmla="*/ 6494013 h 6858000"/>
              <a:gd name="connsiteX52" fmla="*/ 1860353 w 8040688"/>
              <a:gd name="connsiteY52" fmla="*/ 6494013 h 6858000"/>
              <a:gd name="connsiteX53" fmla="*/ 1860353 w 8040688"/>
              <a:gd name="connsiteY53" fmla="*/ 6492689 h 6858000"/>
              <a:gd name="connsiteX54" fmla="*/ 1796056 w 8040688"/>
              <a:gd name="connsiteY54" fmla="*/ 6420112 h 6858000"/>
              <a:gd name="connsiteX55" fmla="*/ 1574215 w 8040688"/>
              <a:gd name="connsiteY55" fmla="*/ 6420111 h 6858000"/>
              <a:gd name="connsiteX56" fmla="*/ 1521700 w 8040688"/>
              <a:gd name="connsiteY56" fmla="*/ 6434944 h 6858000"/>
              <a:gd name="connsiteX57" fmla="*/ 1535364 w 8040688"/>
              <a:gd name="connsiteY57" fmla="*/ 6460902 h 6858000"/>
              <a:gd name="connsiteX58" fmla="*/ 1572342 w 8040688"/>
              <a:gd name="connsiteY58" fmla="*/ 6449512 h 6858000"/>
              <a:gd name="connsiteX59" fmla="*/ 1592699 w 8040688"/>
              <a:gd name="connsiteY59" fmla="*/ 6463816 h 6858000"/>
              <a:gd name="connsiteX60" fmla="*/ 1592699 w 8040688"/>
              <a:gd name="connsiteY60" fmla="*/ 6465140 h 6858000"/>
              <a:gd name="connsiteX61" fmla="*/ 1584124 w 8040688"/>
              <a:gd name="connsiteY61" fmla="*/ 6472292 h 6858000"/>
              <a:gd name="connsiteX62" fmla="*/ 1560013 w 8040688"/>
              <a:gd name="connsiteY62" fmla="*/ 6472292 h 6858000"/>
              <a:gd name="connsiteX63" fmla="*/ 1515545 w 8040688"/>
              <a:gd name="connsiteY63" fmla="*/ 6509640 h 6858000"/>
              <a:gd name="connsiteX64" fmla="*/ 1515603 w 8040688"/>
              <a:gd name="connsiteY64" fmla="*/ 6510750 h 6858000"/>
              <a:gd name="connsiteX65" fmla="*/ 1558409 w 8040688"/>
              <a:gd name="connsiteY65" fmla="*/ 6547782 h 6858000"/>
              <a:gd name="connsiteX66" fmla="*/ 1592699 w 8040688"/>
              <a:gd name="connsiteY66" fmla="*/ 6533214 h 6858000"/>
              <a:gd name="connsiteX67" fmla="*/ 1592699 w 8040688"/>
              <a:gd name="connsiteY67" fmla="*/ 6544604 h 6858000"/>
              <a:gd name="connsiteX68" fmla="*/ 1627527 w 8040688"/>
              <a:gd name="connsiteY68" fmla="*/ 6544604 h 6858000"/>
              <a:gd name="connsiteX69" fmla="*/ 1627527 w 8040688"/>
              <a:gd name="connsiteY69" fmla="*/ 6464875 h 6858000"/>
              <a:gd name="connsiteX70" fmla="*/ 1574215 w 8040688"/>
              <a:gd name="connsiteY70" fmla="*/ 6420111 h 6858000"/>
              <a:gd name="connsiteX71" fmla="*/ 1153574 w 8040688"/>
              <a:gd name="connsiteY71" fmla="*/ 6420111 h 6858000"/>
              <a:gd name="connsiteX72" fmla="*/ 1101062 w 8040688"/>
              <a:gd name="connsiteY72" fmla="*/ 6434944 h 6858000"/>
              <a:gd name="connsiteX73" fmla="*/ 1114726 w 8040688"/>
              <a:gd name="connsiteY73" fmla="*/ 6460902 h 6858000"/>
              <a:gd name="connsiteX74" fmla="*/ 1151699 w 8040688"/>
              <a:gd name="connsiteY74" fmla="*/ 6449512 h 6858000"/>
              <a:gd name="connsiteX75" fmla="*/ 1172060 w 8040688"/>
              <a:gd name="connsiteY75" fmla="*/ 6463816 h 6858000"/>
              <a:gd name="connsiteX76" fmla="*/ 1172060 w 8040688"/>
              <a:gd name="connsiteY76" fmla="*/ 6465140 h 6858000"/>
              <a:gd name="connsiteX77" fmla="*/ 1163487 w 8040688"/>
              <a:gd name="connsiteY77" fmla="*/ 6472292 h 6858000"/>
              <a:gd name="connsiteX78" fmla="*/ 1139375 w 8040688"/>
              <a:gd name="connsiteY78" fmla="*/ 6472292 h 6858000"/>
              <a:gd name="connsiteX79" fmla="*/ 1094901 w 8040688"/>
              <a:gd name="connsiteY79" fmla="*/ 6509640 h 6858000"/>
              <a:gd name="connsiteX80" fmla="*/ 1094960 w 8040688"/>
              <a:gd name="connsiteY80" fmla="*/ 6510749 h 6858000"/>
              <a:gd name="connsiteX81" fmla="*/ 1137766 w 8040688"/>
              <a:gd name="connsiteY81" fmla="*/ 6547782 h 6858000"/>
              <a:gd name="connsiteX82" fmla="*/ 1172060 w 8040688"/>
              <a:gd name="connsiteY82" fmla="*/ 6533214 h 6858000"/>
              <a:gd name="connsiteX83" fmla="*/ 1172060 w 8040688"/>
              <a:gd name="connsiteY83" fmla="*/ 6544604 h 6858000"/>
              <a:gd name="connsiteX84" fmla="*/ 1206890 w 8040688"/>
              <a:gd name="connsiteY84" fmla="*/ 6544604 h 6858000"/>
              <a:gd name="connsiteX85" fmla="*/ 1206890 w 8040688"/>
              <a:gd name="connsiteY85" fmla="*/ 6464875 h 6858000"/>
              <a:gd name="connsiteX86" fmla="*/ 1153574 w 8040688"/>
              <a:gd name="connsiteY86" fmla="*/ 6420111 h 6858000"/>
              <a:gd name="connsiteX87" fmla="*/ 568575 w 8040688"/>
              <a:gd name="connsiteY87" fmla="*/ 6383429 h 6858000"/>
              <a:gd name="connsiteX88" fmla="*/ 568549 w 8040688"/>
              <a:gd name="connsiteY88" fmla="*/ 6520396 h 6858000"/>
              <a:gd name="connsiteX89" fmla="*/ 624511 w 8040688"/>
              <a:gd name="connsiteY89" fmla="*/ 6519097 h 6858000"/>
              <a:gd name="connsiteX90" fmla="*/ 618898 w 8040688"/>
              <a:gd name="connsiteY90" fmla="*/ 6402004 h 6858000"/>
              <a:gd name="connsiteX91" fmla="*/ 624479 w 8040688"/>
              <a:gd name="connsiteY91" fmla="*/ 6384725 h 6858000"/>
              <a:gd name="connsiteX92" fmla="*/ 568575 w 8040688"/>
              <a:gd name="connsiteY92" fmla="*/ 6383429 h 6858000"/>
              <a:gd name="connsiteX93" fmla="*/ 1659953 w 8040688"/>
              <a:gd name="connsiteY93" fmla="*/ 6377201 h 6858000"/>
              <a:gd name="connsiteX94" fmla="*/ 1659953 w 8040688"/>
              <a:gd name="connsiteY94" fmla="*/ 6423290 h 6858000"/>
              <a:gd name="connsiteX95" fmla="*/ 1640662 w 8040688"/>
              <a:gd name="connsiteY95" fmla="*/ 6423290 h 6858000"/>
              <a:gd name="connsiteX96" fmla="*/ 1640662 w 8040688"/>
              <a:gd name="connsiteY96" fmla="*/ 6452426 h 6858000"/>
              <a:gd name="connsiteX97" fmla="*/ 1659953 w 8040688"/>
              <a:gd name="connsiteY97" fmla="*/ 6452426 h 6858000"/>
              <a:gd name="connsiteX98" fmla="*/ 1659953 w 8040688"/>
              <a:gd name="connsiteY98" fmla="*/ 6518911 h 6858000"/>
              <a:gd name="connsiteX99" fmla="*/ 1695318 w 8040688"/>
              <a:gd name="connsiteY99" fmla="*/ 6546194 h 6858000"/>
              <a:gd name="connsiteX100" fmla="*/ 1722377 w 8040688"/>
              <a:gd name="connsiteY100" fmla="*/ 6544604 h 6858000"/>
              <a:gd name="connsiteX101" fmla="*/ 1722377 w 8040688"/>
              <a:gd name="connsiteY101" fmla="*/ 6515203 h 6858000"/>
              <a:gd name="connsiteX102" fmla="*/ 1706303 w 8040688"/>
              <a:gd name="connsiteY102" fmla="*/ 6515998 h 6858000"/>
              <a:gd name="connsiteX103" fmla="*/ 1694780 w 8040688"/>
              <a:gd name="connsiteY103" fmla="*/ 6507256 h 6858000"/>
              <a:gd name="connsiteX104" fmla="*/ 1694780 w 8040688"/>
              <a:gd name="connsiteY104" fmla="*/ 6452426 h 6858000"/>
              <a:gd name="connsiteX105" fmla="*/ 1721302 w 8040688"/>
              <a:gd name="connsiteY105" fmla="*/ 6452426 h 6858000"/>
              <a:gd name="connsiteX106" fmla="*/ 1721302 w 8040688"/>
              <a:gd name="connsiteY106" fmla="*/ 6423290 h 6858000"/>
              <a:gd name="connsiteX107" fmla="*/ 1694780 w 8040688"/>
              <a:gd name="connsiteY107" fmla="*/ 6423290 h 6858000"/>
              <a:gd name="connsiteX108" fmla="*/ 1694780 w 8040688"/>
              <a:gd name="connsiteY108" fmla="*/ 6377201 h 6858000"/>
              <a:gd name="connsiteX109" fmla="*/ 1884617 w 8040688"/>
              <a:gd name="connsiteY109" fmla="*/ 6359355 h 6858000"/>
              <a:gd name="connsiteX110" fmla="*/ 1884617 w 8040688"/>
              <a:gd name="connsiteY110" fmla="*/ 6392335 h 6858000"/>
              <a:gd name="connsiteX111" fmla="*/ 1893998 w 8040688"/>
              <a:gd name="connsiteY111" fmla="*/ 6392335 h 6858000"/>
              <a:gd name="connsiteX112" fmla="*/ 1893998 w 8040688"/>
              <a:gd name="connsiteY112" fmla="*/ 6373492 h 6858000"/>
              <a:gd name="connsiteX113" fmla="*/ 1898291 w 8040688"/>
              <a:gd name="connsiteY113" fmla="*/ 6385270 h 6858000"/>
              <a:gd name="connsiteX114" fmla="*/ 1905819 w 8040688"/>
              <a:gd name="connsiteY114" fmla="*/ 6385270 h 6858000"/>
              <a:gd name="connsiteX115" fmla="*/ 1910111 w 8040688"/>
              <a:gd name="connsiteY115" fmla="*/ 6373492 h 6858000"/>
              <a:gd name="connsiteX116" fmla="*/ 1910111 w 8040688"/>
              <a:gd name="connsiteY116" fmla="*/ 6392335 h 6858000"/>
              <a:gd name="connsiteX117" fmla="*/ 1919685 w 8040688"/>
              <a:gd name="connsiteY117" fmla="*/ 6392335 h 6858000"/>
              <a:gd name="connsiteX118" fmla="*/ 1919685 w 8040688"/>
              <a:gd name="connsiteY118" fmla="*/ 6359355 h 6858000"/>
              <a:gd name="connsiteX119" fmla="*/ 1907566 w 8040688"/>
              <a:gd name="connsiteY119" fmla="*/ 6359355 h 6858000"/>
              <a:gd name="connsiteX120" fmla="*/ 1902362 w 8040688"/>
              <a:gd name="connsiteY120" fmla="*/ 6373114 h 6858000"/>
              <a:gd name="connsiteX121" fmla="*/ 1897494 w 8040688"/>
              <a:gd name="connsiteY121" fmla="*/ 6359355 h 6858000"/>
              <a:gd name="connsiteX122" fmla="*/ 1850683 w 8040688"/>
              <a:gd name="connsiteY122" fmla="*/ 6359355 h 6858000"/>
              <a:gd name="connsiteX123" fmla="*/ 1850683 w 8040688"/>
              <a:gd name="connsiteY123" fmla="*/ 6367929 h 6858000"/>
              <a:gd name="connsiteX124" fmla="*/ 1860074 w 8040688"/>
              <a:gd name="connsiteY124" fmla="*/ 6367929 h 6858000"/>
              <a:gd name="connsiteX125" fmla="*/ 1860074 w 8040688"/>
              <a:gd name="connsiteY125" fmla="*/ 6392335 h 6858000"/>
              <a:gd name="connsiteX126" fmla="*/ 1869839 w 8040688"/>
              <a:gd name="connsiteY126" fmla="*/ 6392335 h 6858000"/>
              <a:gd name="connsiteX127" fmla="*/ 1869839 w 8040688"/>
              <a:gd name="connsiteY127" fmla="*/ 6367929 h 6858000"/>
              <a:gd name="connsiteX128" fmla="*/ 1879230 w 8040688"/>
              <a:gd name="connsiteY128" fmla="*/ 6367929 h 6858000"/>
              <a:gd name="connsiteX129" fmla="*/ 1879230 w 8040688"/>
              <a:gd name="connsiteY129" fmla="*/ 6359355 h 6858000"/>
              <a:gd name="connsiteX130" fmla="*/ 1352105 w 8040688"/>
              <a:gd name="connsiteY130" fmla="*/ 6359189 h 6858000"/>
              <a:gd name="connsiteX131" fmla="*/ 1329868 w 8040688"/>
              <a:gd name="connsiteY131" fmla="*/ 6381439 h 6858000"/>
              <a:gd name="connsiteX132" fmla="*/ 1352108 w 8040688"/>
              <a:gd name="connsiteY132" fmla="*/ 6403427 h 6858000"/>
              <a:gd name="connsiteX133" fmla="*/ 1374610 w 8040688"/>
              <a:gd name="connsiteY133" fmla="*/ 6381439 h 6858000"/>
              <a:gd name="connsiteX134" fmla="*/ 1374610 w 8040688"/>
              <a:gd name="connsiteY134" fmla="*/ 6381364 h 6858000"/>
              <a:gd name="connsiteX135" fmla="*/ 1352105 w 8040688"/>
              <a:gd name="connsiteY135" fmla="*/ 6359189 h 6858000"/>
              <a:gd name="connsiteX136" fmla="*/ 1041583 w 8040688"/>
              <a:gd name="connsiteY136" fmla="*/ 6359189 h 6858000"/>
              <a:gd name="connsiteX137" fmla="*/ 1041583 w 8040688"/>
              <a:gd name="connsiteY137" fmla="*/ 6544604 h 6858000"/>
              <a:gd name="connsiteX138" fmla="*/ 1076143 w 8040688"/>
              <a:gd name="connsiteY138" fmla="*/ 6544604 h 6858000"/>
              <a:gd name="connsiteX139" fmla="*/ 1076143 w 8040688"/>
              <a:gd name="connsiteY139" fmla="*/ 6359189 h 6858000"/>
              <a:gd name="connsiteX140" fmla="*/ 925239 w 8040688"/>
              <a:gd name="connsiteY140" fmla="*/ 6355990 h 6858000"/>
              <a:gd name="connsiteX141" fmla="*/ 832602 w 8040688"/>
              <a:gd name="connsiteY141" fmla="*/ 6451897 h 6858000"/>
              <a:gd name="connsiteX142" fmla="*/ 832623 w 8040688"/>
              <a:gd name="connsiteY142" fmla="*/ 6456990 h 6858000"/>
              <a:gd name="connsiteX143" fmla="*/ 930389 w 8040688"/>
              <a:gd name="connsiteY143" fmla="*/ 6547783 h 6858000"/>
              <a:gd name="connsiteX144" fmla="*/ 1022285 w 8040688"/>
              <a:gd name="connsiteY144" fmla="*/ 6478650 h 6858000"/>
              <a:gd name="connsiteX145" fmla="*/ 981294 w 8040688"/>
              <a:gd name="connsiteY145" fmla="*/ 6478650 h 6858000"/>
              <a:gd name="connsiteX146" fmla="*/ 930389 w 8040688"/>
              <a:gd name="connsiteY146" fmla="*/ 6513878 h 6858000"/>
              <a:gd name="connsiteX147" fmla="*/ 871450 w 8040688"/>
              <a:gd name="connsiteY147" fmla="*/ 6451897 h 6858000"/>
              <a:gd name="connsiteX148" fmla="*/ 930389 w 8040688"/>
              <a:gd name="connsiteY148" fmla="*/ 6389916 h 6858000"/>
              <a:gd name="connsiteX149" fmla="*/ 981294 w 8040688"/>
              <a:gd name="connsiteY149" fmla="*/ 6425144 h 6858000"/>
              <a:gd name="connsiteX150" fmla="*/ 1022285 w 8040688"/>
              <a:gd name="connsiteY150" fmla="*/ 6425144 h 6858000"/>
              <a:gd name="connsiteX151" fmla="*/ 930389 w 8040688"/>
              <a:gd name="connsiteY151" fmla="*/ 6356011 h 6858000"/>
              <a:gd name="connsiteX152" fmla="*/ 925239 w 8040688"/>
              <a:gd name="connsiteY152" fmla="*/ 6355990 h 6858000"/>
              <a:gd name="connsiteX153" fmla="*/ 651232 w 8040688"/>
              <a:gd name="connsiteY153" fmla="*/ 6336161 h 6858000"/>
              <a:gd name="connsiteX154" fmla="*/ 624479 w 8040688"/>
              <a:gd name="connsiteY154" fmla="*/ 6384726 h 6858000"/>
              <a:gd name="connsiteX155" fmla="*/ 742033 w 8040688"/>
              <a:gd name="connsiteY155" fmla="*/ 6451914 h 6858000"/>
              <a:gd name="connsiteX156" fmla="*/ 624512 w 8040688"/>
              <a:gd name="connsiteY156" fmla="*/ 6519097 h 6858000"/>
              <a:gd name="connsiteX157" fmla="*/ 651373 w 8040688"/>
              <a:gd name="connsiteY157" fmla="*/ 6567631 h 6858000"/>
              <a:gd name="connsiteX158" fmla="*/ 771228 w 8040688"/>
              <a:gd name="connsiteY158" fmla="*/ 6499136 h 6858000"/>
              <a:gd name="connsiteX159" fmla="*/ 742033 w 8040688"/>
              <a:gd name="connsiteY159" fmla="*/ 6451914 h 6858000"/>
              <a:gd name="connsiteX160" fmla="*/ 771227 w 8040688"/>
              <a:gd name="connsiteY160" fmla="*/ 6404692 h 6858000"/>
              <a:gd name="connsiteX161" fmla="*/ 651232 w 8040688"/>
              <a:gd name="connsiteY161" fmla="*/ 6336161 h 6858000"/>
              <a:gd name="connsiteX162" fmla="*/ 0 w 8040688"/>
              <a:gd name="connsiteY162" fmla="*/ 0 h 6858000"/>
              <a:gd name="connsiteX163" fmla="*/ 8040688 w 8040688"/>
              <a:gd name="connsiteY163" fmla="*/ 0 h 6858000"/>
              <a:gd name="connsiteX164" fmla="*/ 8040688 w 8040688"/>
              <a:gd name="connsiteY164" fmla="*/ 6858000 h 6858000"/>
              <a:gd name="connsiteX165" fmla="*/ 0 w 8040688"/>
              <a:gd name="connsiteY16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Lst>
            <a:rect l="l" t="t" r="r" b="b"/>
            <a:pathLst>
              <a:path w="8040688" h="6858000">
                <a:moveTo>
                  <a:pt x="1592699" y="6492423"/>
                </a:moveTo>
                <a:lnTo>
                  <a:pt x="1592699" y="6501164"/>
                </a:lnTo>
                <a:cubicBezTo>
                  <a:pt x="1592738" y="6502241"/>
                  <a:pt x="1592680" y="6503319"/>
                  <a:pt x="1592546" y="6504388"/>
                </a:cubicBezTo>
                <a:cubicBezTo>
                  <a:pt x="1591096" y="6515890"/>
                  <a:pt x="1580495" y="6524053"/>
                  <a:pt x="1568857" y="6522619"/>
                </a:cubicBezTo>
                <a:cubicBezTo>
                  <a:pt x="1558141" y="6522619"/>
                  <a:pt x="1551438" y="6516526"/>
                  <a:pt x="1551438" y="6508315"/>
                </a:cubicBezTo>
                <a:cubicBezTo>
                  <a:pt x="1551438" y="6499839"/>
                  <a:pt x="1557872" y="6495071"/>
                  <a:pt x="1568857" y="6495071"/>
                </a:cubicBezTo>
                <a:lnTo>
                  <a:pt x="1581983" y="6495071"/>
                </a:lnTo>
                <a:cubicBezTo>
                  <a:pt x="1585766" y="6495554"/>
                  <a:pt x="1589598" y="6494609"/>
                  <a:pt x="1592699" y="6492423"/>
                </a:cubicBezTo>
                <a:close/>
                <a:moveTo>
                  <a:pt x="1172060" y="6492423"/>
                </a:moveTo>
                <a:lnTo>
                  <a:pt x="1172060" y="6501164"/>
                </a:lnTo>
                <a:cubicBezTo>
                  <a:pt x="1172093" y="6502242"/>
                  <a:pt x="1172042" y="6503320"/>
                  <a:pt x="1171906" y="6504389"/>
                </a:cubicBezTo>
                <a:cubicBezTo>
                  <a:pt x="1170456" y="6515891"/>
                  <a:pt x="1159850" y="6524053"/>
                  <a:pt x="1148216" y="6522619"/>
                </a:cubicBezTo>
                <a:cubicBezTo>
                  <a:pt x="1137499" y="6522619"/>
                  <a:pt x="1130802" y="6516526"/>
                  <a:pt x="1130802" y="6508315"/>
                </a:cubicBezTo>
                <a:cubicBezTo>
                  <a:pt x="1130802" y="6499839"/>
                  <a:pt x="1137232" y="6495071"/>
                  <a:pt x="1148216" y="6495071"/>
                </a:cubicBezTo>
                <a:lnTo>
                  <a:pt x="1161343" y="6495071"/>
                </a:lnTo>
                <a:cubicBezTo>
                  <a:pt x="1165125" y="6495554"/>
                  <a:pt x="1168953" y="6494609"/>
                  <a:pt x="1172060" y="6492423"/>
                </a:cubicBezTo>
                <a:close/>
                <a:moveTo>
                  <a:pt x="1796056" y="6448718"/>
                </a:moveTo>
                <a:cubicBezTo>
                  <a:pt x="1809461" y="6448340"/>
                  <a:pt x="1821051" y="6457873"/>
                  <a:pt x="1823115" y="6470969"/>
                </a:cubicBezTo>
                <a:lnTo>
                  <a:pt x="1768190" y="6470969"/>
                </a:lnTo>
                <a:cubicBezTo>
                  <a:pt x="1770601" y="6457738"/>
                  <a:pt x="1782469" y="6448261"/>
                  <a:pt x="1796056" y="6448718"/>
                </a:cubicBezTo>
                <a:close/>
                <a:moveTo>
                  <a:pt x="1385331" y="6423290"/>
                </a:moveTo>
                <a:lnTo>
                  <a:pt x="1427128" y="6544605"/>
                </a:lnTo>
                <a:lnTo>
                  <a:pt x="1470261" y="6544605"/>
                </a:lnTo>
                <a:lnTo>
                  <a:pt x="1513932" y="6423290"/>
                </a:lnTo>
                <a:lnTo>
                  <a:pt x="1477223" y="6423290"/>
                </a:lnTo>
                <a:lnTo>
                  <a:pt x="1449367" y="6507521"/>
                </a:lnTo>
                <a:lnTo>
                  <a:pt x="1423104" y="6423290"/>
                </a:lnTo>
                <a:close/>
                <a:moveTo>
                  <a:pt x="1319153" y="6423290"/>
                </a:moveTo>
                <a:lnTo>
                  <a:pt x="1319153" y="6452426"/>
                </a:lnTo>
                <a:lnTo>
                  <a:pt x="1336299" y="6452426"/>
                </a:lnTo>
                <a:lnTo>
                  <a:pt x="1336299" y="6544604"/>
                </a:lnTo>
                <a:lnTo>
                  <a:pt x="1371127" y="6544604"/>
                </a:lnTo>
                <a:lnTo>
                  <a:pt x="1371127" y="6423290"/>
                </a:lnTo>
                <a:close/>
                <a:moveTo>
                  <a:pt x="1293161" y="6421700"/>
                </a:moveTo>
                <a:cubicBezTo>
                  <a:pt x="1279051" y="6421037"/>
                  <a:pt x="1266138" y="6429512"/>
                  <a:pt x="1261280" y="6442626"/>
                </a:cubicBezTo>
                <a:lnTo>
                  <a:pt x="1261280" y="6423290"/>
                </a:lnTo>
                <a:lnTo>
                  <a:pt x="1227522" y="6423290"/>
                </a:lnTo>
                <a:lnTo>
                  <a:pt x="1227522" y="6544604"/>
                </a:lnTo>
                <a:lnTo>
                  <a:pt x="1262352" y="6544604"/>
                </a:lnTo>
                <a:lnTo>
                  <a:pt x="1262352" y="6486596"/>
                </a:lnTo>
                <a:cubicBezTo>
                  <a:pt x="1262352" y="6465405"/>
                  <a:pt x="1270389" y="6457194"/>
                  <a:pt x="1288073" y="6457194"/>
                </a:cubicBezTo>
                <a:lnTo>
                  <a:pt x="1302808" y="6457194"/>
                </a:lnTo>
                <a:lnTo>
                  <a:pt x="1302808" y="6422760"/>
                </a:lnTo>
                <a:cubicBezTo>
                  <a:pt x="1299648" y="6422016"/>
                  <a:pt x="1296409" y="6421660"/>
                  <a:pt x="1293161" y="6421700"/>
                </a:cubicBezTo>
                <a:close/>
                <a:moveTo>
                  <a:pt x="1796056" y="6420112"/>
                </a:moveTo>
                <a:cubicBezTo>
                  <a:pt x="1794693" y="6420076"/>
                  <a:pt x="1793320" y="6420084"/>
                  <a:pt x="1791956" y="6420138"/>
                </a:cubicBezTo>
                <a:cubicBezTo>
                  <a:pt x="1757657" y="6421470"/>
                  <a:pt x="1730943" y="6450039"/>
                  <a:pt x="1732297" y="6483948"/>
                </a:cubicBezTo>
                <a:cubicBezTo>
                  <a:pt x="1732749" y="6509035"/>
                  <a:pt x="1747766" y="6531624"/>
                  <a:pt x="1770879" y="6541990"/>
                </a:cubicBezTo>
                <a:cubicBezTo>
                  <a:pt x="1803959" y="6556828"/>
                  <a:pt x="1842934" y="6542344"/>
                  <a:pt x="1857943" y="6509641"/>
                </a:cubicBezTo>
                <a:lnTo>
                  <a:pt x="1821781" y="6505933"/>
                </a:lnTo>
                <a:cubicBezTo>
                  <a:pt x="1817229" y="6512448"/>
                  <a:pt x="1810181" y="6516829"/>
                  <a:pt x="1802269" y="6518046"/>
                </a:cubicBezTo>
                <a:cubicBezTo>
                  <a:pt x="1786368" y="6520493"/>
                  <a:pt x="1771474" y="6509733"/>
                  <a:pt x="1768997" y="6494013"/>
                </a:cubicBezTo>
                <a:lnTo>
                  <a:pt x="1860353" y="6494013"/>
                </a:lnTo>
                <a:lnTo>
                  <a:pt x="1860353" y="6492689"/>
                </a:lnTo>
                <a:cubicBezTo>
                  <a:pt x="1860353" y="6441832"/>
                  <a:pt x="1829808" y="6420112"/>
                  <a:pt x="1796056" y="6420112"/>
                </a:cubicBezTo>
                <a:close/>
                <a:moveTo>
                  <a:pt x="1574215" y="6420111"/>
                </a:moveTo>
                <a:cubicBezTo>
                  <a:pt x="1555692" y="6420390"/>
                  <a:pt x="1537573" y="6425507"/>
                  <a:pt x="1521700" y="6434944"/>
                </a:cubicBezTo>
                <a:lnTo>
                  <a:pt x="1535364" y="6460902"/>
                </a:lnTo>
                <a:cubicBezTo>
                  <a:pt x="1546618" y="6454290"/>
                  <a:pt x="1559283" y="6450388"/>
                  <a:pt x="1572342" y="6449512"/>
                </a:cubicBezTo>
                <a:cubicBezTo>
                  <a:pt x="1585738" y="6449512"/>
                  <a:pt x="1592699" y="6455075"/>
                  <a:pt x="1592699" y="6463816"/>
                </a:cubicBezTo>
                <a:lnTo>
                  <a:pt x="1592699" y="6465140"/>
                </a:lnTo>
                <a:cubicBezTo>
                  <a:pt x="1592699" y="6469643"/>
                  <a:pt x="1590020" y="6472292"/>
                  <a:pt x="1584124" y="6472292"/>
                </a:cubicBezTo>
                <a:lnTo>
                  <a:pt x="1560013" y="6472292"/>
                </a:lnTo>
                <a:cubicBezTo>
                  <a:pt x="1532685" y="6472292"/>
                  <a:pt x="1515545" y="6486595"/>
                  <a:pt x="1515545" y="6509640"/>
                </a:cubicBezTo>
                <a:cubicBezTo>
                  <a:pt x="1515555" y="6510010"/>
                  <a:pt x="1515574" y="6510380"/>
                  <a:pt x="1515603" y="6510750"/>
                </a:cubicBezTo>
                <a:cubicBezTo>
                  <a:pt x="1517081" y="6532663"/>
                  <a:pt x="1536247" y="6549244"/>
                  <a:pt x="1558409" y="6547782"/>
                </a:cubicBezTo>
                <a:cubicBezTo>
                  <a:pt x="1571536" y="6548591"/>
                  <a:pt x="1584259" y="6543183"/>
                  <a:pt x="1592699" y="6533214"/>
                </a:cubicBezTo>
                <a:lnTo>
                  <a:pt x="1592699" y="6544604"/>
                </a:lnTo>
                <a:lnTo>
                  <a:pt x="1627527" y="6544604"/>
                </a:lnTo>
                <a:lnTo>
                  <a:pt x="1627527" y="6464875"/>
                </a:lnTo>
                <a:cubicBezTo>
                  <a:pt x="1627527" y="6432825"/>
                  <a:pt x="1602081" y="6420111"/>
                  <a:pt x="1574215" y="6420111"/>
                </a:cubicBezTo>
                <a:close/>
                <a:moveTo>
                  <a:pt x="1153574" y="6420111"/>
                </a:moveTo>
                <a:cubicBezTo>
                  <a:pt x="1135053" y="6420390"/>
                  <a:pt x="1116936" y="6425508"/>
                  <a:pt x="1101062" y="6434944"/>
                </a:cubicBezTo>
                <a:lnTo>
                  <a:pt x="1114726" y="6460902"/>
                </a:lnTo>
                <a:cubicBezTo>
                  <a:pt x="1125976" y="6454290"/>
                  <a:pt x="1138641" y="6450388"/>
                  <a:pt x="1151699" y="6449512"/>
                </a:cubicBezTo>
                <a:cubicBezTo>
                  <a:pt x="1165095" y="6449512"/>
                  <a:pt x="1172060" y="6455075"/>
                  <a:pt x="1172060" y="6463816"/>
                </a:cubicBezTo>
                <a:lnTo>
                  <a:pt x="1172060" y="6465140"/>
                </a:lnTo>
                <a:cubicBezTo>
                  <a:pt x="1172060" y="6469643"/>
                  <a:pt x="1169381" y="6472292"/>
                  <a:pt x="1163487" y="6472292"/>
                </a:cubicBezTo>
                <a:lnTo>
                  <a:pt x="1139375" y="6472292"/>
                </a:lnTo>
                <a:cubicBezTo>
                  <a:pt x="1112046" y="6472292"/>
                  <a:pt x="1094901" y="6486595"/>
                  <a:pt x="1094901" y="6509640"/>
                </a:cubicBezTo>
                <a:cubicBezTo>
                  <a:pt x="1094915" y="6510010"/>
                  <a:pt x="1094936" y="6510379"/>
                  <a:pt x="1094960" y="6510749"/>
                </a:cubicBezTo>
                <a:cubicBezTo>
                  <a:pt x="1096437" y="6532662"/>
                  <a:pt x="1115603" y="6549243"/>
                  <a:pt x="1137766" y="6547782"/>
                </a:cubicBezTo>
                <a:cubicBezTo>
                  <a:pt x="1150890" y="6548592"/>
                  <a:pt x="1163622" y="6543184"/>
                  <a:pt x="1172060" y="6533214"/>
                </a:cubicBezTo>
                <a:lnTo>
                  <a:pt x="1172060" y="6544604"/>
                </a:lnTo>
                <a:lnTo>
                  <a:pt x="1206890" y="6544604"/>
                </a:lnTo>
                <a:lnTo>
                  <a:pt x="1206890" y="6464875"/>
                </a:lnTo>
                <a:cubicBezTo>
                  <a:pt x="1206890" y="6432825"/>
                  <a:pt x="1181438" y="6420111"/>
                  <a:pt x="1153574" y="6420111"/>
                </a:cubicBezTo>
                <a:close/>
                <a:moveTo>
                  <a:pt x="568575" y="6383429"/>
                </a:moveTo>
                <a:cubicBezTo>
                  <a:pt x="555414" y="6428156"/>
                  <a:pt x="555406" y="6475664"/>
                  <a:pt x="568549" y="6520396"/>
                </a:cubicBezTo>
                <a:cubicBezTo>
                  <a:pt x="587170" y="6522621"/>
                  <a:pt x="606017" y="6522184"/>
                  <a:pt x="624511" y="6519097"/>
                </a:cubicBezTo>
                <a:cubicBezTo>
                  <a:pt x="610287" y="6481610"/>
                  <a:pt x="608324" y="6440654"/>
                  <a:pt x="618898" y="6402004"/>
                </a:cubicBezTo>
                <a:cubicBezTo>
                  <a:pt x="620492" y="6396123"/>
                  <a:pt x="622369" y="6390366"/>
                  <a:pt x="624479" y="6384725"/>
                </a:cubicBezTo>
                <a:cubicBezTo>
                  <a:pt x="606004" y="6381645"/>
                  <a:pt x="587176" y="6381208"/>
                  <a:pt x="568575" y="6383429"/>
                </a:cubicBezTo>
                <a:close/>
                <a:moveTo>
                  <a:pt x="1659953" y="6377201"/>
                </a:moveTo>
                <a:lnTo>
                  <a:pt x="1659953" y="6423290"/>
                </a:lnTo>
                <a:lnTo>
                  <a:pt x="1640662" y="6423290"/>
                </a:lnTo>
                <a:lnTo>
                  <a:pt x="1640662" y="6452426"/>
                </a:lnTo>
                <a:lnTo>
                  <a:pt x="1659953" y="6452426"/>
                </a:lnTo>
                <a:lnTo>
                  <a:pt x="1659953" y="6518911"/>
                </a:lnTo>
                <a:cubicBezTo>
                  <a:pt x="1659953" y="6543280"/>
                  <a:pt x="1677900" y="6546194"/>
                  <a:pt x="1695318" y="6546194"/>
                </a:cubicBezTo>
                <a:cubicBezTo>
                  <a:pt x="1705497" y="6546194"/>
                  <a:pt x="1722377" y="6544604"/>
                  <a:pt x="1722377" y="6544604"/>
                </a:cubicBezTo>
                <a:lnTo>
                  <a:pt x="1722377" y="6515203"/>
                </a:lnTo>
                <a:cubicBezTo>
                  <a:pt x="1722377" y="6515203"/>
                  <a:pt x="1715137" y="6515998"/>
                  <a:pt x="1706303" y="6515998"/>
                </a:cubicBezTo>
                <a:cubicBezTo>
                  <a:pt x="1700945" y="6515998"/>
                  <a:pt x="1694780" y="6514938"/>
                  <a:pt x="1694780" y="6507256"/>
                </a:cubicBezTo>
                <a:lnTo>
                  <a:pt x="1694780" y="6452426"/>
                </a:lnTo>
                <a:lnTo>
                  <a:pt x="1721302" y="6452426"/>
                </a:lnTo>
                <a:lnTo>
                  <a:pt x="1721302" y="6423290"/>
                </a:lnTo>
                <a:lnTo>
                  <a:pt x="1694780" y="6423290"/>
                </a:lnTo>
                <a:lnTo>
                  <a:pt x="1694780" y="6377201"/>
                </a:lnTo>
                <a:close/>
                <a:moveTo>
                  <a:pt x="1884617" y="6359355"/>
                </a:moveTo>
                <a:lnTo>
                  <a:pt x="1884617" y="6392335"/>
                </a:lnTo>
                <a:lnTo>
                  <a:pt x="1893998" y="6392335"/>
                </a:lnTo>
                <a:lnTo>
                  <a:pt x="1893998" y="6373492"/>
                </a:lnTo>
                <a:lnTo>
                  <a:pt x="1898291" y="6385270"/>
                </a:lnTo>
                <a:lnTo>
                  <a:pt x="1905819" y="6385270"/>
                </a:lnTo>
                <a:lnTo>
                  <a:pt x="1910111" y="6373492"/>
                </a:lnTo>
                <a:lnTo>
                  <a:pt x="1910111" y="6392335"/>
                </a:lnTo>
                <a:lnTo>
                  <a:pt x="1919685" y="6392335"/>
                </a:lnTo>
                <a:lnTo>
                  <a:pt x="1919685" y="6359355"/>
                </a:lnTo>
                <a:lnTo>
                  <a:pt x="1907566" y="6359355"/>
                </a:lnTo>
                <a:lnTo>
                  <a:pt x="1902362" y="6373114"/>
                </a:lnTo>
                <a:lnTo>
                  <a:pt x="1897494" y="6359355"/>
                </a:lnTo>
                <a:close/>
                <a:moveTo>
                  <a:pt x="1850683" y="6359355"/>
                </a:moveTo>
                <a:lnTo>
                  <a:pt x="1850683" y="6367929"/>
                </a:lnTo>
                <a:lnTo>
                  <a:pt x="1860074" y="6367929"/>
                </a:lnTo>
                <a:lnTo>
                  <a:pt x="1860074" y="6392335"/>
                </a:lnTo>
                <a:lnTo>
                  <a:pt x="1869839" y="6392335"/>
                </a:lnTo>
                <a:lnTo>
                  <a:pt x="1869839" y="6367929"/>
                </a:lnTo>
                <a:lnTo>
                  <a:pt x="1879230" y="6367929"/>
                </a:lnTo>
                <a:lnTo>
                  <a:pt x="1879230" y="6359355"/>
                </a:lnTo>
                <a:close/>
                <a:moveTo>
                  <a:pt x="1352105" y="6359189"/>
                </a:moveTo>
                <a:cubicBezTo>
                  <a:pt x="1339759" y="6359284"/>
                  <a:pt x="1329816" y="6369233"/>
                  <a:pt x="1329868" y="6381439"/>
                </a:cubicBezTo>
                <a:cubicBezTo>
                  <a:pt x="1329940" y="6393552"/>
                  <a:pt x="1339855" y="6403355"/>
                  <a:pt x="1352108" y="6403427"/>
                </a:cubicBezTo>
                <a:cubicBezTo>
                  <a:pt x="1364463" y="6403498"/>
                  <a:pt x="1374538" y="6393654"/>
                  <a:pt x="1374610" y="6381439"/>
                </a:cubicBezTo>
                <a:cubicBezTo>
                  <a:pt x="1374610" y="6381414"/>
                  <a:pt x="1374610" y="6381388"/>
                  <a:pt x="1374610" y="6381364"/>
                </a:cubicBezTo>
                <a:cubicBezTo>
                  <a:pt x="1374589" y="6369096"/>
                  <a:pt x="1364513" y="6359168"/>
                  <a:pt x="1352105" y="6359189"/>
                </a:cubicBezTo>
                <a:close/>
                <a:moveTo>
                  <a:pt x="1041583" y="6359189"/>
                </a:moveTo>
                <a:lnTo>
                  <a:pt x="1041583" y="6544604"/>
                </a:lnTo>
                <a:lnTo>
                  <a:pt x="1076143" y="6544604"/>
                </a:lnTo>
                <a:lnTo>
                  <a:pt x="1076143" y="6359189"/>
                </a:lnTo>
                <a:close/>
                <a:moveTo>
                  <a:pt x="925239" y="6355990"/>
                </a:moveTo>
                <a:cubicBezTo>
                  <a:pt x="872870" y="6357183"/>
                  <a:pt x="831395" y="6400122"/>
                  <a:pt x="832602" y="6451897"/>
                </a:cubicBezTo>
                <a:cubicBezTo>
                  <a:pt x="832562" y="6453595"/>
                  <a:pt x="832569" y="6455292"/>
                  <a:pt x="832623" y="6456990"/>
                </a:cubicBezTo>
                <a:cubicBezTo>
                  <a:pt x="834261" y="6508753"/>
                  <a:pt x="878033" y="6549402"/>
                  <a:pt x="930389" y="6547783"/>
                </a:cubicBezTo>
                <a:cubicBezTo>
                  <a:pt x="973630" y="6548900"/>
                  <a:pt x="1011845" y="6520151"/>
                  <a:pt x="1022285" y="6478650"/>
                </a:cubicBezTo>
                <a:lnTo>
                  <a:pt x="981294" y="6478650"/>
                </a:lnTo>
                <a:cubicBezTo>
                  <a:pt x="974516" y="6500553"/>
                  <a:pt x="953525" y="6515080"/>
                  <a:pt x="930389" y="6513878"/>
                </a:cubicBezTo>
                <a:cubicBezTo>
                  <a:pt x="895026" y="6513878"/>
                  <a:pt x="871450" y="6487391"/>
                  <a:pt x="871450" y="6451897"/>
                </a:cubicBezTo>
                <a:cubicBezTo>
                  <a:pt x="871450" y="6416403"/>
                  <a:pt x="895026" y="6389916"/>
                  <a:pt x="930389" y="6389916"/>
                </a:cubicBezTo>
                <a:cubicBezTo>
                  <a:pt x="953525" y="6388714"/>
                  <a:pt x="974516" y="6403241"/>
                  <a:pt x="981294" y="6425144"/>
                </a:cubicBezTo>
                <a:lnTo>
                  <a:pt x="1022285" y="6425144"/>
                </a:lnTo>
                <a:cubicBezTo>
                  <a:pt x="1011846" y="6383642"/>
                  <a:pt x="973630" y="6354892"/>
                  <a:pt x="930389" y="6356011"/>
                </a:cubicBezTo>
                <a:cubicBezTo>
                  <a:pt x="928673" y="6355958"/>
                  <a:pt x="926955" y="6355951"/>
                  <a:pt x="925239" y="6355990"/>
                </a:cubicBezTo>
                <a:close/>
                <a:moveTo>
                  <a:pt x="651232" y="6336161"/>
                </a:moveTo>
                <a:cubicBezTo>
                  <a:pt x="639985" y="6350984"/>
                  <a:pt x="630973" y="6367343"/>
                  <a:pt x="624479" y="6384726"/>
                </a:cubicBezTo>
                <a:cubicBezTo>
                  <a:pt x="670541" y="6392471"/>
                  <a:pt x="712258" y="6416315"/>
                  <a:pt x="742033" y="6451914"/>
                </a:cubicBezTo>
                <a:cubicBezTo>
                  <a:pt x="712265" y="6487505"/>
                  <a:pt x="670562" y="6511346"/>
                  <a:pt x="624512" y="6519097"/>
                </a:cubicBezTo>
                <a:cubicBezTo>
                  <a:pt x="631041" y="6536476"/>
                  <a:pt x="640089" y="6552825"/>
                  <a:pt x="651373" y="6567631"/>
                </a:cubicBezTo>
                <a:cubicBezTo>
                  <a:pt x="697088" y="6556502"/>
                  <a:pt x="738657" y="6532746"/>
                  <a:pt x="771228" y="6499136"/>
                </a:cubicBezTo>
                <a:cubicBezTo>
                  <a:pt x="763842" y="6482091"/>
                  <a:pt x="754009" y="6466186"/>
                  <a:pt x="742033" y="6451914"/>
                </a:cubicBezTo>
                <a:cubicBezTo>
                  <a:pt x="754009" y="6437642"/>
                  <a:pt x="763841" y="6421738"/>
                  <a:pt x="771227" y="6404692"/>
                </a:cubicBezTo>
                <a:cubicBezTo>
                  <a:pt x="738623" y="6371047"/>
                  <a:pt x="697001" y="6347276"/>
                  <a:pt x="651232" y="6336161"/>
                </a:cubicBezTo>
                <a:close/>
                <a:moveTo>
                  <a:pt x="0" y="0"/>
                </a:moveTo>
                <a:lnTo>
                  <a:pt x="8040688" y="0"/>
                </a:lnTo>
                <a:lnTo>
                  <a:pt x="8040688" y="6858000"/>
                </a:lnTo>
                <a:lnTo>
                  <a:pt x="0" y="6858000"/>
                </a:lnTo>
                <a:close/>
              </a:path>
            </a:pathLst>
          </a:custGeom>
          <a:solidFill>
            <a:schemeClr val="bg1">
              <a:lumMod val="95000"/>
            </a:schemeClr>
          </a:solidFill>
          <a:ln>
            <a:noFill/>
          </a:ln>
        </p:spPr>
        <p:txBody>
          <a:bodyPr wrap="square" tIns="180000" anchor="t" anchorCtr="0">
            <a:noAutofit/>
          </a:bodyPr>
          <a:lstStyle>
            <a:lvl1pPr marL="0" indent="0" algn="ctr">
              <a:buNone/>
              <a:defRPr sz="1000">
                <a:solidFill>
                  <a:schemeClr val="accent2"/>
                </a:solidFill>
                <a:latin typeface="+mn-lt"/>
              </a:defRPr>
            </a:lvl1pPr>
          </a:lstStyle>
          <a:p>
            <a:pPr lvl="0"/>
            <a:r>
              <a:rPr lang="en-US"/>
              <a:t>Drag picture file here or click </a:t>
            </a:r>
            <a:r>
              <a:rPr lang="en-GB" noProof="0" err="1"/>
              <a:t>center</a:t>
            </a:r>
            <a:r>
              <a:rPr lang="en-US"/>
              <a:t> icon to insert light image</a:t>
            </a:r>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2168525"/>
            <a:ext cx="3024000" cy="1620837"/>
          </a:xfrm>
        </p:spPr>
        <p:txBody>
          <a:bodyPr anchor="b" anchorCtr="0"/>
          <a:lstStyle>
            <a:lvl1pPr marL="0" indent="0" algn="ctr">
              <a:buNone/>
              <a:defRPr sz="12000" spc="-300" baseline="0">
                <a:solidFill>
                  <a:schemeClr val="accent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3608388"/>
            <a:ext cx="3024000"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73202402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 2x Big Sta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7C9D9F7-ED91-D58F-4B8A-75E79F808FE3}"/>
              </a:ext>
            </a:extLst>
          </p:cNvPr>
          <p:cNvSpPr/>
          <p:nvPr userDrawn="1"/>
        </p:nvSpPr>
        <p:spPr>
          <a:xfrm rot="10800000">
            <a:off x="8040683" y="0"/>
            <a:ext cx="4151314" cy="3428999"/>
          </a:xfrm>
          <a:prstGeom prst="rect">
            <a:avLst/>
          </a:prstGeom>
          <a:gradFill>
            <a:gsLst>
              <a:gs pos="85000">
                <a:schemeClr val="accent1"/>
              </a:gs>
              <a:gs pos="15000">
                <a:schemeClr val="accent3"/>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a:extLst>
              <a:ext uri="{FF2B5EF4-FFF2-40B4-BE49-F238E27FC236}">
                <a16:creationId xmlns:a16="http://schemas.microsoft.com/office/drawing/2014/main" id="{0986F515-904D-A198-71ED-870E64DDB4CE}"/>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15951" r="15951"/>
          <a:stretch/>
        </p:blipFill>
        <p:spPr>
          <a:xfrm>
            <a:off x="8040689" y="3428999"/>
            <a:ext cx="4151312" cy="3429001"/>
          </a:xfrm>
          <a:prstGeom prst="rect">
            <a:avLst/>
          </a:prstGeom>
        </p:spPr>
      </p:pic>
      <p:sp>
        <p:nvSpPr>
          <p:cNvPr id="7" name="Text Placeholder 12">
            <a:extLst>
              <a:ext uri="{FF2B5EF4-FFF2-40B4-BE49-F238E27FC236}">
                <a16:creationId xmlns:a16="http://schemas.microsoft.com/office/drawing/2014/main" id="{3177569F-28AA-9243-A576-B7391466851E}"/>
              </a:ext>
            </a:extLst>
          </p:cNvPr>
          <p:cNvSpPr>
            <a:spLocks noGrp="1"/>
          </p:cNvSpPr>
          <p:nvPr>
            <p:ph type="body" sz="quarter" idx="21" hasCustomPrompt="1"/>
          </p:nvPr>
        </p:nvSpPr>
        <p:spPr>
          <a:xfrm>
            <a:off x="8615421" y="3906838"/>
            <a:ext cx="3024000" cy="1620837"/>
          </a:xfrm>
        </p:spPr>
        <p:txBody>
          <a:bodyPr anchor="b" anchorCtr="0"/>
          <a:lstStyle>
            <a:lvl1pPr marL="0" indent="0" algn="ctr">
              <a:buNone/>
              <a:defRPr sz="12000" spc="-300" baseline="0">
                <a:solidFill>
                  <a:schemeClr val="accent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10" name="Text Placeholder 12">
            <a:extLst>
              <a:ext uri="{FF2B5EF4-FFF2-40B4-BE49-F238E27FC236}">
                <a16:creationId xmlns:a16="http://schemas.microsoft.com/office/drawing/2014/main" id="{B0ABFDE5-ACBC-EA3C-F170-8930EE49A99B}"/>
              </a:ext>
            </a:extLst>
          </p:cNvPr>
          <p:cNvSpPr>
            <a:spLocks noGrp="1"/>
          </p:cNvSpPr>
          <p:nvPr>
            <p:ph type="body" sz="quarter" idx="16"/>
          </p:nvPr>
        </p:nvSpPr>
        <p:spPr>
          <a:xfrm>
            <a:off x="8615421" y="5346701"/>
            <a:ext cx="3024000" cy="782637"/>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14" name="Text Placeholder 12">
            <a:extLst>
              <a:ext uri="{FF2B5EF4-FFF2-40B4-BE49-F238E27FC236}">
                <a16:creationId xmlns:a16="http://schemas.microsoft.com/office/drawing/2014/main" id="{71A5382E-8AB3-355B-234A-708ABEDECE8B}"/>
              </a:ext>
            </a:extLst>
          </p:cNvPr>
          <p:cNvSpPr>
            <a:spLocks noGrp="1"/>
          </p:cNvSpPr>
          <p:nvPr>
            <p:ph type="body" sz="quarter" idx="22" hasCustomPrompt="1"/>
          </p:nvPr>
        </p:nvSpPr>
        <p:spPr>
          <a:xfrm>
            <a:off x="8615421" y="627124"/>
            <a:ext cx="3024000" cy="1620837"/>
          </a:xfrm>
        </p:spPr>
        <p:txBody>
          <a:bodyPr anchor="b" anchorCtr="0"/>
          <a:lstStyle>
            <a:lvl1pPr marL="0" indent="0" algn="ctr">
              <a:buNone/>
              <a:defRPr sz="12000" spc="-300" baseline="0">
                <a:solidFill>
                  <a:schemeClr val="tx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15" name="Text Placeholder 12">
            <a:extLst>
              <a:ext uri="{FF2B5EF4-FFF2-40B4-BE49-F238E27FC236}">
                <a16:creationId xmlns:a16="http://schemas.microsoft.com/office/drawing/2014/main" id="{911B869A-ED46-587C-E1E8-2D7DE72DA99A}"/>
              </a:ext>
            </a:extLst>
          </p:cNvPr>
          <p:cNvSpPr>
            <a:spLocks noGrp="1"/>
          </p:cNvSpPr>
          <p:nvPr>
            <p:ph type="body" sz="quarter" idx="23"/>
          </p:nvPr>
        </p:nvSpPr>
        <p:spPr>
          <a:xfrm>
            <a:off x="8615421" y="2066987"/>
            <a:ext cx="3024000" cy="781200"/>
          </a:xfrm>
        </p:spPr>
        <p:txBody>
          <a:bodyPr/>
          <a:lstStyle>
            <a:lvl1pPr marL="0" indent="0" algn="ctr">
              <a:buNone/>
              <a:defRPr sz="1800">
                <a:solidFill>
                  <a:schemeClr val="tx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11" name="Title 1">
            <a:extLst>
              <a:ext uri="{FF2B5EF4-FFF2-40B4-BE49-F238E27FC236}">
                <a16:creationId xmlns:a16="http://schemas.microsoft.com/office/drawing/2014/main" id="{5F4A0393-5E31-B1D7-44B4-0AE64D41191E}"/>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12" name="Text Placeholder 9">
            <a:extLst>
              <a:ext uri="{FF2B5EF4-FFF2-40B4-BE49-F238E27FC236}">
                <a16:creationId xmlns:a16="http://schemas.microsoft.com/office/drawing/2014/main" id="{3EF12EEA-B717-A2D4-DD8A-8AD5480E07F4}"/>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2" name="Text Placeholder 12">
            <a:extLst>
              <a:ext uri="{FF2B5EF4-FFF2-40B4-BE49-F238E27FC236}">
                <a16:creationId xmlns:a16="http://schemas.microsoft.com/office/drawing/2014/main" id="{2C9B01AB-F676-3FF4-AEAE-E94065157406}"/>
              </a:ext>
            </a:extLst>
          </p:cNvPr>
          <p:cNvSpPr>
            <a:spLocks noGrp="1"/>
          </p:cNvSpPr>
          <p:nvPr>
            <p:ph type="body" sz="quarter" idx="14"/>
          </p:nvPr>
        </p:nvSpPr>
        <p:spPr>
          <a:xfrm>
            <a:off x="550861" y="1808163"/>
            <a:ext cx="6966375" cy="4321175"/>
          </a:xfrm>
        </p:spPr>
        <p:txBody>
          <a:bodyPr/>
          <a:lstStyle/>
          <a:p>
            <a:pPr lvl="0"/>
            <a:r>
              <a:rPr lang="en-US"/>
              <a:t>Click to edit Master text styles</a:t>
            </a:r>
          </a:p>
          <a:p>
            <a:pPr lvl="1"/>
            <a:r>
              <a:rPr lang="en-US"/>
              <a:t>Second level</a:t>
            </a:r>
          </a:p>
          <a:p>
            <a:pPr lvl="2"/>
            <a:r>
              <a:rPr lang="en-US"/>
              <a:t>Third level</a:t>
            </a:r>
          </a:p>
          <a:p>
            <a:pPr lvl="3"/>
            <a:endParaRPr lang="en-GB"/>
          </a:p>
        </p:txBody>
      </p:sp>
    </p:spTree>
    <p:extLst>
      <p:ext uri="{BB962C8B-B14F-4D97-AF65-F5344CB8AC3E}">
        <p14:creationId xmlns:p14="http://schemas.microsoft.com/office/powerpoint/2010/main" val="229563290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x Columns / 2x Big Sta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E98E49A-5FC1-C240-F8BE-AC453CAF0766}"/>
              </a:ext>
            </a:extLst>
          </p:cNvPr>
          <p:cNvSpPr/>
          <p:nvPr userDrawn="1"/>
        </p:nvSpPr>
        <p:spPr>
          <a:xfrm rot="10800000">
            <a:off x="8040683" y="0"/>
            <a:ext cx="4151314" cy="3428999"/>
          </a:xfrm>
          <a:prstGeom prst="rect">
            <a:avLst/>
          </a:prstGeom>
          <a:gradFill>
            <a:gsLst>
              <a:gs pos="85000">
                <a:schemeClr val="accent1"/>
              </a:gs>
              <a:gs pos="15000">
                <a:schemeClr val="accent3"/>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5" name="Picture 14">
            <a:extLst>
              <a:ext uri="{FF2B5EF4-FFF2-40B4-BE49-F238E27FC236}">
                <a16:creationId xmlns:a16="http://schemas.microsoft.com/office/drawing/2014/main" id="{6EA90A8E-21EE-B1AB-3E54-90DA5E7A3E20}"/>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15951" r="15951"/>
          <a:stretch/>
        </p:blipFill>
        <p:spPr>
          <a:xfrm>
            <a:off x="8040689" y="3428999"/>
            <a:ext cx="4151312" cy="3429001"/>
          </a:xfrm>
          <a:prstGeom prst="rect">
            <a:avLst/>
          </a:prstGeom>
        </p:spPr>
      </p:pic>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3906838"/>
            <a:ext cx="3024000" cy="1620837"/>
          </a:xfrm>
        </p:spPr>
        <p:txBody>
          <a:bodyPr anchor="b" anchorCtr="0"/>
          <a:lstStyle>
            <a:lvl1pPr marL="0" indent="0" algn="ctr">
              <a:buNone/>
              <a:defRPr sz="12000" spc="-300" baseline="0">
                <a:solidFill>
                  <a:schemeClr val="accent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5346701"/>
            <a:ext cx="3024000" cy="782637"/>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11" name="Title 1">
            <a:extLst>
              <a:ext uri="{FF2B5EF4-FFF2-40B4-BE49-F238E27FC236}">
                <a16:creationId xmlns:a16="http://schemas.microsoft.com/office/drawing/2014/main" id="{5F4A0393-5E31-B1D7-44B4-0AE64D41191E}"/>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12" name="Text Placeholder 9">
            <a:extLst>
              <a:ext uri="{FF2B5EF4-FFF2-40B4-BE49-F238E27FC236}">
                <a16:creationId xmlns:a16="http://schemas.microsoft.com/office/drawing/2014/main" id="{3EF12EEA-B717-A2D4-DD8A-8AD5480E07F4}"/>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E85E9EA0-2A22-199D-48CF-03EB94ECF487}"/>
              </a:ext>
            </a:extLst>
          </p:cNvPr>
          <p:cNvSpPr>
            <a:spLocks noGrp="1"/>
          </p:cNvSpPr>
          <p:nvPr>
            <p:ph type="body" sz="quarter" idx="14"/>
          </p:nvPr>
        </p:nvSpPr>
        <p:spPr>
          <a:xfrm>
            <a:off x="550864" y="1808163"/>
            <a:ext cx="3204000" cy="4321175"/>
          </a:xfrm>
        </p:spPr>
        <p:txBody>
          <a:bodyPr/>
          <a:lstStyle/>
          <a:p>
            <a:pPr lvl="0"/>
            <a:r>
              <a:rPr lang="en-US"/>
              <a:t>Click to 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269DCDE0-20E2-91A9-6591-26711B40C6C3}"/>
              </a:ext>
            </a:extLst>
          </p:cNvPr>
          <p:cNvSpPr>
            <a:spLocks noGrp="1"/>
          </p:cNvSpPr>
          <p:nvPr>
            <p:ph type="body" sz="quarter" idx="15"/>
          </p:nvPr>
        </p:nvSpPr>
        <p:spPr>
          <a:xfrm>
            <a:off x="4295774" y="1808163"/>
            <a:ext cx="3204000" cy="4321175"/>
          </a:xfrm>
        </p:spPr>
        <p:txBody>
          <a:bodyPr/>
          <a:lstStyle/>
          <a:p>
            <a:pPr lvl="0"/>
            <a:r>
              <a:rPr lang="en-US"/>
              <a:t>Click to edit Master text styles</a:t>
            </a:r>
          </a:p>
          <a:p>
            <a:pPr lvl="1"/>
            <a:r>
              <a:rPr lang="en-US"/>
              <a:t>Second level</a:t>
            </a:r>
          </a:p>
          <a:p>
            <a:pPr lvl="2"/>
            <a:r>
              <a:rPr lang="en-US"/>
              <a:t>Third level</a:t>
            </a:r>
          </a:p>
        </p:txBody>
      </p:sp>
      <p:sp>
        <p:nvSpPr>
          <p:cNvPr id="6" name="Text Placeholder 12">
            <a:extLst>
              <a:ext uri="{FF2B5EF4-FFF2-40B4-BE49-F238E27FC236}">
                <a16:creationId xmlns:a16="http://schemas.microsoft.com/office/drawing/2014/main" id="{1B23EB47-EA6A-4201-980F-A29FAC028C02}"/>
              </a:ext>
            </a:extLst>
          </p:cNvPr>
          <p:cNvSpPr>
            <a:spLocks noGrp="1"/>
          </p:cNvSpPr>
          <p:nvPr>
            <p:ph type="body" sz="quarter" idx="22" hasCustomPrompt="1"/>
          </p:nvPr>
        </p:nvSpPr>
        <p:spPr>
          <a:xfrm>
            <a:off x="8615421" y="627124"/>
            <a:ext cx="3024000" cy="1620837"/>
          </a:xfrm>
        </p:spPr>
        <p:txBody>
          <a:bodyPr anchor="b" anchorCtr="0"/>
          <a:lstStyle>
            <a:lvl1pPr marL="0" indent="0" algn="ctr">
              <a:buNone/>
              <a:defRPr sz="12000" spc="-300" baseline="0">
                <a:solidFill>
                  <a:schemeClr val="tx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7" name="Text Placeholder 12">
            <a:extLst>
              <a:ext uri="{FF2B5EF4-FFF2-40B4-BE49-F238E27FC236}">
                <a16:creationId xmlns:a16="http://schemas.microsoft.com/office/drawing/2014/main" id="{ADB540FA-D322-473E-8258-CEDC558D4B93}"/>
              </a:ext>
            </a:extLst>
          </p:cNvPr>
          <p:cNvSpPr>
            <a:spLocks noGrp="1"/>
          </p:cNvSpPr>
          <p:nvPr>
            <p:ph type="body" sz="quarter" idx="23"/>
          </p:nvPr>
        </p:nvSpPr>
        <p:spPr>
          <a:xfrm>
            <a:off x="8615421" y="2066987"/>
            <a:ext cx="3024000" cy="781200"/>
          </a:xfrm>
        </p:spPr>
        <p:txBody>
          <a:bodyPr/>
          <a:lstStyle>
            <a:lvl1pPr marL="0" indent="0" algn="ctr">
              <a:buNone/>
              <a:defRPr sz="1800">
                <a:solidFill>
                  <a:schemeClr val="tx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56614979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1 Light Image / 2x Big Sta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ADCDF42-4795-B9BB-A09E-30C7785EE34D}"/>
              </a:ext>
            </a:extLst>
          </p:cNvPr>
          <p:cNvSpPr/>
          <p:nvPr userDrawn="1"/>
        </p:nvSpPr>
        <p:spPr>
          <a:xfrm rot="10800000">
            <a:off x="8040683" y="0"/>
            <a:ext cx="4151314" cy="3428999"/>
          </a:xfrm>
          <a:prstGeom prst="rect">
            <a:avLst/>
          </a:prstGeom>
          <a:gradFill>
            <a:gsLst>
              <a:gs pos="85000">
                <a:schemeClr val="accent1"/>
              </a:gs>
              <a:gs pos="15000">
                <a:schemeClr val="accent3"/>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 name="Picture 7">
            <a:extLst>
              <a:ext uri="{FF2B5EF4-FFF2-40B4-BE49-F238E27FC236}">
                <a16:creationId xmlns:a16="http://schemas.microsoft.com/office/drawing/2014/main" id="{1FF2E5A3-55A9-35F4-3B8B-B4FDDD908EF8}"/>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15951" r="15951"/>
          <a:stretch/>
        </p:blipFill>
        <p:spPr>
          <a:xfrm>
            <a:off x="8040689" y="3428999"/>
            <a:ext cx="4151312" cy="3429001"/>
          </a:xfrm>
          <a:prstGeom prst="rect">
            <a:avLst/>
          </a:prstGeom>
        </p:spPr>
      </p:pic>
      <p:sp>
        <p:nvSpPr>
          <p:cNvPr id="7" name="Text Placeholder 12">
            <a:extLst>
              <a:ext uri="{FF2B5EF4-FFF2-40B4-BE49-F238E27FC236}">
                <a16:creationId xmlns:a16="http://schemas.microsoft.com/office/drawing/2014/main" id="{1C7CE8EE-CC8D-2E5F-9BEA-0C8DABDDFC8D}"/>
              </a:ext>
            </a:extLst>
          </p:cNvPr>
          <p:cNvSpPr>
            <a:spLocks noGrp="1"/>
          </p:cNvSpPr>
          <p:nvPr>
            <p:ph type="body" sz="quarter" idx="21" hasCustomPrompt="1"/>
          </p:nvPr>
        </p:nvSpPr>
        <p:spPr>
          <a:xfrm>
            <a:off x="8615421" y="3906838"/>
            <a:ext cx="3024000" cy="1620837"/>
          </a:xfrm>
        </p:spPr>
        <p:txBody>
          <a:bodyPr anchor="b" anchorCtr="0"/>
          <a:lstStyle>
            <a:lvl1pPr marL="0" indent="0" algn="ctr">
              <a:buNone/>
              <a:defRPr sz="12000" spc="-300" baseline="0">
                <a:solidFill>
                  <a:schemeClr val="accent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10" name="Text Placeholder 12">
            <a:extLst>
              <a:ext uri="{FF2B5EF4-FFF2-40B4-BE49-F238E27FC236}">
                <a16:creationId xmlns:a16="http://schemas.microsoft.com/office/drawing/2014/main" id="{8B54CE3D-7DB3-3908-6F56-2737E451B052}"/>
              </a:ext>
            </a:extLst>
          </p:cNvPr>
          <p:cNvSpPr>
            <a:spLocks noGrp="1"/>
          </p:cNvSpPr>
          <p:nvPr>
            <p:ph type="body" sz="quarter" idx="16"/>
          </p:nvPr>
        </p:nvSpPr>
        <p:spPr>
          <a:xfrm>
            <a:off x="8615421" y="5346701"/>
            <a:ext cx="3024000" cy="782637"/>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12" name="Text Placeholder 12">
            <a:extLst>
              <a:ext uri="{FF2B5EF4-FFF2-40B4-BE49-F238E27FC236}">
                <a16:creationId xmlns:a16="http://schemas.microsoft.com/office/drawing/2014/main" id="{294BFB3D-8653-F8BB-E3B2-7D7BFC091DBB}"/>
              </a:ext>
            </a:extLst>
          </p:cNvPr>
          <p:cNvSpPr>
            <a:spLocks noGrp="1"/>
          </p:cNvSpPr>
          <p:nvPr>
            <p:ph type="body" sz="quarter" idx="22" hasCustomPrompt="1"/>
          </p:nvPr>
        </p:nvSpPr>
        <p:spPr>
          <a:xfrm>
            <a:off x="8615421" y="627124"/>
            <a:ext cx="3024000" cy="1620837"/>
          </a:xfrm>
        </p:spPr>
        <p:txBody>
          <a:bodyPr anchor="b" anchorCtr="0"/>
          <a:lstStyle>
            <a:lvl1pPr marL="0" indent="0" algn="ctr">
              <a:buNone/>
              <a:defRPr sz="12000" spc="-300" baseline="0">
                <a:solidFill>
                  <a:schemeClr val="tx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13" name="Text Placeholder 12">
            <a:extLst>
              <a:ext uri="{FF2B5EF4-FFF2-40B4-BE49-F238E27FC236}">
                <a16:creationId xmlns:a16="http://schemas.microsoft.com/office/drawing/2014/main" id="{2415A28B-D58E-716B-17B3-97619E7F95AB}"/>
              </a:ext>
            </a:extLst>
          </p:cNvPr>
          <p:cNvSpPr>
            <a:spLocks noGrp="1"/>
          </p:cNvSpPr>
          <p:nvPr>
            <p:ph type="body" sz="quarter" idx="23"/>
          </p:nvPr>
        </p:nvSpPr>
        <p:spPr>
          <a:xfrm>
            <a:off x="8615421" y="2066987"/>
            <a:ext cx="3024000" cy="781200"/>
          </a:xfrm>
        </p:spPr>
        <p:txBody>
          <a:bodyPr/>
          <a:lstStyle>
            <a:lvl1pPr marL="0" indent="0" algn="ctr">
              <a:buNone/>
              <a:defRPr sz="1800">
                <a:solidFill>
                  <a:schemeClr val="tx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2" name="Rectangle 1">
            <a:extLst>
              <a:ext uri="{FF2B5EF4-FFF2-40B4-BE49-F238E27FC236}">
                <a16:creationId xmlns:a16="http://schemas.microsoft.com/office/drawing/2014/main" id="{31AA0871-DF4F-3D16-30B1-C25E0C64F490}"/>
              </a:ext>
            </a:extLst>
          </p:cNvPr>
          <p:cNvSpPr/>
          <p:nvPr userDrawn="1"/>
        </p:nvSpPr>
        <p:spPr>
          <a:xfrm>
            <a:off x="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3" name="Picture Placeholder 42">
            <a:extLst>
              <a:ext uri="{FF2B5EF4-FFF2-40B4-BE49-F238E27FC236}">
                <a16:creationId xmlns:a16="http://schemas.microsoft.com/office/drawing/2014/main" id="{C6FE3766-7949-D482-997B-F037BAB90A2C}"/>
              </a:ext>
            </a:extLst>
          </p:cNvPr>
          <p:cNvSpPr>
            <a:spLocks noGrp="1"/>
          </p:cNvSpPr>
          <p:nvPr>
            <p:ph type="pic" sz="quarter" idx="20" hasCustomPrompt="1"/>
          </p:nvPr>
        </p:nvSpPr>
        <p:spPr>
          <a:xfrm>
            <a:off x="0" y="0"/>
            <a:ext cx="8040688" cy="6858000"/>
          </a:xfrm>
          <a:custGeom>
            <a:avLst/>
            <a:gdLst>
              <a:gd name="connsiteX0" fmla="*/ 1592699 w 8040688"/>
              <a:gd name="connsiteY0" fmla="*/ 6492423 h 6858000"/>
              <a:gd name="connsiteX1" fmla="*/ 1592699 w 8040688"/>
              <a:gd name="connsiteY1" fmla="*/ 6501164 h 6858000"/>
              <a:gd name="connsiteX2" fmla="*/ 1592546 w 8040688"/>
              <a:gd name="connsiteY2" fmla="*/ 6504388 h 6858000"/>
              <a:gd name="connsiteX3" fmla="*/ 1568857 w 8040688"/>
              <a:gd name="connsiteY3" fmla="*/ 6522619 h 6858000"/>
              <a:gd name="connsiteX4" fmla="*/ 1551438 w 8040688"/>
              <a:gd name="connsiteY4" fmla="*/ 6508315 h 6858000"/>
              <a:gd name="connsiteX5" fmla="*/ 1568857 w 8040688"/>
              <a:gd name="connsiteY5" fmla="*/ 6495071 h 6858000"/>
              <a:gd name="connsiteX6" fmla="*/ 1581983 w 8040688"/>
              <a:gd name="connsiteY6" fmla="*/ 6495071 h 6858000"/>
              <a:gd name="connsiteX7" fmla="*/ 1592699 w 8040688"/>
              <a:gd name="connsiteY7" fmla="*/ 6492423 h 6858000"/>
              <a:gd name="connsiteX8" fmla="*/ 1172060 w 8040688"/>
              <a:gd name="connsiteY8" fmla="*/ 6492423 h 6858000"/>
              <a:gd name="connsiteX9" fmla="*/ 1172060 w 8040688"/>
              <a:gd name="connsiteY9" fmla="*/ 6501164 h 6858000"/>
              <a:gd name="connsiteX10" fmla="*/ 1171906 w 8040688"/>
              <a:gd name="connsiteY10" fmla="*/ 6504389 h 6858000"/>
              <a:gd name="connsiteX11" fmla="*/ 1148216 w 8040688"/>
              <a:gd name="connsiteY11" fmla="*/ 6522619 h 6858000"/>
              <a:gd name="connsiteX12" fmla="*/ 1130802 w 8040688"/>
              <a:gd name="connsiteY12" fmla="*/ 6508315 h 6858000"/>
              <a:gd name="connsiteX13" fmla="*/ 1148216 w 8040688"/>
              <a:gd name="connsiteY13" fmla="*/ 6495071 h 6858000"/>
              <a:gd name="connsiteX14" fmla="*/ 1161343 w 8040688"/>
              <a:gd name="connsiteY14" fmla="*/ 6495071 h 6858000"/>
              <a:gd name="connsiteX15" fmla="*/ 1172060 w 8040688"/>
              <a:gd name="connsiteY15" fmla="*/ 6492423 h 6858000"/>
              <a:gd name="connsiteX16" fmla="*/ 1796056 w 8040688"/>
              <a:gd name="connsiteY16" fmla="*/ 6448718 h 6858000"/>
              <a:gd name="connsiteX17" fmla="*/ 1823115 w 8040688"/>
              <a:gd name="connsiteY17" fmla="*/ 6470969 h 6858000"/>
              <a:gd name="connsiteX18" fmla="*/ 1768190 w 8040688"/>
              <a:gd name="connsiteY18" fmla="*/ 6470969 h 6858000"/>
              <a:gd name="connsiteX19" fmla="*/ 1796056 w 8040688"/>
              <a:gd name="connsiteY19" fmla="*/ 6448718 h 6858000"/>
              <a:gd name="connsiteX20" fmla="*/ 1385331 w 8040688"/>
              <a:gd name="connsiteY20" fmla="*/ 6423290 h 6858000"/>
              <a:gd name="connsiteX21" fmla="*/ 1427128 w 8040688"/>
              <a:gd name="connsiteY21" fmla="*/ 6544605 h 6858000"/>
              <a:gd name="connsiteX22" fmla="*/ 1470261 w 8040688"/>
              <a:gd name="connsiteY22" fmla="*/ 6544605 h 6858000"/>
              <a:gd name="connsiteX23" fmla="*/ 1513932 w 8040688"/>
              <a:gd name="connsiteY23" fmla="*/ 6423290 h 6858000"/>
              <a:gd name="connsiteX24" fmla="*/ 1477223 w 8040688"/>
              <a:gd name="connsiteY24" fmla="*/ 6423290 h 6858000"/>
              <a:gd name="connsiteX25" fmla="*/ 1449367 w 8040688"/>
              <a:gd name="connsiteY25" fmla="*/ 6507521 h 6858000"/>
              <a:gd name="connsiteX26" fmla="*/ 1423104 w 8040688"/>
              <a:gd name="connsiteY26" fmla="*/ 6423290 h 6858000"/>
              <a:gd name="connsiteX27" fmla="*/ 1319153 w 8040688"/>
              <a:gd name="connsiteY27" fmla="*/ 6423290 h 6858000"/>
              <a:gd name="connsiteX28" fmla="*/ 1319153 w 8040688"/>
              <a:gd name="connsiteY28" fmla="*/ 6452426 h 6858000"/>
              <a:gd name="connsiteX29" fmla="*/ 1336299 w 8040688"/>
              <a:gd name="connsiteY29" fmla="*/ 6452426 h 6858000"/>
              <a:gd name="connsiteX30" fmla="*/ 1336299 w 8040688"/>
              <a:gd name="connsiteY30" fmla="*/ 6544604 h 6858000"/>
              <a:gd name="connsiteX31" fmla="*/ 1371127 w 8040688"/>
              <a:gd name="connsiteY31" fmla="*/ 6544604 h 6858000"/>
              <a:gd name="connsiteX32" fmla="*/ 1371127 w 8040688"/>
              <a:gd name="connsiteY32" fmla="*/ 6423290 h 6858000"/>
              <a:gd name="connsiteX33" fmla="*/ 1293161 w 8040688"/>
              <a:gd name="connsiteY33" fmla="*/ 6421700 h 6858000"/>
              <a:gd name="connsiteX34" fmla="*/ 1261280 w 8040688"/>
              <a:gd name="connsiteY34" fmla="*/ 6442626 h 6858000"/>
              <a:gd name="connsiteX35" fmla="*/ 1261280 w 8040688"/>
              <a:gd name="connsiteY35" fmla="*/ 6423290 h 6858000"/>
              <a:gd name="connsiteX36" fmla="*/ 1227522 w 8040688"/>
              <a:gd name="connsiteY36" fmla="*/ 6423290 h 6858000"/>
              <a:gd name="connsiteX37" fmla="*/ 1227522 w 8040688"/>
              <a:gd name="connsiteY37" fmla="*/ 6544604 h 6858000"/>
              <a:gd name="connsiteX38" fmla="*/ 1262352 w 8040688"/>
              <a:gd name="connsiteY38" fmla="*/ 6544604 h 6858000"/>
              <a:gd name="connsiteX39" fmla="*/ 1262352 w 8040688"/>
              <a:gd name="connsiteY39" fmla="*/ 6486596 h 6858000"/>
              <a:gd name="connsiteX40" fmla="*/ 1288073 w 8040688"/>
              <a:gd name="connsiteY40" fmla="*/ 6457194 h 6858000"/>
              <a:gd name="connsiteX41" fmla="*/ 1302808 w 8040688"/>
              <a:gd name="connsiteY41" fmla="*/ 6457194 h 6858000"/>
              <a:gd name="connsiteX42" fmla="*/ 1302808 w 8040688"/>
              <a:gd name="connsiteY42" fmla="*/ 6422760 h 6858000"/>
              <a:gd name="connsiteX43" fmla="*/ 1293161 w 8040688"/>
              <a:gd name="connsiteY43" fmla="*/ 6421700 h 6858000"/>
              <a:gd name="connsiteX44" fmla="*/ 1796056 w 8040688"/>
              <a:gd name="connsiteY44" fmla="*/ 6420112 h 6858000"/>
              <a:gd name="connsiteX45" fmla="*/ 1791956 w 8040688"/>
              <a:gd name="connsiteY45" fmla="*/ 6420138 h 6858000"/>
              <a:gd name="connsiteX46" fmla="*/ 1732297 w 8040688"/>
              <a:gd name="connsiteY46" fmla="*/ 6483948 h 6858000"/>
              <a:gd name="connsiteX47" fmla="*/ 1770879 w 8040688"/>
              <a:gd name="connsiteY47" fmla="*/ 6541990 h 6858000"/>
              <a:gd name="connsiteX48" fmla="*/ 1857943 w 8040688"/>
              <a:gd name="connsiteY48" fmla="*/ 6509641 h 6858000"/>
              <a:gd name="connsiteX49" fmla="*/ 1821781 w 8040688"/>
              <a:gd name="connsiteY49" fmla="*/ 6505933 h 6858000"/>
              <a:gd name="connsiteX50" fmla="*/ 1802269 w 8040688"/>
              <a:gd name="connsiteY50" fmla="*/ 6518046 h 6858000"/>
              <a:gd name="connsiteX51" fmla="*/ 1768997 w 8040688"/>
              <a:gd name="connsiteY51" fmla="*/ 6494013 h 6858000"/>
              <a:gd name="connsiteX52" fmla="*/ 1860353 w 8040688"/>
              <a:gd name="connsiteY52" fmla="*/ 6494013 h 6858000"/>
              <a:gd name="connsiteX53" fmla="*/ 1860353 w 8040688"/>
              <a:gd name="connsiteY53" fmla="*/ 6492689 h 6858000"/>
              <a:gd name="connsiteX54" fmla="*/ 1796056 w 8040688"/>
              <a:gd name="connsiteY54" fmla="*/ 6420112 h 6858000"/>
              <a:gd name="connsiteX55" fmla="*/ 1574215 w 8040688"/>
              <a:gd name="connsiteY55" fmla="*/ 6420111 h 6858000"/>
              <a:gd name="connsiteX56" fmla="*/ 1521700 w 8040688"/>
              <a:gd name="connsiteY56" fmla="*/ 6434944 h 6858000"/>
              <a:gd name="connsiteX57" fmla="*/ 1535364 w 8040688"/>
              <a:gd name="connsiteY57" fmla="*/ 6460902 h 6858000"/>
              <a:gd name="connsiteX58" fmla="*/ 1572342 w 8040688"/>
              <a:gd name="connsiteY58" fmla="*/ 6449512 h 6858000"/>
              <a:gd name="connsiteX59" fmla="*/ 1592699 w 8040688"/>
              <a:gd name="connsiteY59" fmla="*/ 6463816 h 6858000"/>
              <a:gd name="connsiteX60" fmla="*/ 1592699 w 8040688"/>
              <a:gd name="connsiteY60" fmla="*/ 6465140 h 6858000"/>
              <a:gd name="connsiteX61" fmla="*/ 1584124 w 8040688"/>
              <a:gd name="connsiteY61" fmla="*/ 6472292 h 6858000"/>
              <a:gd name="connsiteX62" fmla="*/ 1560013 w 8040688"/>
              <a:gd name="connsiteY62" fmla="*/ 6472292 h 6858000"/>
              <a:gd name="connsiteX63" fmla="*/ 1515545 w 8040688"/>
              <a:gd name="connsiteY63" fmla="*/ 6509640 h 6858000"/>
              <a:gd name="connsiteX64" fmla="*/ 1515603 w 8040688"/>
              <a:gd name="connsiteY64" fmla="*/ 6510750 h 6858000"/>
              <a:gd name="connsiteX65" fmla="*/ 1558409 w 8040688"/>
              <a:gd name="connsiteY65" fmla="*/ 6547782 h 6858000"/>
              <a:gd name="connsiteX66" fmla="*/ 1592699 w 8040688"/>
              <a:gd name="connsiteY66" fmla="*/ 6533214 h 6858000"/>
              <a:gd name="connsiteX67" fmla="*/ 1592699 w 8040688"/>
              <a:gd name="connsiteY67" fmla="*/ 6544604 h 6858000"/>
              <a:gd name="connsiteX68" fmla="*/ 1627527 w 8040688"/>
              <a:gd name="connsiteY68" fmla="*/ 6544604 h 6858000"/>
              <a:gd name="connsiteX69" fmla="*/ 1627527 w 8040688"/>
              <a:gd name="connsiteY69" fmla="*/ 6464875 h 6858000"/>
              <a:gd name="connsiteX70" fmla="*/ 1574215 w 8040688"/>
              <a:gd name="connsiteY70" fmla="*/ 6420111 h 6858000"/>
              <a:gd name="connsiteX71" fmla="*/ 1153574 w 8040688"/>
              <a:gd name="connsiteY71" fmla="*/ 6420111 h 6858000"/>
              <a:gd name="connsiteX72" fmla="*/ 1101062 w 8040688"/>
              <a:gd name="connsiteY72" fmla="*/ 6434944 h 6858000"/>
              <a:gd name="connsiteX73" fmla="*/ 1114726 w 8040688"/>
              <a:gd name="connsiteY73" fmla="*/ 6460902 h 6858000"/>
              <a:gd name="connsiteX74" fmla="*/ 1151699 w 8040688"/>
              <a:gd name="connsiteY74" fmla="*/ 6449512 h 6858000"/>
              <a:gd name="connsiteX75" fmla="*/ 1172060 w 8040688"/>
              <a:gd name="connsiteY75" fmla="*/ 6463816 h 6858000"/>
              <a:gd name="connsiteX76" fmla="*/ 1172060 w 8040688"/>
              <a:gd name="connsiteY76" fmla="*/ 6465140 h 6858000"/>
              <a:gd name="connsiteX77" fmla="*/ 1163487 w 8040688"/>
              <a:gd name="connsiteY77" fmla="*/ 6472292 h 6858000"/>
              <a:gd name="connsiteX78" fmla="*/ 1139375 w 8040688"/>
              <a:gd name="connsiteY78" fmla="*/ 6472292 h 6858000"/>
              <a:gd name="connsiteX79" fmla="*/ 1094901 w 8040688"/>
              <a:gd name="connsiteY79" fmla="*/ 6509640 h 6858000"/>
              <a:gd name="connsiteX80" fmla="*/ 1094960 w 8040688"/>
              <a:gd name="connsiteY80" fmla="*/ 6510749 h 6858000"/>
              <a:gd name="connsiteX81" fmla="*/ 1137766 w 8040688"/>
              <a:gd name="connsiteY81" fmla="*/ 6547782 h 6858000"/>
              <a:gd name="connsiteX82" fmla="*/ 1172060 w 8040688"/>
              <a:gd name="connsiteY82" fmla="*/ 6533214 h 6858000"/>
              <a:gd name="connsiteX83" fmla="*/ 1172060 w 8040688"/>
              <a:gd name="connsiteY83" fmla="*/ 6544604 h 6858000"/>
              <a:gd name="connsiteX84" fmla="*/ 1206890 w 8040688"/>
              <a:gd name="connsiteY84" fmla="*/ 6544604 h 6858000"/>
              <a:gd name="connsiteX85" fmla="*/ 1206890 w 8040688"/>
              <a:gd name="connsiteY85" fmla="*/ 6464875 h 6858000"/>
              <a:gd name="connsiteX86" fmla="*/ 1153574 w 8040688"/>
              <a:gd name="connsiteY86" fmla="*/ 6420111 h 6858000"/>
              <a:gd name="connsiteX87" fmla="*/ 568575 w 8040688"/>
              <a:gd name="connsiteY87" fmla="*/ 6383429 h 6858000"/>
              <a:gd name="connsiteX88" fmla="*/ 568549 w 8040688"/>
              <a:gd name="connsiteY88" fmla="*/ 6520396 h 6858000"/>
              <a:gd name="connsiteX89" fmla="*/ 624511 w 8040688"/>
              <a:gd name="connsiteY89" fmla="*/ 6519097 h 6858000"/>
              <a:gd name="connsiteX90" fmla="*/ 618898 w 8040688"/>
              <a:gd name="connsiteY90" fmla="*/ 6402004 h 6858000"/>
              <a:gd name="connsiteX91" fmla="*/ 624479 w 8040688"/>
              <a:gd name="connsiteY91" fmla="*/ 6384725 h 6858000"/>
              <a:gd name="connsiteX92" fmla="*/ 568575 w 8040688"/>
              <a:gd name="connsiteY92" fmla="*/ 6383429 h 6858000"/>
              <a:gd name="connsiteX93" fmla="*/ 1659953 w 8040688"/>
              <a:gd name="connsiteY93" fmla="*/ 6377201 h 6858000"/>
              <a:gd name="connsiteX94" fmla="*/ 1659953 w 8040688"/>
              <a:gd name="connsiteY94" fmla="*/ 6423290 h 6858000"/>
              <a:gd name="connsiteX95" fmla="*/ 1640662 w 8040688"/>
              <a:gd name="connsiteY95" fmla="*/ 6423290 h 6858000"/>
              <a:gd name="connsiteX96" fmla="*/ 1640662 w 8040688"/>
              <a:gd name="connsiteY96" fmla="*/ 6452426 h 6858000"/>
              <a:gd name="connsiteX97" fmla="*/ 1659953 w 8040688"/>
              <a:gd name="connsiteY97" fmla="*/ 6452426 h 6858000"/>
              <a:gd name="connsiteX98" fmla="*/ 1659953 w 8040688"/>
              <a:gd name="connsiteY98" fmla="*/ 6518911 h 6858000"/>
              <a:gd name="connsiteX99" fmla="*/ 1695318 w 8040688"/>
              <a:gd name="connsiteY99" fmla="*/ 6546194 h 6858000"/>
              <a:gd name="connsiteX100" fmla="*/ 1722377 w 8040688"/>
              <a:gd name="connsiteY100" fmla="*/ 6544604 h 6858000"/>
              <a:gd name="connsiteX101" fmla="*/ 1722377 w 8040688"/>
              <a:gd name="connsiteY101" fmla="*/ 6515203 h 6858000"/>
              <a:gd name="connsiteX102" fmla="*/ 1706303 w 8040688"/>
              <a:gd name="connsiteY102" fmla="*/ 6515998 h 6858000"/>
              <a:gd name="connsiteX103" fmla="*/ 1694780 w 8040688"/>
              <a:gd name="connsiteY103" fmla="*/ 6507256 h 6858000"/>
              <a:gd name="connsiteX104" fmla="*/ 1694780 w 8040688"/>
              <a:gd name="connsiteY104" fmla="*/ 6452426 h 6858000"/>
              <a:gd name="connsiteX105" fmla="*/ 1721302 w 8040688"/>
              <a:gd name="connsiteY105" fmla="*/ 6452426 h 6858000"/>
              <a:gd name="connsiteX106" fmla="*/ 1721302 w 8040688"/>
              <a:gd name="connsiteY106" fmla="*/ 6423290 h 6858000"/>
              <a:gd name="connsiteX107" fmla="*/ 1694780 w 8040688"/>
              <a:gd name="connsiteY107" fmla="*/ 6423290 h 6858000"/>
              <a:gd name="connsiteX108" fmla="*/ 1694780 w 8040688"/>
              <a:gd name="connsiteY108" fmla="*/ 6377201 h 6858000"/>
              <a:gd name="connsiteX109" fmla="*/ 1884617 w 8040688"/>
              <a:gd name="connsiteY109" fmla="*/ 6359355 h 6858000"/>
              <a:gd name="connsiteX110" fmla="*/ 1884617 w 8040688"/>
              <a:gd name="connsiteY110" fmla="*/ 6392335 h 6858000"/>
              <a:gd name="connsiteX111" fmla="*/ 1893998 w 8040688"/>
              <a:gd name="connsiteY111" fmla="*/ 6392335 h 6858000"/>
              <a:gd name="connsiteX112" fmla="*/ 1893998 w 8040688"/>
              <a:gd name="connsiteY112" fmla="*/ 6373492 h 6858000"/>
              <a:gd name="connsiteX113" fmla="*/ 1898291 w 8040688"/>
              <a:gd name="connsiteY113" fmla="*/ 6385270 h 6858000"/>
              <a:gd name="connsiteX114" fmla="*/ 1905819 w 8040688"/>
              <a:gd name="connsiteY114" fmla="*/ 6385270 h 6858000"/>
              <a:gd name="connsiteX115" fmla="*/ 1910111 w 8040688"/>
              <a:gd name="connsiteY115" fmla="*/ 6373492 h 6858000"/>
              <a:gd name="connsiteX116" fmla="*/ 1910111 w 8040688"/>
              <a:gd name="connsiteY116" fmla="*/ 6392335 h 6858000"/>
              <a:gd name="connsiteX117" fmla="*/ 1919685 w 8040688"/>
              <a:gd name="connsiteY117" fmla="*/ 6392335 h 6858000"/>
              <a:gd name="connsiteX118" fmla="*/ 1919685 w 8040688"/>
              <a:gd name="connsiteY118" fmla="*/ 6359355 h 6858000"/>
              <a:gd name="connsiteX119" fmla="*/ 1907566 w 8040688"/>
              <a:gd name="connsiteY119" fmla="*/ 6359355 h 6858000"/>
              <a:gd name="connsiteX120" fmla="*/ 1902362 w 8040688"/>
              <a:gd name="connsiteY120" fmla="*/ 6373114 h 6858000"/>
              <a:gd name="connsiteX121" fmla="*/ 1897494 w 8040688"/>
              <a:gd name="connsiteY121" fmla="*/ 6359355 h 6858000"/>
              <a:gd name="connsiteX122" fmla="*/ 1850683 w 8040688"/>
              <a:gd name="connsiteY122" fmla="*/ 6359355 h 6858000"/>
              <a:gd name="connsiteX123" fmla="*/ 1850683 w 8040688"/>
              <a:gd name="connsiteY123" fmla="*/ 6367929 h 6858000"/>
              <a:gd name="connsiteX124" fmla="*/ 1860074 w 8040688"/>
              <a:gd name="connsiteY124" fmla="*/ 6367929 h 6858000"/>
              <a:gd name="connsiteX125" fmla="*/ 1860074 w 8040688"/>
              <a:gd name="connsiteY125" fmla="*/ 6392335 h 6858000"/>
              <a:gd name="connsiteX126" fmla="*/ 1869839 w 8040688"/>
              <a:gd name="connsiteY126" fmla="*/ 6392335 h 6858000"/>
              <a:gd name="connsiteX127" fmla="*/ 1869839 w 8040688"/>
              <a:gd name="connsiteY127" fmla="*/ 6367929 h 6858000"/>
              <a:gd name="connsiteX128" fmla="*/ 1879230 w 8040688"/>
              <a:gd name="connsiteY128" fmla="*/ 6367929 h 6858000"/>
              <a:gd name="connsiteX129" fmla="*/ 1879230 w 8040688"/>
              <a:gd name="connsiteY129" fmla="*/ 6359355 h 6858000"/>
              <a:gd name="connsiteX130" fmla="*/ 1352105 w 8040688"/>
              <a:gd name="connsiteY130" fmla="*/ 6359189 h 6858000"/>
              <a:gd name="connsiteX131" fmla="*/ 1329868 w 8040688"/>
              <a:gd name="connsiteY131" fmla="*/ 6381439 h 6858000"/>
              <a:gd name="connsiteX132" fmla="*/ 1352108 w 8040688"/>
              <a:gd name="connsiteY132" fmla="*/ 6403427 h 6858000"/>
              <a:gd name="connsiteX133" fmla="*/ 1374610 w 8040688"/>
              <a:gd name="connsiteY133" fmla="*/ 6381439 h 6858000"/>
              <a:gd name="connsiteX134" fmla="*/ 1374610 w 8040688"/>
              <a:gd name="connsiteY134" fmla="*/ 6381364 h 6858000"/>
              <a:gd name="connsiteX135" fmla="*/ 1352105 w 8040688"/>
              <a:gd name="connsiteY135" fmla="*/ 6359189 h 6858000"/>
              <a:gd name="connsiteX136" fmla="*/ 1041583 w 8040688"/>
              <a:gd name="connsiteY136" fmla="*/ 6359189 h 6858000"/>
              <a:gd name="connsiteX137" fmla="*/ 1041583 w 8040688"/>
              <a:gd name="connsiteY137" fmla="*/ 6544604 h 6858000"/>
              <a:gd name="connsiteX138" fmla="*/ 1076143 w 8040688"/>
              <a:gd name="connsiteY138" fmla="*/ 6544604 h 6858000"/>
              <a:gd name="connsiteX139" fmla="*/ 1076143 w 8040688"/>
              <a:gd name="connsiteY139" fmla="*/ 6359189 h 6858000"/>
              <a:gd name="connsiteX140" fmla="*/ 925239 w 8040688"/>
              <a:gd name="connsiteY140" fmla="*/ 6355990 h 6858000"/>
              <a:gd name="connsiteX141" fmla="*/ 832602 w 8040688"/>
              <a:gd name="connsiteY141" fmla="*/ 6451897 h 6858000"/>
              <a:gd name="connsiteX142" fmla="*/ 832623 w 8040688"/>
              <a:gd name="connsiteY142" fmla="*/ 6456990 h 6858000"/>
              <a:gd name="connsiteX143" fmla="*/ 930389 w 8040688"/>
              <a:gd name="connsiteY143" fmla="*/ 6547783 h 6858000"/>
              <a:gd name="connsiteX144" fmla="*/ 1022285 w 8040688"/>
              <a:gd name="connsiteY144" fmla="*/ 6478650 h 6858000"/>
              <a:gd name="connsiteX145" fmla="*/ 981294 w 8040688"/>
              <a:gd name="connsiteY145" fmla="*/ 6478650 h 6858000"/>
              <a:gd name="connsiteX146" fmla="*/ 930389 w 8040688"/>
              <a:gd name="connsiteY146" fmla="*/ 6513878 h 6858000"/>
              <a:gd name="connsiteX147" fmla="*/ 871450 w 8040688"/>
              <a:gd name="connsiteY147" fmla="*/ 6451897 h 6858000"/>
              <a:gd name="connsiteX148" fmla="*/ 930389 w 8040688"/>
              <a:gd name="connsiteY148" fmla="*/ 6389916 h 6858000"/>
              <a:gd name="connsiteX149" fmla="*/ 981294 w 8040688"/>
              <a:gd name="connsiteY149" fmla="*/ 6425144 h 6858000"/>
              <a:gd name="connsiteX150" fmla="*/ 1022285 w 8040688"/>
              <a:gd name="connsiteY150" fmla="*/ 6425144 h 6858000"/>
              <a:gd name="connsiteX151" fmla="*/ 930389 w 8040688"/>
              <a:gd name="connsiteY151" fmla="*/ 6356011 h 6858000"/>
              <a:gd name="connsiteX152" fmla="*/ 925239 w 8040688"/>
              <a:gd name="connsiteY152" fmla="*/ 6355990 h 6858000"/>
              <a:gd name="connsiteX153" fmla="*/ 651232 w 8040688"/>
              <a:gd name="connsiteY153" fmla="*/ 6336161 h 6858000"/>
              <a:gd name="connsiteX154" fmla="*/ 624479 w 8040688"/>
              <a:gd name="connsiteY154" fmla="*/ 6384726 h 6858000"/>
              <a:gd name="connsiteX155" fmla="*/ 742033 w 8040688"/>
              <a:gd name="connsiteY155" fmla="*/ 6451914 h 6858000"/>
              <a:gd name="connsiteX156" fmla="*/ 624512 w 8040688"/>
              <a:gd name="connsiteY156" fmla="*/ 6519097 h 6858000"/>
              <a:gd name="connsiteX157" fmla="*/ 651373 w 8040688"/>
              <a:gd name="connsiteY157" fmla="*/ 6567631 h 6858000"/>
              <a:gd name="connsiteX158" fmla="*/ 771228 w 8040688"/>
              <a:gd name="connsiteY158" fmla="*/ 6499136 h 6858000"/>
              <a:gd name="connsiteX159" fmla="*/ 742033 w 8040688"/>
              <a:gd name="connsiteY159" fmla="*/ 6451914 h 6858000"/>
              <a:gd name="connsiteX160" fmla="*/ 771227 w 8040688"/>
              <a:gd name="connsiteY160" fmla="*/ 6404692 h 6858000"/>
              <a:gd name="connsiteX161" fmla="*/ 651232 w 8040688"/>
              <a:gd name="connsiteY161" fmla="*/ 6336161 h 6858000"/>
              <a:gd name="connsiteX162" fmla="*/ 0 w 8040688"/>
              <a:gd name="connsiteY162" fmla="*/ 0 h 6858000"/>
              <a:gd name="connsiteX163" fmla="*/ 8040688 w 8040688"/>
              <a:gd name="connsiteY163" fmla="*/ 0 h 6858000"/>
              <a:gd name="connsiteX164" fmla="*/ 8040688 w 8040688"/>
              <a:gd name="connsiteY164" fmla="*/ 6858000 h 6858000"/>
              <a:gd name="connsiteX165" fmla="*/ 0 w 8040688"/>
              <a:gd name="connsiteY16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Lst>
            <a:rect l="l" t="t" r="r" b="b"/>
            <a:pathLst>
              <a:path w="8040688" h="6858000">
                <a:moveTo>
                  <a:pt x="1592699" y="6492423"/>
                </a:moveTo>
                <a:lnTo>
                  <a:pt x="1592699" y="6501164"/>
                </a:lnTo>
                <a:cubicBezTo>
                  <a:pt x="1592738" y="6502241"/>
                  <a:pt x="1592680" y="6503319"/>
                  <a:pt x="1592546" y="6504388"/>
                </a:cubicBezTo>
                <a:cubicBezTo>
                  <a:pt x="1591096" y="6515890"/>
                  <a:pt x="1580495" y="6524053"/>
                  <a:pt x="1568857" y="6522619"/>
                </a:cubicBezTo>
                <a:cubicBezTo>
                  <a:pt x="1558141" y="6522619"/>
                  <a:pt x="1551438" y="6516526"/>
                  <a:pt x="1551438" y="6508315"/>
                </a:cubicBezTo>
                <a:cubicBezTo>
                  <a:pt x="1551438" y="6499839"/>
                  <a:pt x="1557872" y="6495071"/>
                  <a:pt x="1568857" y="6495071"/>
                </a:cubicBezTo>
                <a:lnTo>
                  <a:pt x="1581983" y="6495071"/>
                </a:lnTo>
                <a:cubicBezTo>
                  <a:pt x="1585766" y="6495554"/>
                  <a:pt x="1589598" y="6494609"/>
                  <a:pt x="1592699" y="6492423"/>
                </a:cubicBezTo>
                <a:close/>
                <a:moveTo>
                  <a:pt x="1172060" y="6492423"/>
                </a:moveTo>
                <a:lnTo>
                  <a:pt x="1172060" y="6501164"/>
                </a:lnTo>
                <a:cubicBezTo>
                  <a:pt x="1172093" y="6502242"/>
                  <a:pt x="1172042" y="6503320"/>
                  <a:pt x="1171906" y="6504389"/>
                </a:cubicBezTo>
                <a:cubicBezTo>
                  <a:pt x="1170456" y="6515891"/>
                  <a:pt x="1159850" y="6524053"/>
                  <a:pt x="1148216" y="6522619"/>
                </a:cubicBezTo>
                <a:cubicBezTo>
                  <a:pt x="1137499" y="6522619"/>
                  <a:pt x="1130802" y="6516526"/>
                  <a:pt x="1130802" y="6508315"/>
                </a:cubicBezTo>
                <a:cubicBezTo>
                  <a:pt x="1130802" y="6499839"/>
                  <a:pt x="1137232" y="6495071"/>
                  <a:pt x="1148216" y="6495071"/>
                </a:cubicBezTo>
                <a:lnTo>
                  <a:pt x="1161343" y="6495071"/>
                </a:lnTo>
                <a:cubicBezTo>
                  <a:pt x="1165125" y="6495554"/>
                  <a:pt x="1168953" y="6494609"/>
                  <a:pt x="1172060" y="6492423"/>
                </a:cubicBezTo>
                <a:close/>
                <a:moveTo>
                  <a:pt x="1796056" y="6448718"/>
                </a:moveTo>
                <a:cubicBezTo>
                  <a:pt x="1809461" y="6448340"/>
                  <a:pt x="1821051" y="6457873"/>
                  <a:pt x="1823115" y="6470969"/>
                </a:cubicBezTo>
                <a:lnTo>
                  <a:pt x="1768190" y="6470969"/>
                </a:lnTo>
                <a:cubicBezTo>
                  <a:pt x="1770601" y="6457738"/>
                  <a:pt x="1782469" y="6448261"/>
                  <a:pt x="1796056" y="6448718"/>
                </a:cubicBezTo>
                <a:close/>
                <a:moveTo>
                  <a:pt x="1385331" y="6423290"/>
                </a:moveTo>
                <a:lnTo>
                  <a:pt x="1427128" y="6544605"/>
                </a:lnTo>
                <a:lnTo>
                  <a:pt x="1470261" y="6544605"/>
                </a:lnTo>
                <a:lnTo>
                  <a:pt x="1513932" y="6423290"/>
                </a:lnTo>
                <a:lnTo>
                  <a:pt x="1477223" y="6423290"/>
                </a:lnTo>
                <a:lnTo>
                  <a:pt x="1449367" y="6507521"/>
                </a:lnTo>
                <a:lnTo>
                  <a:pt x="1423104" y="6423290"/>
                </a:lnTo>
                <a:close/>
                <a:moveTo>
                  <a:pt x="1319153" y="6423290"/>
                </a:moveTo>
                <a:lnTo>
                  <a:pt x="1319153" y="6452426"/>
                </a:lnTo>
                <a:lnTo>
                  <a:pt x="1336299" y="6452426"/>
                </a:lnTo>
                <a:lnTo>
                  <a:pt x="1336299" y="6544604"/>
                </a:lnTo>
                <a:lnTo>
                  <a:pt x="1371127" y="6544604"/>
                </a:lnTo>
                <a:lnTo>
                  <a:pt x="1371127" y="6423290"/>
                </a:lnTo>
                <a:close/>
                <a:moveTo>
                  <a:pt x="1293161" y="6421700"/>
                </a:moveTo>
                <a:cubicBezTo>
                  <a:pt x="1279051" y="6421037"/>
                  <a:pt x="1266138" y="6429512"/>
                  <a:pt x="1261280" y="6442626"/>
                </a:cubicBezTo>
                <a:lnTo>
                  <a:pt x="1261280" y="6423290"/>
                </a:lnTo>
                <a:lnTo>
                  <a:pt x="1227522" y="6423290"/>
                </a:lnTo>
                <a:lnTo>
                  <a:pt x="1227522" y="6544604"/>
                </a:lnTo>
                <a:lnTo>
                  <a:pt x="1262352" y="6544604"/>
                </a:lnTo>
                <a:lnTo>
                  <a:pt x="1262352" y="6486596"/>
                </a:lnTo>
                <a:cubicBezTo>
                  <a:pt x="1262352" y="6465405"/>
                  <a:pt x="1270389" y="6457194"/>
                  <a:pt x="1288073" y="6457194"/>
                </a:cubicBezTo>
                <a:lnTo>
                  <a:pt x="1302808" y="6457194"/>
                </a:lnTo>
                <a:lnTo>
                  <a:pt x="1302808" y="6422760"/>
                </a:lnTo>
                <a:cubicBezTo>
                  <a:pt x="1299648" y="6422016"/>
                  <a:pt x="1296409" y="6421660"/>
                  <a:pt x="1293161" y="6421700"/>
                </a:cubicBezTo>
                <a:close/>
                <a:moveTo>
                  <a:pt x="1796056" y="6420112"/>
                </a:moveTo>
                <a:cubicBezTo>
                  <a:pt x="1794693" y="6420076"/>
                  <a:pt x="1793320" y="6420084"/>
                  <a:pt x="1791956" y="6420138"/>
                </a:cubicBezTo>
                <a:cubicBezTo>
                  <a:pt x="1757657" y="6421470"/>
                  <a:pt x="1730943" y="6450039"/>
                  <a:pt x="1732297" y="6483948"/>
                </a:cubicBezTo>
                <a:cubicBezTo>
                  <a:pt x="1732749" y="6509035"/>
                  <a:pt x="1747766" y="6531624"/>
                  <a:pt x="1770879" y="6541990"/>
                </a:cubicBezTo>
                <a:cubicBezTo>
                  <a:pt x="1803959" y="6556828"/>
                  <a:pt x="1842934" y="6542344"/>
                  <a:pt x="1857943" y="6509641"/>
                </a:cubicBezTo>
                <a:lnTo>
                  <a:pt x="1821781" y="6505933"/>
                </a:lnTo>
                <a:cubicBezTo>
                  <a:pt x="1817229" y="6512448"/>
                  <a:pt x="1810181" y="6516829"/>
                  <a:pt x="1802269" y="6518046"/>
                </a:cubicBezTo>
                <a:cubicBezTo>
                  <a:pt x="1786368" y="6520493"/>
                  <a:pt x="1771474" y="6509733"/>
                  <a:pt x="1768997" y="6494013"/>
                </a:cubicBezTo>
                <a:lnTo>
                  <a:pt x="1860353" y="6494013"/>
                </a:lnTo>
                <a:lnTo>
                  <a:pt x="1860353" y="6492689"/>
                </a:lnTo>
                <a:cubicBezTo>
                  <a:pt x="1860353" y="6441832"/>
                  <a:pt x="1829808" y="6420112"/>
                  <a:pt x="1796056" y="6420112"/>
                </a:cubicBezTo>
                <a:close/>
                <a:moveTo>
                  <a:pt x="1574215" y="6420111"/>
                </a:moveTo>
                <a:cubicBezTo>
                  <a:pt x="1555692" y="6420390"/>
                  <a:pt x="1537573" y="6425507"/>
                  <a:pt x="1521700" y="6434944"/>
                </a:cubicBezTo>
                <a:lnTo>
                  <a:pt x="1535364" y="6460902"/>
                </a:lnTo>
                <a:cubicBezTo>
                  <a:pt x="1546618" y="6454290"/>
                  <a:pt x="1559283" y="6450388"/>
                  <a:pt x="1572342" y="6449512"/>
                </a:cubicBezTo>
                <a:cubicBezTo>
                  <a:pt x="1585738" y="6449512"/>
                  <a:pt x="1592699" y="6455075"/>
                  <a:pt x="1592699" y="6463816"/>
                </a:cubicBezTo>
                <a:lnTo>
                  <a:pt x="1592699" y="6465140"/>
                </a:lnTo>
                <a:cubicBezTo>
                  <a:pt x="1592699" y="6469643"/>
                  <a:pt x="1590020" y="6472292"/>
                  <a:pt x="1584124" y="6472292"/>
                </a:cubicBezTo>
                <a:lnTo>
                  <a:pt x="1560013" y="6472292"/>
                </a:lnTo>
                <a:cubicBezTo>
                  <a:pt x="1532685" y="6472292"/>
                  <a:pt x="1515545" y="6486595"/>
                  <a:pt x="1515545" y="6509640"/>
                </a:cubicBezTo>
                <a:cubicBezTo>
                  <a:pt x="1515555" y="6510010"/>
                  <a:pt x="1515574" y="6510380"/>
                  <a:pt x="1515603" y="6510750"/>
                </a:cubicBezTo>
                <a:cubicBezTo>
                  <a:pt x="1517081" y="6532663"/>
                  <a:pt x="1536247" y="6549244"/>
                  <a:pt x="1558409" y="6547782"/>
                </a:cubicBezTo>
                <a:cubicBezTo>
                  <a:pt x="1571536" y="6548591"/>
                  <a:pt x="1584259" y="6543183"/>
                  <a:pt x="1592699" y="6533214"/>
                </a:cubicBezTo>
                <a:lnTo>
                  <a:pt x="1592699" y="6544604"/>
                </a:lnTo>
                <a:lnTo>
                  <a:pt x="1627527" y="6544604"/>
                </a:lnTo>
                <a:lnTo>
                  <a:pt x="1627527" y="6464875"/>
                </a:lnTo>
                <a:cubicBezTo>
                  <a:pt x="1627527" y="6432825"/>
                  <a:pt x="1602081" y="6420111"/>
                  <a:pt x="1574215" y="6420111"/>
                </a:cubicBezTo>
                <a:close/>
                <a:moveTo>
                  <a:pt x="1153574" y="6420111"/>
                </a:moveTo>
                <a:cubicBezTo>
                  <a:pt x="1135053" y="6420390"/>
                  <a:pt x="1116936" y="6425508"/>
                  <a:pt x="1101062" y="6434944"/>
                </a:cubicBezTo>
                <a:lnTo>
                  <a:pt x="1114726" y="6460902"/>
                </a:lnTo>
                <a:cubicBezTo>
                  <a:pt x="1125976" y="6454290"/>
                  <a:pt x="1138641" y="6450388"/>
                  <a:pt x="1151699" y="6449512"/>
                </a:cubicBezTo>
                <a:cubicBezTo>
                  <a:pt x="1165095" y="6449512"/>
                  <a:pt x="1172060" y="6455075"/>
                  <a:pt x="1172060" y="6463816"/>
                </a:cubicBezTo>
                <a:lnTo>
                  <a:pt x="1172060" y="6465140"/>
                </a:lnTo>
                <a:cubicBezTo>
                  <a:pt x="1172060" y="6469643"/>
                  <a:pt x="1169381" y="6472292"/>
                  <a:pt x="1163487" y="6472292"/>
                </a:cubicBezTo>
                <a:lnTo>
                  <a:pt x="1139375" y="6472292"/>
                </a:lnTo>
                <a:cubicBezTo>
                  <a:pt x="1112046" y="6472292"/>
                  <a:pt x="1094901" y="6486595"/>
                  <a:pt x="1094901" y="6509640"/>
                </a:cubicBezTo>
                <a:cubicBezTo>
                  <a:pt x="1094915" y="6510010"/>
                  <a:pt x="1094936" y="6510379"/>
                  <a:pt x="1094960" y="6510749"/>
                </a:cubicBezTo>
                <a:cubicBezTo>
                  <a:pt x="1096437" y="6532662"/>
                  <a:pt x="1115603" y="6549243"/>
                  <a:pt x="1137766" y="6547782"/>
                </a:cubicBezTo>
                <a:cubicBezTo>
                  <a:pt x="1150890" y="6548592"/>
                  <a:pt x="1163622" y="6543184"/>
                  <a:pt x="1172060" y="6533214"/>
                </a:cubicBezTo>
                <a:lnTo>
                  <a:pt x="1172060" y="6544604"/>
                </a:lnTo>
                <a:lnTo>
                  <a:pt x="1206890" y="6544604"/>
                </a:lnTo>
                <a:lnTo>
                  <a:pt x="1206890" y="6464875"/>
                </a:lnTo>
                <a:cubicBezTo>
                  <a:pt x="1206890" y="6432825"/>
                  <a:pt x="1181438" y="6420111"/>
                  <a:pt x="1153574" y="6420111"/>
                </a:cubicBezTo>
                <a:close/>
                <a:moveTo>
                  <a:pt x="568575" y="6383429"/>
                </a:moveTo>
                <a:cubicBezTo>
                  <a:pt x="555414" y="6428156"/>
                  <a:pt x="555406" y="6475664"/>
                  <a:pt x="568549" y="6520396"/>
                </a:cubicBezTo>
                <a:cubicBezTo>
                  <a:pt x="587170" y="6522621"/>
                  <a:pt x="606017" y="6522184"/>
                  <a:pt x="624511" y="6519097"/>
                </a:cubicBezTo>
                <a:cubicBezTo>
                  <a:pt x="610287" y="6481610"/>
                  <a:pt x="608324" y="6440654"/>
                  <a:pt x="618898" y="6402004"/>
                </a:cubicBezTo>
                <a:cubicBezTo>
                  <a:pt x="620492" y="6396123"/>
                  <a:pt x="622369" y="6390366"/>
                  <a:pt x="624479" y="6384725"/>
                </a:cubicBezTo>
                <a:cubicBezTo>
                  <a:pt x="606004" y="6381645"/>
                  <a:pt x="587176" y="6381208"/>
                  <a:pt x="568575" y="6383429"/>
                </a:cubicBezTo>
                <a:close/>
                <a:moveTo>
                  <a:pt x="1659953" y="6377201"/>
                </a:moveTo>
                <a:lnTo>
                  <a:pt x="1659953" y="6423290"/>
                </a:lnTo>
                <a:lnTo>
                  <a:pt x="1640662" y="6423290"/>
                </a:lnTo>
                <a:lnTo>
                  <a:pt x="1640662" y="6452426"/>
                </a:lnTo>
                <a:lnTo>
                  <a:pt x="1659953" y="6452426"/>
                </a:lnTo>
                <a:lnTo>
                  <a:pt x="1659953" y="6518911"/>
                </a:lnTo>
                <a:cubicBezTo>
                  <a:pt x="1659953" y="6543280"/>
                  <a:pt x="1677900" y="6546194"/>
                  <a:pt x="1695318" y="6546194"/>
                </a:cubicBezTo>
                <a:cubicBezTo>
                  <a:pt x="1705497" y="6546194"/>
                  <a:pt x="1722377" y="6544604"/>
                  <a:pt x="1722377" y="6544604"/>
                </a:cubicBezTo>
                <a:lnTo>
                  <a:pt x="1722377" y="6515203"/>
                </a:lnTo>
                <a:cubicBezTo>
                  <a:pt x="1722377" y="6515203"/>
                  <a:pt x="1715137" y="6515998"/>
                  <a:pt x="1706303" y="6515998"/>
                </a:cubicBezTo>
                <a:cubicBezTo>
                  <a:pt x="1700945" y="6515998"/>
                  <a:pt x="1694780" y="6514938"/>
                  <a:pt x="1694780" y="6507256"/>
                </a:cubicBezTo>
                <a:lnTo>
                  <a:pt x="1694780" y="6452426"/>
                </a:lnTo>
                <a:lnTo>
                  <a:pt x="1721302" y="6452426"/>
                </a:lnTo>
                <a:lnTo>
                  <a:pt x="1721302" y="6423290"/>
                </a:lnTo>
                <a:lnTo>
                  <a:pt x="1694780" y="6423290"/>
                </a:lnTo>
                <a:lnTo>
                  <a:pt x="1694780" y="6377201"/>
                </a:lnTo>
                <a:close/>
                <a:moveTo>
                  <a:pt x="1884617" y="6359355"/>
                </a:moveTo>
                <a:lnTo>
                  <a:pt x="1884617" y="6392335"/>
                </a:lnTo>
                <a:lnTo>
                  <a:pt x="1893998" y="6392335"/>
                </a:lnTo>
                <a:lnTo>
                  <a:pt x="1893998" y="6373492"/>
                </a:lnTo>
                <a:lnTo>
                  <a:pt x="1898291" y="6385270"/>
                </a:lnTo>
                <a:lnTo>
                  <a:pt x="1905819" y="6385270"/>
                </a:lnTo>
                <a:lnTo>
                  <a:pt x="1910111" y="6373492"/>
                </a:lnTo>
                <a:lnTo>
                  <a:pt x="1910111" y="6392335"/>
                </a:lnTo>
                <a:lnTo>
                  <a:pt x="1919685" y="6392335"/>
                </a:lnTo>
                <a:lnTo>
                  <a:pt x="1919685" y="6359355"/>
                </a:lnTo>
                <a:lnTo>
                  <a:pt x="1907566" y="6359355"/>
                </a:lnTo>
                <a:lnTo>
                  <a:pt x="1902362" y="6373114"/>
                </a:lnTo>
                <a:lnTo>
                  <a:pt x="1897494" y="6359355"/>
                </a:lnTo>
                <a:close/>
                <a:moveTo>
                  <a:pt x="1850683" y="6359355"/>
                </a:moveTo>
                <a:lnTo>
                  <a:pt x="1850683" y="6367929"/>
                </a:lnTo>
                <a:lnTo>
                  <a:pt x="1860074" y="6367929"/>
                </a:lnTo>
                <a:lnTo>
                  <a:pt x="1860074" y="6392335"/>
                </a:lnTo>
                <a:lnTo>
                  <a:pt x="1869839" y="6392335"/>
                </a:lnTo>
                <a:lnTo>
                  <a:pt x="1869839" y="6367929"/>
                </a:lnTo>
                <a:lnTo>
                  <a:pt x="1879230" y="6367929"/>
                </a:lnTo>
                <a:lnTo>
                  <a:pt x="1879230" y="6359355"/>
                </a:lnTo>
                <a:close/>
                <a:moveTo>
                  <a:pt x="1352105" y="6359189"/>
                </a:moveTo>
                <a:cubicBezTo>
                  <a:pt x="1339759" y="6359284"/>
                  <a:pt x="1329816" y="6369233"/>
                  <a:pt x="1329868" y="6381439"/>
                </a:cubicBezTo>
                <a:cubicBezTo>
                  <a:pt x="1329940" y="6393552"/>
                  <a:pt x="1339855" y="6403355"/>
                  <a:pt x="1352108" y="6403427"/>
                </a:cubicBezTo>
                <a:cubicBezTo>
                  <a:pt x="1364463" y="6403498"/>
                  <a:pt x="1374538" y="6393654"/>
                  <a:pt x="1374610" y="6381439"/>
                </a:cubicBezTo>
                <a:cubicBezTo>
                  <a:pt x="1374610" y="6381414"/>
                  <a:pt x="1374610" y="6381388"/>
                  <a:pt x="1374610" y="6381364"/>
                </a:cubicBezTo>
                <a:cubicBezTo>
                  <a:pt x="1374589" y="6369096"/>
                  <a:pt x="1364513" y="6359168"/>
                  <a:pt x="1352105" y="6359189"/>
                </a:cubicBezTo>
                <a:close/>
                <a:moveTo>
                  <a:pt x="1041583" y="6359189"/>
                </a:moveTo>
                <a:lnTo>
                  <a:pt x="1041583" y="6544604"/>
                </a:lnTo>
                <a:lnTo>
                  <a:pt x="1076143" y="6544604"/>
                </a:lnTo>
                <a:lnTo>
                  <a:pt x="1076143" y="6359189"/>
                </a:lnTo>
                <a:close/>
                <a:moveTo>
                  <a:pt x="925239" y="6355990"/>
                </a:moveTo>
                <a:cubicBezTo>
                  <a:pt x="872870" y="6357183"/>
                  <a:pt x="831395" y="6400122"/>
                  <a:pt x="832602" y="6451897"/>
                </a:cubicBezTo>
                <a:cubicBezTo>
                  <a:pt x="832562" y="6453595"/>
                  <a:pt x="832569" y="6455292"/>
                  <a:pt x="832623" y="6456990"/>
                </a:cubicBezTo>
                <a:cubicBezTo>
                  <a:pt x="834261" y="6508753"/>
                  <a:pt x="878033" y="6549402"/>
                  <a:pt x="930389" y="6547783"/>
                </a:cubicBezTo>
                <a:cubicBezTo>
                  <a:pt x="973630" y="6548900"/>
                  <a:pt x="1011845" y="6520151"/>
                  <a:pt x="1022285" y="6478650"/>
                </a:cubicBezTo>
                <a:lnTo>
                  <a:pt x="981294" y="6478650"/>
                </a:lnTo>
                <a:cubicBezTo>
                  <a:pt x="974516" y="6500553"/>
                  <a:pt x="953525" y="6515080"/>
                  <a:pt x="930389" y="6513878"/>
                </a:cubicBezTo>
                <a:cubicBezTo>
                  <a:pt x="895026" y="6513878"/>
                  <a:pt x="871450" y="6487391"/>
                  <a:pt x="871450" y="6451897"/>
                </a:cubicBezTo>
                <a:cubicBezTo>
                  <a:pt x="871450" y="6416403"/>
                  <a:pt x="895026" y="6389916"/>
                  <a:pt x="930389" y="6389916"/>
                </a:cubicBezTo>
                <a:cubicBezTo>
                  <a:pt x="953525" y="6388714"/>
                  <a:pt x="974516" y="6403241"/>
                  <a:pt x="981294" y="6425144"/>
                </a:cubicBezTo>
                <a:lnTo>
                  <a:pt x="1022285" y="6425144"/>
                </a:lnTo>
                <a:cubicBezTo>
                  <a:pt x="1011846" y="6383642"/>
                  <a:pt x="973630" y="6354892"/>
                  <a:pt x="930389" y="6356011"/>
                </a:cubicBezTo>
                <a:cubicBezTo>
                  <a:pt x="928673" y="6355958"/>
                  <a:pt x="926955" y="6355951"/>
                  <a:pt x="925239" y="6355990"/>
                </a:cubicBezTo>
                <a:close/>
                <a:moveTo>
                  <a:pt x="651232" y="6336161"/>
                </a:moveTo>
                <a:cubicBezTo>
                  <a:pt x="639985" y="6350984"/>
                  <a:pt x="630973" y="6367343"/>
                  <a:pt x="624479" y="6384726"/>
                </a:cubicBezTo>
                <a:cubicBezTo>
                  <a:pt x="670541" y="6392471"/>
                  <a:pt x="712258" y="6416315"/>
                  <a:pt x="742033" y="6451914"/>
                </a:cubicBezTo>
                <a:cubicBezTo>
                  <a:pt x="712265" y="6487505"/>
                  <a:pt x="670562" y="6511346"/>
                  <a:pt x="624512" y="6519097"/>
                </a:cubicBezTo>
                <a:cubicBezTo>
                  <a:pt x="631041" y="6536476"/>
                  <a:pt x="640089" y="6552825"/>
                  <a:pt x="651373" y="6567631"/>
                </a:cubicBezTo>
                <a:cubicBezTo>
                  <a:pt x="697088" y="6556502"/>
                  <a:pt x="738657" y="6532746"/>
                  <a:pt x="771228" y="6499136"/>
                </a:cubicBezTo>
                <a:cubicBezTo>
                  <a:pt x="763842" y="6482091"/>
                  <a:pt x="754009" y="6466186"/>
                  <a:pt x="742033" y="6451914"/>
                </a:cubicBezTo>
                <a:cubicBezTo>
                  <a:pt x="754009" y="6437642"/>
                  <a:pt x="763841" y="6421738"/>
                  <a:pt x="771227" y="6404692"/>
                </a:cubicBezTo>
                <a:cubicBezTo>
                  <a:pt x="738623" y="6371047"/>
                  <a:pt x="697001" y="6347276"/>
                  <a:pt x="651232" y="6336161"/>
                </a:cubicBezTo>
                <a:close/>
                <a:moveTo>
                  <a:pt x="0" y="0"/>
                </a:moveTo>
                <a:lnTo>
                  <a:pt x="8040688" y="0"/>
                </a:lnTo>
                <a:lnTo>
                  <a:pt x="8040688" y="6858000"/>
                </a:lnTo>
                <a:lnTo>
                  <a:pt x="0" y="6858000"/>
                </a:lnTo>
                <a:close/>
              </a:path>
            </a:pathLst>
          </a:custGeom>
          <a:solidFill>
            <a:schemeClr val="bg1">
              <a:lumMod val="95000"/>
            </a:schemeClr>
          </a:solidFill>
          <a:ln>
            <a:noFill/>
          </a:ln>
        </p:spPr>
        <p:txBody>
          <a:bodyPr wrap="square" tIns="180000" anchor="t" anchorCtr="0">
            <a:noAutofit/>
          </a:bodyPr>
          <a:lstStyle>
            <a:lvl1pPr marL="0" indent="0" algn="ctr">
              <a:buNone/>
              <a:defRPr sz="1000">
                <a:solidFill>
                  <a:schemeClr val="accent2"/>
                </a:solidFill>
                <a:latin typeface="+mn-lt"/>
              </a:defRPr>
            </a:lvl1pPr>
          </a:lstStyle>
          <a:p>
            <a:pPr lvl="0"/>
            <a:r>
              <a:rPr lang="en-US"/>
              <a:t>Drag picture file here or click </a:t>
            </a:r>
            <a:r>
              <a:rPr lang="en-GB" noProof="0" err="1"/>
              <a:t>center</a:t>
            </a:r>
            <a:r>
              <a:rPr lang="en-US"/>
              <a:t> icon to insert light image</a:t>
            </a:r>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Tree>
    <p:extLst>
      <p:ext uri="{BB962C8B-B14F-4D97-AF65-F5344CB8AC3E}">
        <p14:creationId xmlns:p14="http://schemas.microsoft.com/office/powerpoint/2010/main" val="245196428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 &amp; 2x Light Image stac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FEB4482-ADD8-A5AC-E88D-E80B1F5288A7}"/>
              </a:ext>
            </a:extLst>
          </p:cNvPr>
          <p:cNvSpPr/>
          <p:nvPr userDrawn="1"/>
        </p:nvSpPr>
        <p:spPr>
          <a:xfrm>
            <a:off x="991235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icture Placeholder 7">
            <a:extLst>
              <a:ext uri="{FF2B5EF4-FFF2-40B4-BE49-F238E27FC236}">
                <a16:creationId xmlns:a16="http://schemas.microsoft.com/office/drawing/2014/main" id="{E521FEA4-99B7-D7D2-C66A-489E89D4E18C}"/>
              </a:ext>
            </a:extLst>
          </p:cNvPr>
          <p:cNvSpPr>
            <a:spLocks noGrp="1"/>
          </p:cNvSpPr>
          <p:nvPr>
            <p:ph type="pic" sz="quarter" idx="21" hasCustomPrompt="1"/>
          </p:nvPr>
        </p:nvSpPr>
        <p:spPr>
          <a:xfrm>
            <a:off x="6096001" y="3429000"/>
            <a:ext cx="6096000"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a:solidFill>
            <a:schemeClr val="bg1">
              <a:lumMod val="85000"/>
            </a:schemeClr>
          </a:solidFill>
          <a:ln>
            <a:noFill/>
          </a:ln>
        </p:spPr>
        <p:txBody>
          <a:bodyPr wrap="square" tIns="108000" anchor="t" anchorCtr="0">
            <a:noAutofit/>
          </a:bodyPr>
          <a:lstStyle>
            <a:lvl1pPr marL="0" indent="0" algn="ctr">
              <a:buNone/>
              <a:defRPr sz="1000">
                <a:solidFill>
                  <a:schemeClr val="accent2"/>
                </a:solidFill>
                <a:latin typeface="+mn-lt"/>
              </a:defRPr>
            </a:lvl1pPr>
          </a:lstStyle>
          <a:p>
            <a:pPr lvl="0"/>
            <a:r>
              <a:rPr lang="en-US"/>
              <a:t>Drag picture file here or click icon to insert bottom image</a:t>
            </a:r>
          </a:p>
        </p:txBody>
      </p:sp>
      <p:sp>
        <p:nvSpPr>
          <p:cNvPr id="6" name="Picture Placeholder 15">
            <a:extLst>
              <a:ext uri="{FF2B5EF4-FFF2-40B4-BE49-F238E27FC236}">
                <a16:creationId xmlns:a16="http://schemas.microsoft.com/office/drawing/2014/main" id="{911CF731-2F05-DD7D-AA0C-2C0C2EA9256F}"/>
              </a:ext>
            </a:extLst>
          </p:cNvPr>
          <p:cNvSpPr>
            <a:spLocks noGrp="1"/>
          </p:cNvSpPr>
          <p:nvPr>
            <p:ph type="pic" sz="quarter" idx="20" hasCustomPrompt="1"/>
          </p:nvPr>
        </p:nvSpPr>
        <p:spPr>
          <a:xfrm>
            <a:off x="6096001" y="0"/>
            <a:ext cx="6096000" cy="3429000"/>
          </a:xfrm>
          <a:solidFill>
            <a:schemeClr val="bg1">
              <a:lumMod val="95000"/>
            </a:schemeClr>
          </a:solidFill>
          <a:ln>
            <a:noFill/>
          </a:ln>
        </p:spPr>
        <p:txBody>
          <a:bodyPr tIns="108000" anchor="t" anchorCtr="0"/>
          <a:lstStyle>
            <a:lvl1pPr marL="0" indent="0" algn="ctr">
              <a:buNone/>
              <a:defRPr sz="1000">
                <a:solidFill>
                  <a:schemeClr val="accent2"/>
                </a:solidFill>
                <a:latin typeface="+mn-lt"/>
              </a:defRPr>
            </a:lvl1pPr>
          </a:lstStyle>
          <a:p>
            <a:pPr lvl="0"/>
            <a:r>
              <a:rPr lang="en-US"/>
              <a:t>Drag picture file here or click icon to insert top image</a:t>
            </a:r>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5076000"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5076000"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5076000" cy="4321175"/>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58685933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xt &amp; 2x Dark Image stac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45FE163-4C99-A5A6-EBA5-2406214B10A1}"/>
              </a:ext>
            </a:extLst>
          </p:cNvPr>
          <p:cNvSpPr/>
          <p:nvPr userDrawn="1"/>
        </p:nvSpPr>
        <p:spPr>
          <a:xfrm>
            <a:off x="9912350" y="6129338"/>
            <a:ext cx="2279650" cy="7286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icture Placeholder 7">
            <a:extLst>
              <a:ext uri="{FF2B5EF4-FFF2-40B4-BE49-F238E27FC236}">
                <a16:creationId xmlns:a16="http://schemas.microsoft.com/office/drawing/2014/main" id="{9FEFCD9E-E41F-4430-9898-406F2EA0E269}"/>
              </a:ext>
            </a:extLst>
          </p:cNvPr>
          <p:cNvSpPr>
            <a:spLocks noGrp="1"/>
          </p:cNvSpPr>
          <p:nvPr>
            <p:ph type="pic" sz="quarter" idx="21" hasCustomPrompt="1"/>
          </p:nvPr>
        </p:nvSpPr>
        <p:spPr>
          <a:xfrm>
            <a:off x="6096001" y="3429000"/>
            <a:ext cx="6096000"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a:solidFill>
            <a:schemeClr val="tx1">
              <a:lumMod val="75000"/>
              <a:lumOff val="25000"/>
            </a:schemeClr>
          </a:solidFill>
          <a:ln>
            <a:noFill/>
          </a:ln>
        </p:spPr>
        <p:txBody>
          <a:bodyPr wrap="square" tIns="108000" anchor="t" anchorCtr="0">
            <a:noAutofit/>
          </a:bodyPr>
          <a:lstStyle>
            <a:lvl1pPr marL="0" indent="0" algn="ctr">
              <a:buNone/>
              <a:defRPr sz="1000">
                <a:solidFill>
                  <a:schemeClr val="accent1"/>
                </a:solidFill>
                <a:latin typeface="+mn-lt"/>
              </a:defRPr>
            </a:lvl1pPr>
          </a:lstStyle>
          <a:p>
            <a:pPr lvl="0"/>
            <a:r>
              <a:rPr lang="en-US"/>
              <a:t>Drag picture file here or click icon to insert bottom image</a:t>
            </a:r>
          </a:p>
        </p:txBody>
      </p:sp>
      <p:sp>
        <p:nvSpPr>
          <p:cNvPr id="6" name="Picture Placeholder 15">
            <a:extLst>
              <a:ext uri="{FF2B5EF4-FFF2-40B4-BE49-F238E27FC236}">
                <a16:creationId xmlns:a16="http://schemas.microsoft.com/office/drawing/2014/main" id="{911CF731-2F05-DD7D-AA0C-2C0C2EA9256F}"/>
              </a:ext>
            </a:extLst>
          </p:cNvPr>
          <p:cNvSpPr>
            <a:spLocks noGrp="1"/>
          </p:cNvSpPr>
          <p:nvPr>
            <p:ph type="pic" sz="quarter" idx="20" hasCustomPrompt="1"/>
          </p:nvPr>
        </p:nvSpPr>
        <p:spPr>
          <a:xfrm>
            <a:off x="6096001" y="0"/>
            <a:ext cx="6096000" cy="3429000"/>
          </a:xfrm>
          <a:solidFill>
            <a:schemeClr val="tx1">
              <a:lumMod val="65000"/>
              <a:lumOff val="35000"/>
            </a:schemeClr>
          </a:solidFill>
          <a:ln>
            <a:noFill/>
          </a:ln>
        </p:spPr>
        <p:txBody>
          <a:bodyPr tIns="108000" anchor="t" anchorCtr="0"/>
          <a:lstStyle>
            <a:lvl1pPr marL="0" indent="0" algn="ctr">
              <a:buNone/>
              <a:defRPr sz="1000">
                <a:solidFill>
                  <a:schemeClr val="accent1"/>
                </a:solidFill>
                <a:latin typeface="+mn-lt"/>
              </a:defRPr>
            </a:lvl1pPr>
          </a:lstStyle>
          <a:p>
            <a:pPr lvl="0"/>
            <a:r>
              <a:rPr lang="en-US"/>
              <a:t>Drag picture file here or click icon to insert top image</a:t>
            </a:r>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5076000"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5076000"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5076000" cy="4321175"/>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76509467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Horizontal Split - 3x Col / Light Ima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8B8D9C3-5BDF-8ABB-CC9B-760506715205}"/>
              </a:ext>
            </a:extLst>
          </p:cNvPr>
          <p:cNvSpPr/>
          <p:nvPr userDrawn="1"/>
        </p:nvSpPr>
        <p:spPr>
          <a:xfrm>
            <a:off x="991235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Picture Placeholder 11">
            <a:extLst>
              <a:ext uri="{FF2B5EF4-FFF2-40B4-BE49-F238E27FC236}">
                <a16:creationId xmlns:a16="http://schemas.microsoft.com/office/drawing/2014/main" id="{10C57F1D-C950-AFEA-188D-505320175FDB}"/>
              </a:ext>
            </a:extLst>
          </p:cNvPr>
          <p:cNvSpPr>
            <a:spLocks noGrp="1"/>
          </p:cNvSpPr>
          <p:nvPr>
            <p:ph type="pic" sz="quarter" idx="20" hasCustomPrompt="1"/>
          </p:nvPr>
        </p:nvSpPr>
        <p:spPr>
          <a:xfrm>
            <a:off x="0" y="3429000"/>
            <a:ext cx="12192000" cy="3429000"/>
          </a:xfrm>
          <a:custGeom>
            <a:avLst/>
            <a:gdLst>
              <a:gd name="connsiteX0" fmla="*/ 1592699 w 12192000"/>
              <a:gd name="connsiteY0" fmla="*/ 3063423 h 3429000"/>
              <a:gd name="connsiteX1" fmla="*/ 1592699 w 12192000"/>
              <a:gd name="connsiteY1" fmla="*/ 3072164 h 3429000"/>
              <a:gd name="connsiteX2" fmla="*/ 1592546 w 12192000"/>
              <a:gd name="connsiteY2" fmla="*/ 3075388 h 3429000"/>
              <a:gd name="connsiteX3" fmla="*/ 1568857 w 12192000"/>
              <a:gd name="connsiteY3" fmla="*/ 3093619 h 3429000"/>
              <a:gd name="connsiteX4" fmla="*/ 1551438 w 12192000"/>
              <a:gd name="connsiteY4" fmla="*/ 3079315 h 3429000"/>
              <a:gd name="connsiteX5" fmla="*/ 1568857 w 12192000"/>
              <a:gd name="connsiteY5" fmla="*/ 3066071 h 3429000"/>
              <a:gd name="connsiteX6" fmla="*/ 1581983 w 12192000"/>
              <a:gd name="connsiteY6" fmla="*/ 3066071 h 3429000"/>
              <a:gd name="connsiteX7" fmla="*/ 1592699 w 12192000"/>
              <a:gd name="connsiteY7" fmla="*/ 3063423 h 3429000"/>
              <a:gd name="connsiteX8" fmla="*/ 1172060 w 12192000"/>
              <a:gd name="connsiteY8" fmla="*/ 3063423 h 3429000"/>
              <a:gd name="connsiteX9" fmla="*/ 1172060 w 12192000"/>
              <a:gd name="connsiteY9" fmla="*/ 3072164 h 3429000"/>
              <a:gd name="connsiteX10" fmla="*/ 1171906 w 12192000"/>
              <a:gd name="connsiteY10" fmla="*/ 3075389 h 3429000"/>
              <a:gd name="connsiteX11" fmla="*/ 1148216 w 12192000"/>
              <a:gd name="connsiteY11" fmla="*/ 3093619 h 3429000"/>
              <a:gd name="connsiteX12" fmla="*/ 1130802 w 12192000"/>
              <a:gd name="connsiteY12" fmla="*/ 3079315 h 3429000"/>
              <a:gd name="connsiteX13" fmla="*/ 1148216 w 12192000"/>
              <a:gd name="connsiteY13" fmla="*/ 3066071 h 3429000"/>
              <a:gd name="connsiteX14" fmla="*/ 1161343 w 12192000"/>
              <a:gd name="connsiteY14" fmla="*/ 3066071 h 3429000"/>
              <a:gd name="connsiteX15" fmla="*/ 1172060 w 12192000"/>
              <a:gd name="connsiteY15" fmla="*/ 3063423 h 3429000"/>
              <a:gd name="connsiteX16" fmla="*/ 1796056 w 12192000"/>
              <a:gd name="connsiteY16" fmla="*/ 3019718 h 3429000"/>
              <a:gd name="connsiteX17" fmla="*/ 1823115 w 12192000"/>
              <a:gd name="connsiteY17" fmla="*/ 3041969 h 3429000"/>
              <a:gd name="connsiteX18" fmla="*/ 1768190 w 12192000"/>
              <a:gd name="connsiteY18" fmla="*/ 3041969 h 3429000"/>
              <a:gd name="connsiteX19" fmla="*/ 1796056 w 12192000"/>
              <a:gd name="connsiteY19" fmla="*/ 3019718 h 3429000"/>
              <a:gd name="connsiteX20" fmla="*/ 1385331 w 12192000"/>
              <a:gd name="connsiteY20" fmla="*/ 2994290 h 3429000"/>
              <a:gd name="connsiteX21" fmla="*/ 1427128 w 12192000"/>
              <a:gd name="connsiteY21" fmla="*/ 3115605 h 3429000"/>
              <a:gd name="connsiteX22" fmla="*/ 1470261 w 12192000"/>
              <a:gd name="connsiteY22" fmla="*/ 3115605 h 3429000"/>
              <a:gd name="connsiteX23" fmla="*/ 1513932 w 12192000"/>
              <a:gd name="connsiteY23" fmla="*/ 2994290 h 3429000"/>
              <a:gd name="connsiteX24" fmla="*/ 1477223 w 12192000"/>
              <a:gd name="connsiteY24" fmla="*/ 2994290 h 3429000"/>
              <a:gd name="connsiteX25" fmla="*/ 1449367 w 12192000"/>
              <a:gd name="connsiteY25" fmla="*/ 3078521 h 3429000"/>
              <a:gd name="connsiteX26" fmla="*/ 1423104 w 12192000"/>
              <a:gd name="connsiteY26" fmla="*/ 2994290 h 3429000"/>
              <a:gd name="connsiteX27" fmla="*/ 1319153 w 12192000"/>
              <a:gd name="connsiteY27" fmla="*/ 2994290 h 3429000"/>
              <a:gd name="connsiteX28" fmla="*/ 1319153 w 12192000"/>
              <a:gd name="connsiteY28" fmla="*/ 3023426 h 3429000"/>
              <a:gd name="connsiteX29" fmla="*/ 1336299 w 12192000"/>
              <a:gd name="connsiteY29" fmla="*/ 3023426 h 3429000"/>
              <a:gd name="connsiteX30" fmla="*/ 1336299 w 12192000"/>
              <a:gd name="connsiteY30" fmla="*/ 3115604 h 3429000"/>
              <a:gd name="connsiteX31" fmla="*/ 1371127 w 12192000"/>
              <a:gd name="connsiteY31" fmla="*/ 3115604 h 3429000"/>
              <a:gd name="connsiteX32" fmla="*/ 1371127 w 12192000"/>
              <a:gd name="connsiteY32" fmla="*/ 2994290 h 3429000"/>
              <a:gd name="connsiteX33" fmla="*/ 1293161 w 12192000"/>
              <a:gd name="connsiteY33" fmla="*/ 2992700 h 3429000"/>
              <a:gd name="connsiteX34" fmla="*/ 1261280 w 12192000"/>
              <a:gd name="connsiteY34" fmla="*/ 3013626 h 3429000"/>
              <a:gd name="connsiteX35" fmla="*/ 1261280 w 12192000"/>
              <a:gd name="connsiteY35" fmla="*/ 2994290 h 3429000"/>
              <a:gd name="connsiteX36" fmla="*/ 1227522 w 12192000"/>
              <a:gd name="connsiteY36" fmla="*/ 2994290 h 3429000"/>
              <a:gd name="connsiteX37" fmla="*/ 1227522 w 12192000"/>
              <a:gd name="connsiteY37" fmla="*/ 3115604 h 3429000"/>
              <a:gd name="connsiteX38" fmla="*/ 1262352 w 12192000"/>
              <a:gd name="connsiteY38" fmla="*/ 3115604 h 3429000"/>
              <a:gd name="connsiteX39" fmla="*/ 1262352 w 12192000"/>
              <a:gd name="connsiteY39" fmla="*/ 3057596 h 3429000"/>
              <a:gd name="connsiteX40" fmla="*/ 1288073 w 12192000"/>
              <a:gd name="connsiteY40" fmla="*/ 3028194 h 3429000"/>
              <a:gd name="connsiteX41" fmla="*/ 1302808 w 12192000"/>
              <a:gd name="connsiteY41" fmla="*/ 3028194 h 3429000"/>
              <a:gd name="connsiteX42" fmla="*/ 1302808 w 12192000"/>
              <a:gd name="connsiteY42" fmla="*/ 2993760 h 3429000"/>
              <a:gd name="connsiteX43" fmla="*/ 1293161 w 12192000"/>
              <a:gd name="connsiteY43" fmla="*/ 2992700 h 3429000"/>
              <a:gd name="connsiteX44" fmla="*/ 1796056 w 12192000"/>
              <a:gd name="connsiteY44" fmla="*/ 2991112 h 3429000"/>
              <a:gd name="connsiteX45" fmla="*/ 1791956 w 12192000"/>
              <a:gd name="connsiteY45" fmla="*/ 2991138 h 3429000"/>
              <a:gd name="connsiteX46" fmla="*/ 1732297 w 12192000"/>
              <a:gd name="connsiteY46" fmla="*/ 3054948 h 3429000"/>
              <a:gd name="connsiteX47" fmla="*/ 1770879 w 12192000"/>
              <a:gd name="connsiteY47" fmla="*/ 3112990 h 3429000"/>
              <a:gd name="connsiteX48" fmla="*/ 1857943 w 12192000"/>
              <a:gd name="connsiteY48" fmla="*/ 3080641 h 3429000"/>
              <a:gd name="connsiteX49" fmla="*/ 1821781 w 12192000"/>
              <a:gd name="connsiteY49" fmla="*/ 3076933 h 3429000"/>
              <a:gd name="connsiteX50" fmla="*/ 1802269 w 12192000"/>
              <a:gd name="connsiteY50" fmla="*/ 3089046 h 3429000"/>
              <a:gd name="connsiteX51" fmla="*/ 1768997 w 12192000"/>
              <a:gd name="connsiteY51" fmla="*/ 3065013 h 3429000"/>
              <a:gd name="connsiteX52" fmla="*/ 1860353 w 12192000"/>
              <a:gd name="connsiteY52" fmla="*/ 3065013 h 3429000"/>
              <a:gd name="connsiteX53" fmla="*/ 1860353 w 12192000"/>
              <a:gd name="connsiteY53" fmla="*/ 3063689 h 3429000"/>
              <a:gd name="connsiteX54" fmla="*/ 1796056 w 12192000"/>
              <a:gd name="connsiteY54" fmla="*/ 2991112 h 3429000"/>
              <a:gd name="connsiteX55" fmla="*/ 1574215 w 12192000"/>
              <a:gd name="connsiteY55" fmla="*/ 2991111 h 3429000"/>
              <a:gd name="connsiteX56" fmla="*/ 1521700 w 12192000"/>
              <a:gd name="connsiteY56" fmla="*/ 3005944 h 3429000"/>
              <a:gd name="connsiteX57" fmla="*/ 1535364 w 12192000"/>
              <a:gd name="connsiteY57" fmla="*/ 3031902 h 3429000"/>
              <a:gd name="connsiteX58" fmla="*/ 1572342 w 12192000"/>
              <a:gd name="connsiteY58" fmla="*/ 3020512 h 3429000"/>
              <a:gd name="connsiteX59" fmla="*/ 1592699 w 12192000"/>
              <a:gd name="connsiteY59" fmla="*/ 3034816 h 3429000"/>
              <a:gd name="connsiteX60" fmla="*/ 1592699 w 12192000"/>
              <a:gd name="connsiteY60" fmla="*/ 3036140 h 3429000"/>
              <a:gd name="connsiteX61" fmla="*/ 1584124 w 12192000"/>
              <a:gd name="connsiteY61" fmla="*/ 3043292 h 3429000"/>
              <a:gd name="connsiteX62" fmla="*/ 1560013 w 12192000"/>
              <a:gd name="connsiteY62" fmla="*/ 3043292 h 3429000"/>
              <a:gd name="connsiteX63" fmla="*/ 1515545 w 12192000"/>
              <a:gd name="connsiteY63" fmla="*/ 3080640 h 3429000"/>
              <a:gd name="connsiteX64" fmla="*/ 1515603 w 12192000"/>
              <a:gd name="connsiteY64" fmla="*/ 3081750 h 3429000"/>
              <a:gd name="connsiteX65" fmla="*/ 1558409 w 12192000"/>
              <a:gd name="connsiteY65" fmla="*/ 3118782 h 3429000"/>
              <a:gd name="connsiteX66" fmla="*/ 1592699 w 12192000"/>
              <a:gd name="connsiteY66" fmla="*/ 3104214 h 3429000"/>
              <a:gd name="connsiteX67" fmla="*/ 1592699 w 12192000"/>
              <a:gd name="connsiteY67" fmla="*/ 3115604 h 3429000"/>
              <a:gd name="connsiteX68" fmla="*/ 1627527 w 12192000"/>
              <a:gd name="connsiteY68" fmla="*/ 3115604 h 3429000"/>
              <a:gd name="connsiteX69" fmla="*/ 1627527 w 12192000"/>
              <a:gd name="connsiteY69" fmla="*/ 3035875 h 3429000"/>
              <a:gd name="connsiteX70" fmla="*/ 1574215 w 12192000"/>
              <a:gd name="connsiteY70" fmla="*/ 2991111 h 3429000"/>
              <a:gd name="connsiteX71" fmla="*/ 1153574 w 12192000"/>
              <a:gd name="connsiteY71" fmla="*/ 2991111 h 3429000"/>
              <a:gd name="connsiteX72" fmla="*/ 1101062 w 12192000"/>
              <a:gd name="connsiteY72" fmla="*/ 3005944 h 3429000"/>
              <a:gd name="connsiteX73" fmla="*/ 1114726 w 12192000"/>
              <a:gd name="connsiteY73" fmla="*/ 3031902 h 3429000"/>
              <a:gd name="connsiteX74" fmla="*/ 1151699 w 12192000"/>
              <a:gd name="connsiteY74" fmla="*/ 3020512 h 3429000"/>
              <a:gd name="connsiteX75" fmla="*/ 1172060 w 12192000"/>
              <a:gd name="connsiteY75" fmla="*/ 3034816 h 3429000"/>
              <a:gd name="connsiteX76" fmla="*/ 1172060 w 12192000"/>
              <a:gd name="connsiteY76" fmla="*/ 3036140 h 3429000"/>
              <a:gd name="connsiteX77" fmla="*/ 1163487 w 12192000"/>
              <a:gd name="connsiteY77" fmla="*/ 3043292 h 3429000"/>
              <a:gd name="connsiteX78" fmla="*/ 1139375 w 12192000"/>
              <a:gd name="connsiteY78" fmla="*/ 3043292 h 3429000"/>
              <a:gd name="connsiteX79" fmla="*/ 1094901 w 12192000"/>
              <a:gd name="connsiteY79" fmla="*/ 3080640 h 3429000"/>
              <a:gd name="connsiteX80" fmla="*/ 1094960 w 12192000"/>
              <a:gd name="connsiteY80" fmla="*/ 3081749 h 3429000"/>
              <a:gd name="connsiteX81" fmla="*/ 1137766 w 12192000"/>
              <a:gd name="connsiteY81" fmla="*/ 3118782 h 3429000"/>
              <a:gd name="connsiteX82" fmla="*/ 1172060 w 12192000"/>
              <a:gd name="connsiteY82" fmla="*/ 3104214 h 3429000"/>
              <a:gd name="connsiteX83" fmla="*/ 1172060 w 12192000"/>
              <a:gd name="connsiteY83" fmla="*/ 3115604 h 3429000"/>
              <a:gd name="connsiteX84" fmla="*/ 1206890 w 12192000"/>
              <a:gd name="connsiteY84" fmla="*/ 3115604 h 3429000"/>
              <a:gd name="connsiteX85" fmla="*/ 1206890 w 12192000"/>
              <a:gd name="connsiteY85" fmla="*/ 3035875 h 3429000"/>
              <a:gd name="connsiteX86" fmla="*/ 1153574 w 12192000"/>
              <a:gd name="connsiteY86" fmla="*/ 2991111 h 3429000"/>
              <a:gd name="connsiteX87" fmla="*/ 568575 w 12192000"/>
              <a:gd name="connsiteY87" fmla="*/ 2954429 h 3429000"/>
              <a:gd name="connsiteX88" fmla="*/ 568549 w 12192000"/>
              <a:gd name="connsiteY88" fmla="*/ 3091396 h 3429000"/>
              <a:gd name="connsiteX89" fmla="*/ 624511 w 12192000"/>
              <a:gd name="connsiteY89" fmla="*/ 3090097 h 3429000"/>
              <a:gd name="connsiteX90" fmla="*/ 618898 w 12192000"/>
              <a:gd name="connsiteY90" fmla="*/ 2973004 h 3429000"/>
              <a:gd name="connsiteX91" fmla="*/ 624479 w 12192000"/>
              <a:gd name="connsiteY91" fmla="*/ 2955725 h 3429000"/>
              <a:gd name="connsiteX92" fmla="*/ 568575 w 12192000"/>
              <a:gd name="connsiteY92" fmla="*/ 2954429 h 3429000"/>
              <a:gd name="connsiteX93" fmla="*/ 1659953 w 12192000"/>
              <a:gd name="connsiteY93" fmla="*/ 2948201 h 3429000"/>
              <a:gd name="connsiteX94" fmla="*/ 1659953 w 12192000"/>
              <a:gd name="connsiteY94" fmla="*/ 2994290 h 3429000"/>
              <a:gd name="connsiteX95" fmla="*/ 1640662 w 12192000"/>
              <a:gd name="connsiteY95" fmla="*/ 2994290 h 3429000"/>
              <a:gd name="connsiteX96" fmla="*/ 1640662 w 12192000"/>
              <a:gd name="connsiteY96" fmla="*/ 3023426 h 3429000"/>
              <a:gd name="connsiteX97" fmla="*/ 1659953 w 12192000"/>
              <a:gd name="connsiteY97" fmla="*/ 3023426 h 3429000"/>
              <a:gd name="connsiteX98" fmla="*/ 1659953 w 12192000"/>
              <a:gd name="connsiteY98" fmla="*/ 3089911 h 3429000"/>
              <a:gd name="connsiteX99" fmla="*/ 1695318 w 12192000"/>
              <a:gd name="connsiteY99" fmla="*/ 3117194 h 3429000"/>
              <a:gd name="connsiteX100" fmla="*/ 1722377 w 12192000"/>
              <a:gd name="connsiteY100" fmla="*/ 3115604 h 3429000"/>
              <a:gd name="connsiteX101" fmla="*/ 1722377 w 12192000"/>
              <a:gd name="connsiteY101" fmla="*/ 3086203 h 3429000"/>
              <a:gd name="connsiteX102" fmla="*/ 1706303 w 12192000"/>
              <a:gd name="connsiteY102" fmla="*/ 3086998 h 3429000"/>
              <a:gd name="connsiteX103" fmla="*/ 1694780 w 12192000"/>
              <a:gd name="connsiteY103" fmla="*/ 3078256 h 3429000"/>
              <a:gd name="connsiteX104" fmla="*/ 1694780 w 12192000"/>
              <a:gd name="connsiteY104" fmla="*/ 3023426 h 3429000"/>
              <a:gd name="connsiteX105" fmla="*/ 1721302 w 12192000"/>
              <a:gd name="connsiteY105" fmla="*/ 3023426 h 3429000"/>
              <a:gd name="connsiteX106" fmla="*/ 1721302 w 12192000"/>
              <a:gd name="connsiteY106" fmla="*/ 2994290 h 3429000"/>
              <a:gd name="connsiteX107" fmla="*/ 1694780 w 12192000"/>
              <a:gd name="connsiteY107" fmla="*/ 2994290 h 3429000"/>
              <a:gd name="connsiteX108" fmla="*/ 1694780 w 12192000"/>
              <a:gd name="connsiteY108" fmla="*/ 2948201 h 3429000"/>
              <a:gd name="connsiteX109" fmla="*/ 1884617 w 12192000"/>
              <a:gd name="connsiteY109" fmla="*/ 2930355 h 3429000"/>
              <a:gd name="connsiteX110" fmla="*/ 1884617 w 12192000"/>
              <a:gd name="connsiteY110" fmla="*/ 2963335 h 3429000"/>
              <a:gd name="connsiteX111" fmla="*/ 1893998 w 12192000"/>
              <a:gd name="connsiteY111" fmla="*/ 2963335 h 3429000"/>
              <a:gd name="connsiteX112" fmla="*/ 1893998 w 12192000"/>
              <a:gd name="connsiteY112" fmla="*/ 2944492 h 3429000"/>
              <a:gd name="connsiteX113" fmla="*/ 1898291 w 12192000"/>
              <a:gd name="connsiteY113" fmla="*/ 2956270 h 3429000"/>
              <a:gd name="connsiteX114" fmla="*/ 1905819 w 12192000"/>
              <a:gd name="connsiteY114" fmla="*/ 2956270 h 3429000"/>
              <a:gd name="connsiteX115" fmla="*/ 1910111 w 12192000"/>
              <a:gd name="connsiteY115" fmla="*/ 2944492 h 3429000"/>
              <a:gd name="connsiteX116" fmla="*/ 1910111 w 12192000"/>
              <a:gd name="connsiteY116" fmla="*/ 2963335 h 3429000"/>
              <a:gd name="connsiteX117" fmla="*/ 1919685 w 12192000"/>
              <a:gd name="connsiteY117" fmla="*/ 2963335 h 3429000"/>
              <a:gd name="connsiteX118" fmla="*/ 1919685 w 12192000"/>
              <a:gd name="connsiteY118" fmla="*/ 2930355 h 3429000"/>
              <a:gd name="connsiteX119" fmla="*/ 1907566 w 12192000"/>
              <a:gd name="connsiteY119" fmla="*/ 2930355 h 3429000"/>
              <a:gd name="connsiteX120" fmla="*/ 1902362 w 12192000"/>
              <a:gd name="connsiteY120" fmla="*/ 2944114 h 3429000"/>
              <a:gd name="connsiteX121" fmla="*/ 1897494 w 12192000"/>
              <a:gd name="connsiteY121" fmla="*/ 2930355 h 3429000"/>
              <a:gd name="connsiteX122" fmla="*/ 1850683 w 12192000"/>
              <a:gd name="connsiteY122" fmla="*/ 2930355 h 3429000"/>
              <a:gd name="connsiteX123" fmla="*/ 1850683 w 12192000"/>
              <a:gd name="connsiteY123" fmla="*/ 2938929 h 3429000"/>
              <a:gd name="connsiteX124" fmla="*/ 1860074 w 12192000"/>
              <a:gd name="connsiteY124" fmla="*/ 2938929 h 3429000"/>
              <a:gd name="connsiteX125" fmla="*/ 1860074 w 12192000"/>
              <a:gd name="connsiteY125" fmla="*/ 2963335 h 3429000"/>
              <a:gd name="connsiteX126" fmla="*/ 1869839 w 12192000"/>
              <a:gd name="connsiteY126" fmla="*/ 2963335 h 3429000"/>
              <a:gd name="connsiteX127" fmla="*/ 1869839 w 12192000"/>
              <a:gd name="connsiteY127" fmla="*/ 2938929 h 3429000"/>
              <a:gd name="connsiteX128" fmla="*/ 1879230 w 12192000"/>
              <a:gd name="connsiteY128" fmla="*/ 2938929 h 3429000"/>
              <a:gd name="connsiteX129" fmla="*/ 1879230 w 12192000"/>
              <a:gd name="connsiteY129" fmla="*/ 2930355 h 3429000"/>
              <a:gd name="connsiteX130" fmla="*/ 1352105 w 12192000"/>
              <a:gd name="connsiteY130" fmla="*/ 2930189 h 3429000"/>
              <a:gd name="connsiteX131" fmla="*/ 1329868 w 12192000"/>
              <a:gd name="connsiteY131" fmla="*/ 2952439 h 3429000"/>
              <a:gd name="connsiteX132" fmla="*/ 1352108 w 12192000"/>
              <a:gd name="connsiteY132" fmla="*/ 2974427 h 3429000"/>
              <a:gd name="connsiteX133" fmla="*/ 1374610 w 12192000"/>
              <a:gd name="connsiteY133" fmla="*/ 2952439 h 3429000"/>
              <a:gd name="connsiteX134" fmla="*/ 1374610 w 12192000"/>
              <a:gd name="connsiteY134" fmla="*/ 2952364 h 3429000"/>
              <a:gd name="connsiteX135" fmla="*/ 1352105 w 12192000"/>
              <a:gd name="connsiteY135" fmla="*/ 2930189 h 3429000"/>
              <a:gd name="connsiteX136" fmla="*/ 1041583 w 12192000"/>
              <a:gd name="connsiteY136" fmla="*/ 2930189 h 3429000"/>
              <a:gd name="connsiteX137" fmla="*/ 1041583 w 12192000"/>
              <a:gd name="connsiteY137" fmla="*/ 3115604 h 3429000"/>
              <a:gd name="connsiteX138" fmla="*/ 1076143 w 12192000"/>
              <a:gd name="connsiteY138" fmla="*/ 3115604 h 3429000"/>
              <a:gd name="connsiteX139" fmla="*/ 1076143 w 12192000"/>
              <a:gd name="connsiteY139" fmla="*/ 2930189 h 3429000"/>
              <a:gd name="connsiteX140" fmla="*/ 925239 w 12192000"/>
              <a:gd name="connsiteY140" fmla="*/ 2926990 h 3429000"/>
              <a:gd name="connsiteX141" fmla="*/ 832602 w 12192000"/>
              <a:gd name="connsiteY141" fmla="*/ 3022897 h 3429000"/>
              <a:gd name="connsiteX142" fmla="*/ 832623 w 12192000"/>
              <a:gd name="connsiteY142" fmla="*/ 3027990 h 3429000"/>
              <a:gd name="connsiteX143" fmla="*/ 930389 w 12192000"/>
              <a:gd name="connsiteY143" fmla="*/ 3118783 h 3429000"/>
              <a:gd name="connsiteX144" fmla="*/ 1022285 w 12192000"/>
              <a:gd name="connsiteY144" fmla="*/ 3049650 h 3429000"/>
              <a:gd name="connsiteX145" fmla="*/ 981294 w 12192000"/>
              <a:gd name="connsiteY145" fmla="*/ 3049650 h 3429000"/>
              <a:gd name="connsiteX146" fmla="*/ 930389 w 12192000"/>
              <a:gd name="connsiteY146" fmla="*/ 3084878 h 3429000"/>
              <a:gd name="connsiteX147" fmla="*/ 871450 w 12192000"/>
              <a:gd name="connsiteY147" fmla="*/ 3022897 h 3429000"/>
              <a:gd name="connsiteX148" fmla="*/ 930389 w 12192000"/>
              <a:gd name="connsiteY148" fmla="*/ 2960916 h 3429000"/>
              <a:gd name="connsiteX149" fmla="*/ 981294 w 12192000"/>
              <a:gd name="connsiteY149" fmla="*/ 2996144 h 3429000"/>
              <a:gd name="connsiteX150" fmla="*/ 1022285 w 12192000"/>
              <a:gd name="connsiteY150" fmla="*/ 2996144 h 3429000"/>
              <a:gd name="connsiteX151" fmla="*/ 930389 w 12192000"/>
              <a:gd name="connsiteY151" fmla="*/ 2927011 h 3429000"/>
              <a:gd name="connsiteX152" fmla="*/ 925239 w 12192000"/>
              <a:gd name="connsiteY152" fmla="*/ 2926990 h 3429000"/>
              <a:gd name="connsiteX153" fmla="*/ 651232 w 12192000"/>
              <a:gd name="connsiteY153" fmla="*/ 2907161 h 3429000"/>
              <a:gd name="connsiteX154" fmla="*/ 624479 w 12192000"/>
              <a:gd name="connsiteY154" fmla="*/ 2955726 h 3429000"/>
              <a:gd name="connsiteX155" fmla="*/ 742033 w 12192000"/>
              <a:gd name="connsiteY155" fmla="*/ 3022914 h 3429000"/>
              <a:gd name="connsiteX156" fmla="*/ 624512 w 12192000"/>
              <a:gd name="connsiteY156" fmla="*/ 3090097 h 3429000"/>
              <a:gd name="connsiteX157" fmla="*/ 651373 w 12192000"/>
              <a:gd name="connsiteY157" fmla="*/ 3138631 h 3429000"/>
              <a:gd name="connsiteX158" fmla="*/ 771228 w 12192000"/>
              <a:gd name="connsiteY158" fmla="*/ 3070136 h 3429000"/>
              <a:gd name="connsiteX159" fmla="*/ 742033 w 12192000"/>
              <a:gd name="connsiteY159" fmla="*/ 3022914 h 3429000"/>
              <a:gd name="connsiteX160" fmla="*/ 771227 w 12192000"/>
              <a:gd name="connsiteY160" fmla="*/ 2975692 h 3429000"/>
              <a:gd name="connsiteX161" fmla="*/ 651232 w 12192000"/>
              <a:gd name="connsiteY161" fmla="*/ 2907161 h 3429000"/>
              <a:gd name="connsiteX162" fmla="*/ 0 w 12192000"/>
              <a:gd name="connsiteY162" fmla="*/ 0 h 3429000"/>
              <a:gd name="connsiteX163" fmla="*/ 12192000 w 12192000"/>
              <a:gd name="connsiteY163" fmla="*/ 0 h 3429000"/>
              <a:gd name="connsiteX164" fmla="*/ 12192000 w 12192000"/>
              <a:gd name="connsiteY164" fmla="*/ 3429000 h 3429000"/>
              <a:gd name="connsiteX165" fmla="*/ 8040688 w 12192000"/>
              <a:gd name="connsiteY165" fmla="*/ 3429000 h 3429000"/>
              <a:gd name="connsiteX166" fmla="*/ 7499776 w 12192000"/>
              <a:gd name="connsiteY166" fmla="*/ 3429000 h 3429000"/>
              <a:gd name="connsiteX167" fmla="*/ 0 w 12192000"/>
              <a:gd name="connsiteY167" fmla="*/ 3429000 h 34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12192000" h="3429000">
                <a:moveTo>
                  <a:pt x="1592699" y="3063423"/>
                </a:moveTo>
                <a:lnTo>
                  <a:pt x="1592699" y="3072164"/>
                </a:lnTo>
                <a:cubicBezTo>
                  <a:pt x="1592738" y="3073241"/>
                  <a:pt x="1592680" y="3074319"/>
                  <a:pt x="1592546" y="3075388"/>
                </a:cubicBezTo>
                <a:cubicBezTo>
                  <a:pt x="1591096" y="3086890"/>
                  <a:pt x="1580495" y="3095053"/>
                  <a:pt x="1568857" y="3093619"/>
                </a:cubicBezTo>
                <a:cubicBezTo>
                  <a:pt x="1558141" y="3093619"/>
                  <a:pt x="1551438" y="3087526"/>
                  <a:pt x="1551438" y="3079315"/>
                </a:cubicBezTo>
                <a:cubicBezTo>
                  <a:pt x="1551438" y="3070839"/>
                  <a:pt x="1557872" y="3066071"/>
                  <a:pt x="1568857" y="3066071"/>
                </a:cubicBezTo>
                <a:lnTo>
                  <a:pt x="1581983" y="3066071"/>
                </a:lnTo>
                <a:cubicBezTo>
                  <a:pt x="1585766" y="3066554"/>
                  <a:pt x="1589598" y="3065609"/>
                  <a:pt x="1592699" y="3063423"/>
                </a:cubicBezTo>
                <a:close/>
                <a:moveTo>
                  <a:pt x="1172060" y="3063423"/>
                </a:moveTo>
                <a:lnTo>
                  <a:pt x="1172060" y="3072164"/>
                </a:lnTo>
                <a:cubicBezTo>
                  <a:pt x="1172093" y="3073242"/>
                  <a:pt x="1172042" y="3074320"/>
                  <a:pt x="1171906" y="3075389"/>
                </a:cubicBezTo>
                <a:cubicBezTo>
                  <a:pt x="1170456" y="3086891"/>
                  <a:pt x="1159850" y="3095053"/>
                  <a:pt x="1148216" y="3093619"/>
                </a:cubicBezTo>
                <a:cubicBezTo>
                  <a:pt x="1137499" y="3093619"/>
                  <a:pt x="1130802" y="3087526"/>
                  <a:pt x="1130802" y="3079315"/>
                </a:cubicBezTo>
                <a:cubicBezTo>
                  <a:pt x="1130802" y="3070839"/>
                  <a:pt x="1137232" y="3066071"/>
                  <a:pt x="1148216" y="3066071"/>
                </a:cubicBezTo>
                <a:lnTo>
                  <a:pt x="1161343" y="3066071"/>
                </a:lnTo>
                <a:cubicBezTo>
                  <a:pt x="1165125" y="3066554"/>
                  <a:pt x="1168953" y="3065609"/>
                  <a:pt x="1172060" y="3063423"/>
                </a:cubicBezTo>
                <a:close/>
                <a:moveTo>
                  <a:pt x="1796056" y="3019718"/>
                </a:moveTo>
                <a:cubicBezTo>
                  <a:pt x="1809461" y="3019340"/>
                  <a:pt x="1821051" y="3028873"/>
                  <a:pt x="1823115" y="3041969"/>
                </a:cubicBezTo>
                <a:lnTo>
                  <a:pt x="1768190" y="3041969"/>
                </a:lnTo>
                <a:cubicBezTo>
                  <a:pt x="1770601" y="3028738"/>
                  <a:pt x="1782469" y="3019261"/>
                  <a:pt x="1796056" y="3019718"/>
                </a:cubicBezTo>
                <a:close/>
                <a:moveTo>
                  <a:pt x="1385331" y="2994290"/>
                </a:moveTo>
                <a:lnTo>
                  <a:pt x="1427128" y="3115605"/>
                </a:lnTo>
                <a:lnTo>
                  <a:pt x="1470261" y="3115605"/>
                </a:lnTo>
                <a:lnTo>
                  <a:pt x="1513932" y="2994290"/>
                </a:lnTo>
                <a:lnTo>
                  <a:pt x="1477223" y="2994290"/>
                </a:lnTo>
                <a:lnTo>
                  <a:pt x="1449367" y="3078521"/>
                </a:lnTo>
                <a:lnTo>
                  <a:pt x="1423104" y="2994290"/>
                </a:lnTo>
                <a:close/>
                <a:moveTo>
                  <a:pt x="1319153" y="2994290"/>
                </a:moveTo>
                <a:lnTo>
                  <a:pt x="1319153" y="3023426"/>
                </a:lnTo>
                <a:lnTo>
                  <a:pt x="1336299" y="3023426"/>
                </a:lnTo>
                <a:lnTo>
                  <a:pt x="1336299" y="3115604"/>
                </a:lnTo>
                <a:lnTo>
                  <a:pt x="1371127" y="3115604"/>
                </a:lnTo>
                <a:lnTo>
                  <a:pt x="1371127" y="2994290"/>
                </a:lnTo>
                <a:close/>
                <a:moveTo>
                  <a:pt x="1293161" y="2992700"/>
                </a:moveTo>
                <a:cubicBezTo>
                  <a:pt x="1279051" y="2992037"/>
                  <a:pt x="1266138" y="3000512"/>
                  <a:pt x="1261280" y="3013626"/>
                </a:cubicBezTo>
                <a:lnTo>
                  <a:pt x="1261280" y="2994290"/>
                </a:lnTo>
                <a:lnTo>
                  <a:pt x="1227522" y="2994290"/>
                </a:lnTo>
                <a:lnTo>
                  <a:pt x="1227522" y="3115604"/>
                </a:lnTo>
                <a:lnTo>
                  <a:pt x="1262352" y="3115604"/>
                </a:lnTo>
                <a:lnTo>
                  <a:pt x="1262352" y="3057596"/>
                </a:lnTo>
                <a:cubicBezTo>
                  <a:pt x="1262352" y="3036405"/>
                  <a:pt x="1270389" y="3028194"/>
                  <a:pt x="1288073" y="3028194"/>
                </a:cubicBezTo>
                <a:lnTo>
                  <a:pt x="1302808" y="3028194"/>
                </a:lnTo>
                <a:lnTo>
                  <a:pt x="1302808" y="2993760"/>
                </a:lnTo>
                <a:cubicBezTo>
                  <a:pt x="1299648" y="2993016"/>
                  <a:pt x="1296409" y="2992660"/>
                  <a:pt x="1293161" y="2992700"/>
                </a:cubicBezTo>
                <a:close/>
                <a:moveTo>
                  <a:pt x="1796056" y="2991112"/>
                </a:moveTo>
                <a:cubicBezTo>
                  <a:pt x="1794693" y="2991076"/>
                  <a:pt x="1793320" y="2991084"/>
                  <a:pt x="1791956" y="2991138"/>
                </a:cubicBezTo>
                <a:cubicBezTo>
                  <a:pt x="1757657" y="2992470"/>
                  <a:pt x="1730943" y="3021039"/>
                  <a:pt x="1732297" y="3054948"/>
                </a:cubicBezTo>
                <a:cubicBezTo>
                  <a:pt x="1732749" y="3080035"/>
                  <a:pt x="1747766" y="3102624"/>
                  <a:pt x="1770879" y="3112990"/>
                </a:cubicBezTo>
                <a:cubicBezTo>
                  <a:pt x="1803959" y="3127828"/>
                  <a:pt x="1842934" y="3113344"/>
                  <a:pt x="1857943" y="3080641"/>
                </a:cubicBezTo>
                <a:lnTo>
                  <a:pt x="1821781" y="3076933"/>
                </a:lnTo>
                <a:cubicBezTo>
                  <a:pt x="1817229" y="3083448"/>
                  <a:pt x="1810181" y="3087829"/>
                  <a:pt x="1802269" y="3089046"/>
                </a:cubicBezTo>
                <a:cubicBezTo>
                  <a:pt x="1786368" y="3091493"/>
                  <a:pt x="1771474" y="3080733"/>
                  <a:pt x="1768997" y="3065013"/>
                </a:cubicBezTo>
                <a:lnTo>
                  <a:pt x="1860353" y="3065013"/>
                </a:lnTo>
                <a:lnTo>
                  <a:pt x="1860353" y="3063689"/>
                </a:lnTo>
                <a:cubicBezTo>
                  <a:pt x="1860353" y="3012832"/>
                  <a:pt x="1829808" y="2991112"/>
                  <a:pt x="1796056" y="2991112"/>
                </a:cubicBezTo>
                <a:close/>
                <a:moveTo>
                  <a:pt x="1574215" y="2991111"/>
                </a:moveTo>
                <a:cubicBezTo>
                  <a:pt x="1555692" y="2991390"/>
                  <a:pt x="1537573" y="2996507"/>
                  <a:pt x="1521700" y="3005944"/>
                </a:cubicBezTo>
                <a:lnTo>
                  <a:pt x="1535364" y="3031902"/>
                </a:lnTo>
                <a:cubicBezTo>
                  <a:pt x="1546618" y="3025290"/>
                  <a:pt x="1559283" y="3021388"/>
                  <a:pt x="1572342" y="3020512"/>
                </a:cubicBezTo>
                <a:cubicBezTo>
                  <a:pt x="1585738" y="3020512"/>
                  <a:pt x="1592699" y="3026075"/>
                  <a:pt x="1592699" y="3034816"/>
                </a:cubicBezTo>
                <a:lnTo>
                  <a:pt x="1592699" y="3036140"/>
                </a:lnTo>
                <a:cubicBezTo>
                  <a:pt x="1592699" y="3040643"/>
                  <a:pt x="1590020" y="3043292"/>
                  <a:pt x="1584124" y="3043292"/>
                </a:cubicBezTo>
                <a:lnTo>
                  <a:pt x="1560013" y="3043292"/>
                </a:lnTo>
                <a:cubicBezTo>
                  <a:pt x="1532685" y="3043292"/>
                  <a:pt x="1515545" y="3057595"/>
                  <a:pt x="1515545" y="3080640"/>
                </a:cubicBezTo>
                <a:cubicBezTo>
                  <a:pt x="1515555" y="3081010"/>
                  <a:pt x="1515574" y="3081380"/>
                  <a:pt x="1515603" y="3081750"/>
                </a:cubicBezTo>
                <a:cubicBezTo>
                  <a:pt x="1517081" y="3103663"/>
                  <a:pt x="1536247" y="3120244"/>
                  <a:pt x="1558409" y="3118782"/>
                </a:cubicBezTo>
                <a:cubicBezTo>
                  <a:pt x="1571536" y="3119591"/>
                  <a:pt x="1584259" y="3114183"/>
                  <a:pt x="1592699" y="3104214"/>
                </a:cubicBezTo>
                <a:lnTo>
                  <a:pt x="1592699" y="3115604"/>
                </a:lnTo>
                <a:lnTo>
                  <a:pt x="1627527" y="3115604"/>
                </a:lnTo>
                <a:lnTo>
                  <a:pt x="1627527" y="3035875"/>
                </a:lnTo>
                <a:cubicBezTo>
                  <a:pt x="1627527" y="3003825"/>
                  <a:pt x="1602081" y="2991111"/>
                  <a:pt x="1574215" y="2991111"/>
                </a:cubicBezTo>
                <a:close/>
                <a:moveTo>
                  <a:pt x="1153574" y="2991111"/>
                </a:moveTo>
                <a:cubicBezTo>
                  <a:pt x="1135053" y="2991390"/>
                  <a:pt x="1116936" y="2996508"/>
                  <a:pt x="1101062" y="3005944"/>
                </a:cubicBezTo>
                <a:lnTo>
                  <a:pt x="1114726" y="3031902"/>
                </a:lnTo>
                <a:cubicBezTo>
                  <a:pt x="1125976" y="3025290"/>
                  <a:pt x="1138641" y="3021388"/>
                  <a:pt x="1151699" y="3020512"/>
                </a:cubicBezTo>
                <a:cubicBezTo>
                  <a:pt x="1165095" y="3020512"/>
                  <a:pt x="1172060" y="3026075"/>
                  <a:pt x="1172060" y="3034816"/>
                </a:cubicBezTo>
                <a:lnTo>
                  <a:pt x="1172060" y="3036140"/>
                </a:lnTo>
                <a:cubicBezTo>
                  <a:pt x="1172060" y="3040643"/>
                  <a:pt x="1169381" y="3043292"/>
                  <a:pt x="1163487" y="3043292"/>
                </a:cubicBezTo>
                <a:lnTo>
                  <a:pt x="1139375" y="3043292"/>
                </a:lnTo>
                <a:cubicBezTo>
                  <a:pt x="1112046" y="3043292"/>
                  <a:pt x="1094901" y="3057595"/>
                  <a:pt x="1094901" y="3080640"/>
                </a:cubicBezTo>
                <a:cubicBezTo>
                  <a:pt x="1094915" y="3081010"/>
                  <a:pt x="1094936" y="3081379"/>
                  <a:pt x="1094960" y="3081749"/>
                </a:cubicBezTo>
                <a:cubicBezTo>
                  <a:pt x="1096437" y="3103662"/>
                  <a:pt x="1115603" y="3120243"/>
                  <a:pt x="1137766" y="3118782"/>
                </a:cubicBezTo>
                <a:cubicBezTo>
                  <a:pt x="1150890" y="3119592"/>
                  <a:pt x="1163622" y="3114184"/>
                  <a:pt x="1172060" y="3104214"/>
                </a:cubicBezTo>
                <a:lnTo>
                  <a:pt x="1172060" y="3115604"/>
                </a:lnTo>
                <a:lnTo>
                  <a:pt x="1206890" y="3115604"/>
                </a:lnTo>
                <a:lnTo>
                  <a:pt x="1206890" y="3035875"/>
                </a:lnTo>
                <a:cubicBezTo>
                  <a:pt x="1206890" y="3003825"/>
                  <a:pt x="1181438" y="2991111"/>
                  <a:pt x="1153574" y="2991111"/>
                </a:cubicBezTo>
                <a:close/>
                <a:moveTo>
                  <a:pt x="568575" y="2954429"/>
                </a:moveTo>
                <a:cubicBezTo>
                  <a:pt x="555414" y="2999156"/>
                  <a:pt x="555406" y="3046664"/>
                  <a:pt x="568549" y="3091396"/>
                </a:cubicBezTo>
                <a:cubicBezTo>
                  <a:pt x="587170" y="3093621"/>
                  <a:pt x="606017" y="3093184"/>
                  <a:pt x="624511" y="3090097"/>
                </a:cubicBezTo>
                <a:cubicBezTo>
                  <a:pt x="610287" y="3052610"/>
                  <a:pt x="608324" y="3011654"/>
                  <a:pt x="618898" y="2973004"/>
                </a:cubicBezTo>
                <a:cubicBezTo>
                  <a:pt x="620492" y="2967123"/>
                  <a:pt x="622369" y="2961366"/>
                  <a:pt x="624479" y="2955725"/>
                </a:cubicBezTo>
                <a:cubicBezTo>
                  <a:pt x="606004" y="2952645"/>
                  <a:pt x="587176" y="2952208"/>
                  <a:pt x="568575" y="2954429"/>
                </a:cubicBezTo>
                <a:close/>
                <a:moveTo>
                  <a:pt x="1659953" y="2948201"/>
                </a:moveTo>
                <a:lnTo>
                  <a:pt x="1659953" y="2994290"/>
                </a:lnTo>
                <a:lnTo>
                  <a:pt x="1640662" y="2994290"/>
                </a:lnTo>
                <a:lnTo>
                  <a:pt x="1640662" y="3023426"/>
                </a:lnTo>
                <a:lnTo>
                  <a:pt x="1659953" y="3023426"/>
                </a:lnTo>
                <a:lnTo>
                  <a:pt x="1659953" y="3089911"/>
                </a:lnTo>
                <a:cubicBezTo>
                  <a:pt x="1659953" y="3114280"/>
                  <a:pt x="1677900" y="3117194"/>
                  <a:pt x="1695318" y="3117194"/>
                </a:cubicBezTo>
                <a:cubicBezTo>
                  <a:pt x="1705497" y="3117194"/>
                  <a:pt x="1722377" y="3115604"/>
                  <a:pt x="1722377" y="3115604"/>
                </a:cubicBezTo>
                <a:lnTo>
                  <a:pt x="1722377" y="3086203"/>
                </a:lnTo>
                <a:cubicBezTo>
                  <a:pt x="1722377" y="3086203"/>
                  <a:pt x="1715137" y="3086998"/>
                  <a:pt x="1706303" y="3086998"/>
                </a:cubicBezTo>
                <a:cubicBezTo>
                  <a:pt x="1700945" y="3086998"/>
                  <a:pt x="1694780" y="3085938"/>
                  <a:pt x="1694780" y="3078256"/>
                </a:cubicBezTo>
                <a:lnTo>
                  <a:pt x="1694780" y="3023426"/>
                </a:lnTo>
                <a:lnTo>
                  <a:pt x="1721302" y="3023426"/>
                </a:lnTo>
                <a:lnTo>
                  <a:pt x="1721302" y="2994290"/>
                </a:lnTo>
                <a:lnTo>
                  <a:pt x="1694780" y="2994290"/>
                </a:lnTo>
                <a:lnTo>
                  <a:pt x="1694780" y="2948201"/>
                </a:lnTo>
                <a:close/>
                <a:moveTo>
                  <a:pt x="1884617" y="2930355"/>
                </a:moveTo>
                <a:lnTo>
                  <a:pt x="1884617" y="2963335"/>
                </a:lnTo>
                <a:lnTo>
                  <a:pt x="1893998" y="2963335"/>
                </a:lnTo>
                <a:lnTo>
                  <a:pt x="1893998" y="2944492"/>
                </a:lnTo>
                <a:lnTo>
                  <a:pt x="1898291" y="2956270"/>
                </a:lnTo>
                <a:lnTo>
                  <a:pt x="1905819" y="2956270"/>
                </a:lnTo>
                <a:lnTo>
                  <a:pt x="1910111" y="2944492"/>
                </a:lnTo>
                <a:lnTo>
                  <a:pt x="1910111" y="2963335"/>
                </a:lnTo>
                <a:lnTo>
                  <a:pt x="1919685" y="2963335"/>
                </a:lnTo>
                <a:lnTo>
                  <a:pt x="1919685" y="2930355"/>
                </a:lnTo>
                <a:lnTo>
                  <a:pt x="1907566" y="2930355"/>
                </a:lnTo>
                <a:lnTo>
                  <a:pt x="1902362" y="2944114"/>
                </a:lnTo>
                <a:lnTo>
                  <a:pt x="1897494" y="2930355"/>
                </a:lnTo>
                <a:close/>
                <a:moveTo>
                  <a:pt x="1850683" y="2930355"/>
                </a:moveTo>
                <a:lnTo>
                  <a:pt x="1850683" y="2938929"/>
                </a:lnTo>
                <a:lnTo>
                  <a:pt x="1860074" y="2938929"/>
                </a:lnTo>
                <a:lnTo>
                  <a:pt x="1860074" y="2963335"/>
                </a:lnTo>
                <a:lnTo>
                  <a:pt x="1869839" y="2963335"/>
                </a:lnTo>
                <a:lnTo>
                  <a:pt x="1869839" y="2938929"/>
                </a:lnTo>
                <a:lnTo>
                  <a:pt x="1879230" y="2938929"/>
                </a:lnTo>
                <a:lnTo>
                  <a:pt x="1879230" y="2930355"/>
                </a:lnTo>
                <a:close/>
                <a:moveTo>
                  <a:pt x="1352105" y="2930189"/>
                </a:moveTo>
                <a:cubicBezTo>
                  <a:pt x="1339759" y="2930284"/>
                  <a:pt x="1329816" y="2940233"/>
                  <a:pt x="1329868" y="2952439"/>
                </a:cubicBezTo>
                <a:cubicBezTo>
                  <a:pt x="1329940" y="2964552"/>
                  <a:pt x="1339855" y="2974355"/>
                  <a:pt x="1352108" y="2974427"/>
                </a:cubicBezTo>
                <a:cubicBezTo>
                  <a:pt x="1364463" y="2974498"/>
                  <a:pt x="1374538" y="2964654"/>
                  <a:pt x="1374610" y="2952439"/>
                </a:cubicBezTo>
                <a:cubicBezTo>
                  <a:pt x="1374610" y="2952414"/>
                  <a:pt x="1374610" y="2952388"/>
                  <a:pt x="1374610" y="2952364"/>
                </a:cubicBezTo>
                <a:cubicBezTo>
                  <a:pt x="1374589" y="2940096"/>
                  <a:pt x="1364513" y="2930168"/>
                  <a:pt x="1352105" y="2930189"/>
                </a:cubicBezTo>
                <a:close/>
                <a:moveTo>
                  <a:pt x="1041583" y="2930189"/>
                </a:moveTo>
                <a:lnTo>
                  <a:pt x="1041583" y="3115604"/>
                </a:lnTo>
                <a:lnTo>
                  <a:pt x="1076143" y="3115604"/>
                </a:lnTo>
                <a:lnTo>
                  <a:pt x="1076143" y="2930189"/>
                </a:lnTo>
                <a:close/>
                <a:moveTo>
                  <a:pt x="925239" y="2926990"/>
                </a:moveTo>
                <a:cubicBezTo>
                  <a:pt x="872870" y="2928183"/>
                  <a:pt x="831395" y="2971122"/>
                  <a:pt x="832602" y="3022897"/>
                </a:cubicBezTo>
                <a:cubicBezTo>
                  <a:pt x="832562" y="3024595"/>
                  <a:pt x="832569" y="3026292"/>
                  <a:pt x="832623" y="3027990"/>
                </a:cubicBezTo>
                <a:cubicBezTo>
                  <a:pt x="834261" y="3079753"/>
                  <a:pt x="878033" y="3120402"/>
                  <a:pt x="930389" y="3118783"/>
                </a:cubicBezTo>
                <a:cubicBezTo>
                  <a:pt x="973630" y="3119900"/>
                  <a:pt x="1011845" y="3091151"/>
                  <a:pt x="1022285" y="3049650"/>
                </a:cubicBezTo>
                <a:lnTo>
                  <a:pt x="981294" y="3049650"/>
                </a:lnTo>
                <a:cubicBezTo>
                  <a:pt x="974516" y="3071553"/>
                  <a:pt x="953525" y="3086080"/>
                  <a:pt x="930389" y="3084878"/>
                </a:cubicBezTo>
                <a:cubicBezTo>
                  <a:pt x="895026" y="3084878"/>
                  <a:pt x="871450" y="3058391"/>
                  <a:pt x="871450" y="3022897"/>
                </a:cubicBezTo>
                <a:cubicBezTo>
                  <a:pt x="871450" y="2987403"/>
                  <a:pt x="895026" y="2960916"/>
                  <a:pt x="930389" y="2960916"/>
                </a:cubicBezTo>
                <a:cubicBezTo>
                  <a:pt x="953525" y="2959714"/>
                  <a:pt x="974516" y="2974241"/>
                  <a:pt x="981294" y="2996144"/>
                </a:cubicBezTo>
                <a:lnTo>
                  <a:pt x="1022285" y="2996144"/>
                </a:lnTo>
                <a:cubicBezTo>
                  <a:pt x="1011846" y="2954642"/>
                  <a:pt x="973630" y="2925892"/>
                  <a:pt x="930389" y="2927011"/>
                </a:cubicBezTo>
                <a:cubicBezTo>
                  <a:pt x="928673" y="2926958"/>
                  <a:pt x="926955" y="2926951"/>
                  <a:pt x="925239" y="2926990"/>
                </a:cubicBezTo>
                <a:close/>
                <a:moveTo>
                  <a:pt x="651232" y="2907161"/>
                </a:moveTo>
                <a:cubicBezTo>
                  <a:pt x="639985" y="2921984"/>
                  <a:pt x="630973" y="2938343"/>
                  <a:pt x="624479" y="2955726"/>
                </a:cubicBezTo>
                <a:cubicBezTo>
                  <a:pt x="670541" y="2963471"/>
                  <a:pt x="712258" y="2987315"/>
                  <a:pt x="742033" y="3022914"/>
                </a:cubicBezTo>
                <a:cubicBezTo>
                  <a:pt x="712265" y="3058505"/>
                  <a:pt x="670562" y="3082346"/>
                  <a:pt x="624512" y="3090097"/>
                </a:cubicBezTo>
                <a:cubicBezTo>
                  <a:pt x="631041" y="3107476"/>
                  <a:pt x="640089" y="3123825"/>
                  <a:pt x="651373" y="3138631"/>
                </a:cubicBezTo>
                <a:cubicBezTo>
                  <a:pt x="697088" y="3127502"/>
                  <a:pt x="738657" y="3103746"/>
                  <a:pt x="771228" y="3070136"/>
                </a:cubicBezTo>
                <a:cubicBezTo>
                  <a:pt x="763842" y="3053091"/>
                  <a:pt x="754009" y="3037186"/>
                  <a:pt x="742033" y="3022914"/>
                </a:cubicBezTo>
                <a:cubicBezTo>
                  <a:pt x="754009" y="3008642"/>
                  <a:pt x="763841" y="2992738"/>
                  <a:pt x="771227" y="2975692"/>
                </a:cubicBezTo>
                <a:cubicBezTo>
                  <a:pt x="738623" y="2942047"/>
                  <a:pt x="697001" y="2918276"/>
                  <a:pt x="651232" y="2907161"/>
                </a:cubicBezTo>
                <a:close/>
                <a:moveTo>
                  <a:pt x="0" y="0"/>
                </a:moveTo>
                <a:lnTo>
                  <a:pt x="12192000" y="0"/>
                </a:lnTo>
                <a:lnTo>
                  <a:pt x="12192000" y="3429000"/>
                </a:lnTo>
                <a:lnTo>
                  <a:pt x="8040688" y="3429000"/>
                </a:lnTo>
                <a:lnTo>
                  <a:pt x="7499776" y="3429000"/>
                </a:lnTo>
                <a:lnTo>
                  <a:pt x="0" y="3429000"/>
                </a:lnTo>
                <a:close/>
              </a:path>
            </a:pathLst>
          </a:custGeom>
          <a:solidFill>
            <a:schemeClr val="bg1">
              <a:lumMod val="95000"/>
            </a:schemeClr>
          </a:solidFill>
          <a:ln>
            <a:noFill/>
          </a:ln>
        </p:spPr>
        <p:txBody>
          <a:bodyPr wrap="square" tIns="108000" anchor="t" anchorCtr="0">
            <a:noAutofit/>
          </a:bodyPr>
          <a:lstStyle>
            <a:lvl1pPr marL="0" indent="0" algn="ctr">
              <a:buNone/>
              <a:defRPr sz="1000">
                <a:solidFill>
                  <a:schemeClr val="accent2"/>
                </a:solidFill>
                <a:latin typeface="+mn-lt"/>
              </a:defRPr>
            </a:lvl1pPr>
          </a:lstStyle>
          <a:p>
            <a:pPr lvl="0"/>
            <a:r>
              <a:rPr lang="en-US"/>
              <a:t>Drag picture file here or click </a:t>
            </a:r>
            <a:r>
              <a:rPr lang="en-US" noProof="0"/>
              <a:t>center</a:t>
            </a:r>
            <a:r>
              <a:rPr lang="en-US"/>
              <a:t> icon to insert light image</a:t>
            </a:r>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7" y="6348353"/>
            <a:ext cx="3292474" cy="215901"/>
          </a:xfrm>
        </p:spPr>
        <p:txBody>
          <a:bodyPr/>
          <a:lstStyle>
            <a:lvl1pPr>
              <a:defRPr>
                <a:solidFill>
                  <a:schemeClr val="tx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251885"/>
          </a:xfrm>
        </p:spPr>
        <p:txBody>
          <a:bodyPr/>
          <a:lstStyle>
            <a:lvl1pPr>
              <a:defRPr/>
            </a:lvl1pPr>
          </a:lstStyle>
          <a:p>
            <a:r>
              <a:rPr lang="en-US"/>
              <a:t>Header avenir demi</a:t>
            </a:r>
            <a:endParaRPr lang="en-GB"/>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7" name="Text Placeholder 12">
            <a:extLst>
              <a:ext uri="{FF2B5EF4-FFF2-40B4-BE49-F238E27FC236}">
                <a16:creationId xmlns:a16="http://schemas.microsoft.com/office/drawing/2014/main" id="{841E26EB-9911-0A6E-407B-8667159EEC13}"/>
              </a:ext>
            </a:extLst>
          </p:cNvPr>
          <p:cNvSpPr>
            <a:spLocks noGrp="1"/>
          </p:cNvSpPr>
          <p:nvPr>
            <p:ph type="body" sz="quarter" idx="14"/>
          </p:nvPr>
        </p:nvSpPr>
        <p:spPr>
          <a:xfrm>
            <a:off x="550863" y="1808164"/>
            <a:ext cx="3204000" cy="1441450"/>
          </a:xfrm>
        </p:spPr>
        <p:txBody>
          <a:bodyPr/>
          <a:lstStyle/>
          <a:p>
            <a:pPr lvl="0"/>
            <a:r>
              <a:rPr lang="en-US"/>
              <a:t>Click to edit Master text styles</a:t>
            </a:r>
          </a:p>
          <a:p>
            <a:pPr lvl="1"/>
            <a:r>
              <a:rPr lang="en-US"/>
              <a:t>Second level</a:t>
            </a:r>
          </a:p>
          <a:p>
            <a:pPr lvl="2"/>
            <a:r>
              <a:rPr lang="en-US"/>
              <a:t>Third level</a:t>
            </a:r>
          </a:p>
        </p:txBody>
      </p:sp>
      <p:sp>
        <p:nvSpPr>
          <p:cNvPr id="10" name="Text Placeholder 12">
            <a:extLst>
              <a:ext uri="{FF2B5EF4-FFF2-40B4-BE49-F238E27FC236}">
                <a16:creationId xmlns:a16="http://schemas.microsoft.com/office/drawing/2014/main" id="{45BEBC43-8186-4AEB-F4CF-271F011B0368}"/>
              </a:ext>
            </a:extLst>
          </p:cNvPr>
          <p:cNvSpPr>
            <a:spLocks noGrp="1"/>
          </p:cNvSpPr>
          <p:nvPr>
            <p:ph type="body" sz="quarter" idx="15"/>
          </p:nvPr>
        </p:nvSpPr>
        <p:spPr>
          <a:xfrm>
            <a:off x="4295776" y="1808164"/>
            <a:ext cx="3204000" cy="1441450"/>
          </a:xfrm>
        </p:spPr>
        <p:txBody>
          <a:bodyPr/>
          <a:lstStyle/>
          <a:p>
            <a:pPr lvl="0"/>
            <a:r>
              <a:rPr lang="en-US"/>
              <a:t>Click to edit Master text styles</a:t>
            </a:r>
          </a:p>
          <a:p>
            <a:pPr lvl="1"/>
            <a:r>
              <a:rPr lang="en-US"/>
              <a:t>Second level</a:t>
            </a:r>
          </a:p>
          <a:p>
            <a:pPr lvl="2"/>
            <a:r>
              <a:rPr lang="en-US"/>
              <a:t>Third level</a:t>
            </a:r>
          </a:p>
        </p:txBody>
      </p:sp>
      <p:sp>
        <p:nvSpPr>
          <p:cNvPr id="11" name="Text Placeholder 12">
            <a:extLst>
              <a:ext uri="{FF2B5EF4-FFF2-40B4-BE49-F238E27FC236}">
                <a16:creationId xmlns:a16="http://schemas.microsoft.com/office/drawing/2014/main" id="{042CC176-3CD8-0372-5942-EAD056B059E7}"/>
              </a:ext>
            </a:extLst>
          </p:cNvPr>
          <p:cNvSpPr>
            <a:spLocks noGrp="1"/>
          </p:cNvSpPr>
          <p:nvPr>
            <p:ph type="body" sz="quarter" idx="16"/>
          </p:nvPr>
        </p:nvSpPr>
        <p:spPr>
          <a:xfrm>
            <a:off x="8040687" y="1808164"/>
            <a:ext cx="3204000" cy="1441450"/>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2178916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Horizontal Split - 3x Col / Dark Ima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8B8D9C3-5BDF-8ABB-CC9B-760506715205}"/>
              </a:ext>
            </a:extLst>
          </p:cNvPr>
          <p:cNvSpPr/>
          <p:nvPr userDrawn="1"/>
        </p:nvSpPr>
        <p:spPr>
          <a:xfrm>
            <a:off x="9912350" y="6129338"/>
            <a:ext cx="2279650" cy="7286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Rectangle 4">
            <a:extLst>
              <a:ext uri="{FF2B5EF4-FFF2-40B4-BE49-F238E27FC236}">
                <a16:creationId xmlns:a16="http://schemas.microsoft.com/office/drawing/2014/main" id="{C58867A9-9407-75CF-0561-28134BDEED22}"/>
              </a:ext>
            </a:extLst>
          </p:cNvPr>
          <p:cNvSpPr/>
          <p:nvPr userDrawn="1"/>
        </p:nvSpPr>
        <p:spPr>
          <a:xfrm>
            <a:off x="0" y="6129338"/>
            <a:ext cx="2279650" cy="7286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Picture Placeholder 11">
            <a:extLst>
              <a:ext uri="{FF2B5EF4-FFF2-40B4-BE49-F238E27FC236}">
                <a16:creationId xmlns:a16="http://schemas.microsoft.com/office/drawing/2014/main" id="{8BA68AC2-1837-231B-AFE1-BE116D250A39}"/>
              </a:ext>
            </a:extLst>
          </p:cNvPr>
          <p:cNvSpPr>
            <a:spLocks noGrp="1"/>
          </p:cNvSpPr>
          <p:nvPr>
            <p:ph type="pic" sz="quarter" idx="20" hasCustomPrompt="1"/>
          </p:nvPr>
        </p:nvSpPr>
        <p:spPr>
          <a:xfrm>
            <a:off x="0" y="3429000"/>
            <a:ext cx="12192000" cy="3429000"/>
          </a:xfrm>
          <a:custGeom>
            <a:avLst/>
            <a:gdLst>
              <a:gd name="connsiteX0" fmla="*/ 1592699 w 12192000"/>
              <a:gd name="connsiteY0" fmla="*/ 3063423 h 3429000"/>
              <a:gd name="connsiteX1" fmla="*/ 1592699 w 12192000"/>
              <a:gd name="connsiteY1" fmla="*/ 3072164 h 3429000"/>
              <a:gd name="connsiteX2" fmla="*/ 1592546 w 12192000"/>
              <a:gd name="connsiteY2" fmla="*/ 3075388 h 3429000"/>
              <a:gd name="connsiteX3" fmla="*/ 1568857 w 12192000"/>
              <a:gd name="connsiteY3" fmla="*/ 3093619 h 3429000"/>
              <a:gd name="connsiteX4" fmla="*/ 1551438 w 12192000"/>
              <a:gd name="connsiteY4" fmla="*/ 3079315 h 3429000"/>
              <a:gd name="connsiteX5" fmla="*/ 1568857 w 12192000"/>
              <a:gd name="connsiteY5" fmla="*/ 3066071 h 3429000"/>
              <a:gd name="connsiteX6" fmla="*/ 1581983 w 12192000"/>
              <a:gd name="connsiteY6" fmla="*/ 3066071 h 3429000"/>
              <a:gd name="connsiteX7" fmla="*/ 1592699 w 12192000"/>
              <a:gd name="connsiteY7" fmla="*/ 3063423 h 3429000"/>
              <a:gd name="connsiteX8" fmla="*/ 1172060 w 12192000"/>
              <a:gd name="connsiteY8" fmla="*/ 3063423 h 3429000"/>
              <a:gd name="connsiteX9" fmla="*/ 1172060 w 12192000"/>
              <a:gd name="connsiteY9" fmla="*/ 3072164 h 3429000"/>
              <a:gd name="connsiteX10" fmla="*/ 1171906 w 12192000"/>
              <a:gd name="connsiteY10" fmla="*/ 3075389 h 3429000"/>
              <a:gd name="connsiteX11" fmla="*/ 1148216 w 12192000"/>
              <a:gd name="connsiteY11" fmla="*/ 3093619 h 3429000"/>
              <a:gd name="connsiteX12" fmla="*/ 1130802 w 12192000"/>
              <a:gd name="connsiteY12" fmla="*/ 3079315 h 3429000"/>
              <a:gd name="connsiteX13" fmla="*/ 1148216 w 12192000"/>
              <a:gd name="connsiteY13" fmla="*/ 3066071 h 3429000"/>
              <a:gd name="connsiteX14" fmla="*/ 1161343 w 12192000"/>
              <a:gd name="connsiteY14" fmla="*/ 3066071 h 3429000"/>
              <a:gd name="connsiteX15" fmla="*/ 1172060 w 12192000"/>
              <a:gd name="connsiteY15" fmla="*/ 3063423 h 3429000"/>
              <a:gd name="connsiteX16" fmla="*/ 1796056 w 12192000"/>
              <a:gd name="connsiteY16" fmla="*/ 3019718 h 3429000"/>
              <a:gd name="connsiteX17" fmla="*/ 1823115 w 12192000"/>
              <a:gd name="connsiteY17" fmla="*/ 3041969 h 3429000"/>
              <a:gd name="connsiteX18" fmla="*/ 1768190 w 12192000"/>
              <a:gd name="connsiteY18" fmla="*/ 3041969 h 3429000"/>
              <a:gd name="connsiteX19" fmla="*/ 1796056 w 12192000"/>
              <a:gd name="connsiteY19" fmla="*/ 3019718 h 3429000"/>
              <a:gd name="connsiteX20" fmla="*/ 1385331 w 12192000"/>
              <a:gd name="connsiteY20" fmla="*/ 2994290 h 3429000"/>
              <a:gd name="connsiteX21" fmla="*/ 1427128 w 12192000"/>
              <a:gd name="connsiteY21" fmla="*/ 3115605 h 3429000"/>
              <a:gd name="connsiteX22" fmla="*/ 1470261 w 12192000"/>
              <a:gd name="connsiteY22" fmla="*/ 3115605 h 3429000"/>
              <a:gd name="connsiteX23" fmla="*/ 1513932 w 12192000"/>
              <a:gd name="connsiteY23" fmla="*/ 2994290 h 3429000"/>
              <a:gd name="connsiteX24" fmla="*/ 1477223 w 12192000"/>
              <a:gd name="connsiteY24" fmla="*/ 2994290 h 3429000"/>
              <a:gd name="connsiteX25" fmla="*/ 1449367 w 12192000"/>
              <a:gd name="connsiteY25" fmla="*/ 3078521 h 3429000"/>
              <a:gd name="connsiteX26" fmla="*/ 1423104 w 12192000"/>
              <a:gd name="connsiteY26" fmla="*/ 2994290 h 3429000"/>
              <a:gd name="connsiteX27" fmla="*/ 1319153 w 12192000"/>
              <a:gd name="connsiteY27" fmla="*/ 2994290 h 3429000"/>
              <a:gd name="connsiteX28" fmla="*/ 1319153 w 12192000"/>
              <a:gd name="connsiteY28" fmla="*/ 3023426 h 3429000"/>
              <a:gd name="connsiteX29" fmla="*/ 1336299 w 12192000"/>
              <a:gd name="connsiteY29" fmla="*/ 3023426 h 3429000"/>
              <a:gd name="connsiteX30" fmla="*/ 1336299 w 12192000"/>
              <a:gd name="connsiteY30" fmla="*/ 3115604 h 3429000"/>
              <a:gd name="connsiteX31" fmla="*/ 1371127 w 12192000"/>
              <a:gd name="connsiteY31" fmla="*/ 3115604 h 3429000"/>
              <a:gd name="connsiteX32" fmla="*/ 1371127 w 12192000"/>
              <a:gd name="connsiteY32" fmla="*/ 2994290 h 3429000"/>
              <a:gd name="connsiteX33" fmla="*/ 1293161 w 12192000"/>
              <a:gd name="connsiteY33" fmla="*/ 2992700 h 3429000"/>
              <a:gd name="connsiteX34" fmla="*/ 1261280 w 12192000"/>
              <a:gd name="connsiteY34" fmla="*/ 3013626 h 3429000"/>
              <a:gd name="connsiteX35" fmla="*/ 1261280 w 12192000"/>
              <a:gd name="connsiteY35" fmla="*/ 2994290 h 3429000"/>
              <a:gd name="connsiteX36" fmla="*/ 1227522 w 12192000"/>
              <a:gd name="connsiteY36" fmla="*/ 2994290 h 3429000"/>
              <a:gd name="connsiteX37" fmla="*/ 1227522 w 12192000"/>
              <a:gd name="connsiteY37" fmla="*/ 3115604 h 3429000"/>
              <a:gd name="connsiteX38" fmla="*/ 1262352 w 12192000"/>
              <a:gd name="connsiteY38" fmla="*/ 3115604 h 3429000"/>
              <a:gd name="connsiteX39" fmla="*/ 1262352 w 12192000"/>
              <a:gd name="connsiteY39" fmla="*/ 3057596 h 3429000"/>
              <a:gd name="connsiteX40" fmla="*/ 1288073 w 12192000"/>
              <a:gd name="connsiteY40" fmla="*/ 3028194 h 3429000"/>
              <a:gd name="connsiteX41" fmla="*/ 1302808 w 12192000"/>
              <a:gd name="connsiteY41" fmla="*/ 3028194 h 3429000"/>
              <a:gd name="connsiteX42" fmla="*/ 1302808 w 12192000"/>
              <a:gd name="connsiteY42" fmla="*/ 2993760 h 3429000"/>
              <a:gd name="connsiteX43" fmla="*/ 1293161 w 12192000"/>
              <a:gd name="connsiteY43" fmla="*/ 2992700 h 3429000"/>
              <a:gd name="connsiteX44" fmla="*/ 1796056 w 12192000"/>
              <a:gd name="connsiteY44" fmla="*/ 2991112 h 3429000"/>
              <a:gd name="connsiteX45" fmla="*/ 1791956 w 12192000"/>
              <a:gd name="connsiteY45" fmla="*/ 2991138 h 3429000"/>
              <a:gd name="connsiteX46" fmla="*/ 1732297 w 12192000"/>
              <a:gd name="connsiteY46" fmla="*/ 3054948 h 3429000"/>
              <a:gd name="connsiteX47" fmla="*/ 1770879 w 12192000"/>
              <a:gd name="connsiteY47" fmla="*/ 3112990 h 3429000"/>
              <a:gd name="connsiteX48" fmla="*/ 1857943 w 12192000"/>
              <a:gd name="connsiteY48" fmla="*/ 3080641 h 3429000"/>
              <a:gd name="connsiteX49" fmla="*/ 1821781 w 12192000"/>
              <a:gd name="connsiteY49" fmla="*/ 3076933 h 3429000"/>
              <a:gd name="connsiteX50" fmla="*/ 1802269 w 12192000"/>
              <a:gd name="connsiteY50" fmla="*/ 3089046 h 3429000"/>
              <a:gd name="connsiteX51" fmla="*/ 1768997 w 12192000"/>
              <a:gd name="connsiteY51" fmla="*/ 3065013 h 3429000"/>
              <a:gd name="connsiteX52" fmla="*/ 1860353 w 12192000"/>
              <a:gd name="connsiteY52" fmla="*/ 3065013 h 3429000"/>
              <a:gd name="connsiteX53" fmla="*/ 1860353 w 12192000"/>
              <a:gd name="connsiteY53" fmla="*/ 3063689 h 3429000"/>
              <a:gd name="connsiteX54" fmla="*/ 1796056 w 12192000"/>
              <a:gd name="connsiteY54" fmla="*/ 2991112 h 3429000"/>
              <a:gd name="connsiteX55" fmla="*/ 1574215 w 12192000"/>
              <a:gd name="connsiteY55" fmla="*/ 2991111 h 3429000"/>
              <a:gd name="connsiteX56" fmla="*/ 1521700 w 12192000"/>
              <a:gd name="connsiteY56" fmla="*/ 3005944 h 3429000"/>
              <a:gd name="connsiteX57" fmla="*/ 1535364 w 12192000"/>
              <a:gd name="connsiteY57" fmla="*/ 3031902 h 3429000"/>
              <a:gd name="connsiteX58" fmla="*/ 1572342 w 12192000"/>
              <a:gd name="connsiteY58" fmla="*/ 3020512 h 3429000"/>
              <a:gd name="connsiteX59" fmla="*/ 1592699 w 12192000"/>
              <a:gd name="connsiteY59" fmla="*/ 3034816 h 3429000"/>
              <a:gd name="connsiteX60" fmla="*/ 1592699 w 12192000"/>
              <a:gd name="connsiteY60" fmla="*/ 3036140 h 3429000"/>
              <a:gd name="connsiteX61" fmla="*/ 1584124 w 12192000"/>
              <a:gd name="connsiteY61" fmla="*/ 3043292 h 3429000"/>
              <a:gd name="connsiteX62" fmla="*/ 1560013 w 12192000"/>
              <a:gd name="connsiteY62" fmla="*/ 3043292 h 3429000"/>
              <a:gd name="connsiteX63" fmla="*/ 1515545 w 12192000"/>
              <a:gd name="connsiteY63" fmla="*/ 3080640 h 3429000"/>
              <a:gd name="connsiteX64" fmla="*/ 1515603 w 12192000"/>
              <a:gd name="connsiteY64" fmla="*/ 3081750 h 3429000"/>
              <a:gd name="connsiteX65" fmla="*/ 1558409 w 12192000"/>
              <a:gd name="connsiteY65" fmla="*/ 3118782 h 3429000"/>
              <a:gd name="connsiteX66" fmla="*/ 1592699 w 12192000"/>
              <a:gd name="connsiteY66" fmla="*/ 3104214 h 3429000"/>
              <a:gd name="connsiteX67" fmla="*/ 1592699 w 12192000"/>
              <a:gd name="connsiteY67" fmla="*/ 3115604 h 3429000"/>
              <a:gd name="connsiteX68" fmla="*/ 1627527 w 12192000"/>
              <a:gd name="connsiteY68" fmla="*/ 3115604 h 3429000"/>
              <a:gd name="connsiteX69" fmla="*/ 1627527 w 12192000"/>
              <a:gd name="connsiteY69" fmla="*/ 3035875 h 3429000"/>
              <a:gd name="connsiteX70" fmla="*/ 1574215 w 12192000"/>
              <a:gd name="connsiteY70" fmla="*/ 2991111 h 3429000"/>
              <a:gd name="connsiteX71" fmla="*/ 1153574 w 12192000"/>
              <a:gd name="connsiteY71" fmla="*/ 2991111 h 3429000"/>
              <a:gd name="connsiteX72" fmla="*/ 1101062 w 12192000"/>
              <a:gd name="connsiteY72" fmla="*/ 3005944 h 3429000"/>
              <a:gd name="connsiteX73" fmla="*/ 1114726 w 12192000"/>
              <a:gd name="connsiteY73" fmla="*/ 3031902 h 3429000"/>
              <a:gd name="connsiteX74" fmla="*/ 1151699 w 12192000"/>
              <a:gd name="connsiteY74" fmla="*/ 3020512 h 3429000"/>
              <a:gd name="connsiteX75" fmla="*/ 1172060 w 12192000"/>
              <a:gd name="connsiteY75" fmla="*/ 3034816 h 3429000"/>
              <a:gd name="connsiteX76" fmla="*/ 1172060 w 12192000"/>
              <a:gd name="connsiteY76" fmla="*/ 3036140 h 3429000"/>
              <a:gd name="connsiteX77" fmla="*/ 1163487 w 12192000"/>
              <a:gd name="connsiteY77" fmla="*/ 3043292 h 3429000"/>
              <a:gd name="connsiteX78" fmla="*/ 1139375 w 12192000"/>
              <a:gd name="connsiteY78" fmla="*/ 3043292 h 3429000"/>
              <a:gd name="connsiteX79" fmla="*/ 1094901 w 12192000"/>
              <a:gd name="connsiteY79" fmla="*/ 3080640 h 3429000"/>
              <a:gd name="connsiteX80" fmla="*/ 1094960 w 12192000"/>
              <a:gd name="connsiteY80" fmla="*/ 3081749 h 3429000"/>
              <a:gd name="connsiteX81" fmla="*/ 1137766 w 12192000"/>
              <a:gd name="connsiteY81" fmla="*/ 3118782 h 3429000"/>
              <a:gd name="connsiteX82" fmla="*/ 1172060 w 12192000"/>
              <a:gd name="connsiteY82" fmla="*/ 3104214 h 3429000"/>
              <a:gd name="connsiteX83" fmla="*/ 1172060 w 12192000"/>
              <a:gd name="connsiteY83" fmla="*/ 3115604 h 3429000"/>
              <a:gd name="connsiteX84" fmla="*/ 1206890 w 12192000"/>
              <a:gd name="connsiteY84" fmla="*/ 3115604 h 3429000"/>
              <a:gd name="connsiteX85" fmla="*/ 1206890 w 12192000"/>
              <a:gd name="connsiteY85" fmla="*/ 3035875 h 3429000"/>
              <a:gd name="connsiteX86" fmla="*/ 1153574 w 12192000"/>
              <a:gd name="connsiteY86" fmla="*/ 2991111 h 3429000"/>
              <a:gd name="connsiteX87" fmla="*/ 568575 w 12192000"/>
              <a:gd name="connsiteY87" fmla="*/ 2954429 h 3429000"/>
              <a:gd name="connsiteX88" fmla="*/ 568549 w 12192000"/>
              <a:gd name="connsiteY88" fmla="*/ 3091396 h 3429000"/>
              <a:gd name="connsiteX89" fmla="*/ 624511 w 12192000"/>
              <a:gd name="connsiteY89" fmla="*/ 3090097 h 3429000"/>
              <a:gd name="connsiteX90" fmla="*/ 618898 w 12192000"/>
              <a:gd name="connsiteY90" fmla="*/ 2973004 h 3429000"/>
              <a:gd name="connsiteX91" fmla="*/ 624479 w 12192000"/>
              <a:gd name="connsiteY91" fmla="*/ 2955725 h 3429000"/>
              <a:gd name="connsiteX92" fmla="*/ 568575 w 12192000"/>
              <a:gd name="connsiteY92" fmla="*/ 2954429 h 3429000"/>
              <a:gd name="connsiteX93" fmla="*/ 1659953 w 12192000"/>
              <a:gd name="connsiteY93" fmla="*/ 2948201 h 3429000"/>
              <a:gd name="connsiteX94" fmla="*/ 1659953 w 12192000"/>
              <a:gd name="connsiteY94" fmla="*/ 2994290 h 3429000"/>
              <a:gd name="connsiteX95" fmla="*/ 1640662 w 12192000"/>
              <a:gd name="connsiteY95" fmla="*/ 2994290 h 3429000"/>
              <a:gd name="connsiteX96" fmla="*/ 1640662 w 12192000"/>
              <a:gd name="connsiteY96" fmla="*/ 3023426 h 3429000"/>
              <a:gd name="connsiteX97" fmla="*/ 1659953 w 12192000"/>
              <a:gd name="connsiteY97" fmla="*/ 3023426 h 3429000"/>
              <a:gd name="connsiteX98" fmla="*/ 1659953 w 12192000"/>
              <a:gd name="connsiteY98" fmla="*/ 3089911 h 3429000"/>
              <a:gd name="connsiteX99" fmla="*/ 1695318 w 12192000"/>
              <a:gd name="connsiteY99" fmla="*/ 3117194 h 3429000"/>
              <a:gd name="connsiteX100" fmla="*/ 1722377 w 12192000"/>
              <a:gd name="connsiteY100" fmla="*/ 3115604 h 3429000"/>
              <a:gd name="connsiteX101" fmla="*/ 1722377 w 12192000"/>
              <a:gd name="connsiteY101" fmla="*/ 3086203 h 3429000"/>
              <a:gd name="connsiteX102" fmla="*/ 1706303 w 12192000"/>
              <a:gd name="connsiteY102" fmla="*/ 3086998 h 3429000"/>
              <a:gd name="connsiteX103" fmla="*/ 1694780 w 12192000"/>
              <a:gd name="connsiteY103" fmla="*/ 3078256 h 3429000"/>
              <a:gd name="connsiteX104" fmla="*/ 1694780 w 12192000"/>
              <a:gd name="connsiteY104" fmla="*/ 3023426 h 3429000"/>
              <a:gd name="connsiteX105" fmla="*/ 1721302 w 12192000"/>
              <a:gd name="connsiteY105" fmla="*/ 3023426 h 3429000"/>
              <a:gd name="connsiteX106" fmla="*/ 1721302 w 12192000"/>
              <a:gd name="connsiteY106" fmla="*/ 2994290 h 3429000"/>
              <a:gd name="connsiteX107" fmla="*/ 1694780 w 12192000"/>
              <a:gd name="connsiteY107" fmla="*/ 2994290 h 3429000"/>
              <a:gd name="connsiteX108" fmla="*/ 1694780 w 12192000"/>
              <a:gd name="connsiteY108" fmla="*/ 2948201 h 3429000"/>
              <a:gd name="connsiteX109" fmla="*/ 1884617 w 12192000"/>
              <a:gd name="connsiteY109" fmla="*/ 2930355 h 3429000"/>
              <a:gd name="connsiteX110" fmla="*/ 1884617 w 12192000"/>
              <a:gd name="connsiteY110" fmla="*/ 2963335 h 3429000"/>
              <a:gd name="connsiteX111" fmla="*/ 1893998 w 12192000"/>
              <a:gd name="connsiteY111" fmla="*/ 2963335 h 3429000"/>
              <a:gd name="connsiteX112" fmla="*/ 1893998 w 12192000"/>
              <a:gd name="connsiteY112" fmla="*/ 2944492 h 3429000"/>
              <a:gd name="connsiteX113" fmla="*/ 1898291 w 12192000"/>
              <a:gd name="connsiteY113" fmla="*/ 2956270 h 3429000"/>
              <a:gd name="connsiteX114" fmla="*/ 1905819 w 12192000"/>
              <a:gd name="connsiteY114" fmla="*/ 2956270 h 3429000"/>
              <a:gd name="connsiteX115" fmla="*/ 1910111 w 12192000"/>
              <a:gd name="connsiteY115" fmla="*/ 2944492 h 3429000"/>
              <a:gd name="connsiteX116" fmla="*/ 1910111 w 12192000"/>
              <a:gd name="connsiteY116" fmla="*/ 2963335 h 3429000"/>
              <a:gd name="connsiteX117" fmla="*/ 1919685 w 12192000"/>
              <a:gd name="connsiteY117" fmla="*/ 2963335 h 3429000"/>
              <a:gd name="connsiteX118" fmla="*/ 1919685 w 12192000"/>
              <a:gd name="connsiteY118" fmla="*/ 2930355 h 3429000"/>
              <a:gd name="connsiteX119" fmla="*/ 1907566 w 12192000"/>
              <a:gd name="connsiteY119" fmla="*/ 2930355 h 3429000"/>
              <a:gd name="connsiteX120" fmla="*/ 1902362 w 12192000"/>
              <a:gd name="connsiteY120" fmla="*/ 2944114 h 3429000"/>
              <a:gd name="connsiteX121" fmla="*/ 1897494 w 12192000"/>
              <a:gd name="connsiteY121" fmla="*/ 2930355 h 3429000"/>
              <a:gd name="connsiteX122" fmla="*/ 1850683 w 12192000"/>
              <a:gd name="connsiteY122" fmla="*/ 2930355 h 3429000"/>
              <a:gd name="connsiteX123" fmla="*/ 1850683 w 12192000"/>
              <a:gd name="connsiteY123" fmla="*/ 2938929 h 3429000"/>
              <a:gd name="connsiteX124" fmla="*/ 1860074 w 12192000"/>
              <a:gd name="connsiteY124" fmla="*/ 2938929 h 3429000"/>
              <a:gd name="connsiteX125" fmla="*/ 1860074 w 12192000"/>
              <a:gd name="connsiteY125" fmla="*/ 2963335 h 3429000"/>
              <a:gd name="connsiteX126" fmla="*/ 1869839 w 12192000"/>
              <a:gd name="connsiteY126" fmla="*/ 2963335 h 3429000"/>
              <a:gd name="connsiteX127" fmla="*/ 1869839 w 12192000"/>
              <a:gd name="connsiteY127" fmla="*/ 2938929 h 3429000"/>
              <a:gd name="connsiteX128" fmla="*/ 1879230 w 12192000"/>
              <a:gd name="connsiteY128" fmla="*/ 2938929 h 3429000"/>
              <a:gd name="connsiteX129" fmla="*/ 1879230 w 12192000"/>
              <a:gd name="connsiteY129" fmla="*/ 2930355 h 3429000"/>
              <a:gd name="connsiteX130" fmla="*/ 1352105 w 12192000"/>
              <a:gd name="connsiteY130" fmla="*/ 2930189 h 3429000"/>
              <a:gd name="connsiteX131" fmla="*/ 1329868 w 12192000"/>
              <a:gd name="connsiteY131" fmla="*/ 2952439 h 3429000"/>
              <a:gd name="connsiteX132" fmla="*/ 1352108 w 12192000"/>
              <a:gd name="connsiteY132" fmla="*/ 2974427 h 3429000"/>
              <a:gd name="connsiteX133" fmla="*/ 1374610 w 12192000"/>
              <a:gd name="connsiteY133" fmla="*/ 2952439 h 3429000"/>
              <a:gd name="connsiteX134" fmla="*/ 1374610 w 12192000"/>
              <a:gd name="connsiteY134" fmla="*/ 2952364 h 3429000"/>
              <a:gd name="connsiteX135" fmla="*/ 1352105 w 12192000"/>
              <a:gd name="connsiteY135" fmla="*/ 2930189 h 3429000"/>
              <a:gd name="connsiteX136" fmla="*/ 1041583 w 12192000"/>
              <a:gd name="connsiteY136" fmla="*/ 2930189 h 3429000"/>
              <a:gd name="connsiteX137" fmla="*/ 1041583 w 12192000"/>
              <a:gd name="connsiteY137" fmla="*/ 3115604 h 3429000"/>
              <a:gd name="connsiteX138" fmla="*/ 1076143 w 12192000"/>
              <a:gd name="connsiteY138" fmla="*/ 3115604 h 3429000"/>
              <a:gd name="connsiteX139" fmla="*/ 1076143 w 12192000"/>
              <a:gd name="connsiteY139" fmla="*/ 2930189 h 3429000"/>
              <a:gd name="connsiteX140" fmla="*/ 925239 w 12192000"/>
              <a:gd name="connsiteY140" fmla="*/ 2926990 h 3429000"/>
              <a:gd name="connsiteX141" fmla="*/ 832602 w 12192000"/>
              <a:gd name="connsiteY141" fmla="*/ 3022897 h 3429000"/>
              <a:gd name="connsiteX142" fmla="*/ 832623 w 12192000"/>
              <a:gd name="connsiteY142" fmla="*/ 3027990 h 3429000"/>
              <a:gd name="connsiteX143" fmla="*/ 930389 w 12192000"/>
              <a:gd name="connsiteY143" fmla="*/ 3118783 h 3429000"/>
              <a:gd name="connsiteX144" fmla="*/ 1022285 w 12192000"/>
              <a:gd name="connsiteY144" fmla="*/ 3049650 h 3429000"/>
              <a:gd name="connsiteX145" fmla="*/ 981294 w 12192000"/>
              <a:gd name="connsiteY145" fmla="*/ 3049650 h 3429000"/>
              <a:gd name="connsiteX146" fmla="*/ 930389 w 12192000"/>
              <a:gd name="connsiteY146" fmla="*/ 3084878 h 3429000"/>
              <a:gd name="connsiteX147" fmla="*/ 871450 w 12192000"/>
              <a:gd name="connsiteY147" fmla="*/ 3022897 h 3429000"/>
              <a:gd name="connsiteX148" fmla="*/ 930389 w 12192000"/>
              <a:gd name="connsiteY148" fmla="*/ 2960916 h 3429000"/>
              <a:gd name="connsiteX149" fmla="*/ 981294 w 12192000"/>
              <a:gd name="connsiteY149" fmla="*/ 2996144 h 3429000"/>
              <a:gd name="connsiteX150" fmla="*/ 1022285 w 12192000"/>
              <a:gd name="connsiteY150" fmla="*/ 2996144 h 3429000"/>
              <a:gd name="connsiteX151" fmla="*/ 930389 w 12192000"/>
              <a:gd name="connsiteY151" fmla="*/ 2927011 h 3429000"/>
              <a:gd name="connsiteX152" fmla="*/ 925239 w 12192000"/>
              <a:gd name="connsiteY152" fmla="*/ 2926990 h 3429000"/>
              <a:gd name="connsiteX153" fmla="*/ 651232 w 12192000"/>
              <a:gd name="connsiteY153" fmla="*/ 2907161 h 3429000"/>
              <a:gd name="connsiteX154" fmla="*/ 624479 w 12192000"/>
              <a:gd name="connsiteY154" fmla="*/ 2955726 h 3429000"/>
              <a:gd name="connsiteX155" fmla="*/ 742033 w 12192000"/>
              <a:gd name="connsiteY155" fmla="*/ 3022914 h 3429000"/>
              <a:gd name="connsiteX156" fmla="*/ 624512 w 12192000"/>
              <a:gd name="connsiteY156" fmla="*/ 3090097 h 3429000"/>
              <a:gd name="connsiteX157" fmla="*/ 651373 w 12192000"/>
              <a:gd name="connsiteY157" fmla="*/ 3138631 h 3429000"/>
              <a:gd name="connsiteX158" fmla="*/ 771228 w 12192000"/>
              <a:gd name="connsiteY158" fmla="*/ 3070136 h 3429000"/>
              <a:gd name="connsiteX159" fmla="*/ 742033 w 12192000"/>
              <a:gd name="connsiteY159" fmla="*/ 3022914 h 3429000"/>
              <a:gd name="connsiteX160" fmla="*/ 771227 w 12192000"/>
              <a:gd name="connsiteY160" fmla="*/ 2975692 h 3429000"/>
              <a:gd name="connsiteX161" fmla="*/ 651232 w 12192000"/>
              <a:gd name="connsiteY161" fmla="*/ 2907161 h 3429000"/>
              <a:gd name="connsiteX162" fmla="*/ 0 w 12192000"/>
              <a:gd name="connsiteY162" fmla="*/ 0 h 3429000"/>
              <a:gd name="connsiteX163" fmla="*/ 12192000 w 12192000"/>
              <a:gd name="connsiteY163" fmla="*/ 0 h 3429000"/>
              <a:gd name="connsiteX164" fmla="*/ 12192000 w 12192000"/>
              <a:gd name="connsiteY164" fmla="*/ 3429000 h 3429000"/>
              <a:gd name="connsiteX165" fmla="*/ 8040688 w 12192000"/>
              <a:gd name="connsiteY165" fmla="*/ 3429000 h 3429000"/>
              <a:gd name="connsiteX166" fmla="*/ 7499776 w 12192000"/>
              <a:gd name="connsiteY166" fmla="*/ 3429000 h 3429000"/>
              <a:gd name="connsiteX167" fmla="*/ 0 w 12192000"/>
              <a:gd name="connsiteY167" fmla="*/ 3429000 h 34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12192000" h="3429000">
                <a:moveTo>
                  <a:pt x="1592699" y="3063423"/>
                </a:moveTo>
                <a:lnTo>
                  <a:pt x="1592699" y="3072164"/>
                </a:lnTo>
                <a:cubicBezTo>
                  <a:pt x="1592738" y="3073241"/>
                  <a:pt x="1592680" y="3074319"/>
                  <a:pt x="1592546" y="3075388"/>
                </a:cubicBezTo>
                <a:cubicBezTo>
                  <a:pt x="1591096" y="3086890"/>
                  <a:pt x="1580495" y="3095053"/>
                  <a:pt x="1568857" y="3093619"/>
                </a:cubicBezTo>
                <a:cubicBezTo>
                  <a:pt x="1558141" y="3093619"/>
                  <a:pt x="1551438" y="3087526"/>
                  <a:pt x="1551438" y="3079315"/>
                </a:cubicBezTo>
                <a:cubicBezTo>
                  <a:pt x="1551438" y="3070839"/>
                  <a:pt x="1557872" y="3066071"/>
                  <a:pt x="1568857" y="3066071"/>
                </a:cubicBezTo>
                <a:lnTo>
                  <a:pt x="1581983" y="3066071"/>
                </a:lnTo>
                <a:cubicBezTo>
                  <a:pt x="1585766" y="3066554"/>
                  <a:pt x="1589598" y="3065609"/>
                  <a:pt x="1592699" y="3063423"/>
                </a:cubicBezTo>
                <a:close/>
                <a:moveTo>
                  <a:pt x="1172060" y="3063423"/>
                </a:moveTo>
                <a:lnTo>
                  <a:pt x="1172060" y="3072164"/>
                </a:lnTo>
                <a:cubicBezTo>
                  <a:pt x="1172093" y="3073242"/>
                  <a:pt x="1172042" y="3074320"/>
                  <a:pt x="1171906" y="3075389"/>
                </a:cubicBezTo>
                <a:cubicBezTo>
                  <a:pt x="1170456" y="3086891"/>
                  <a:pt x="1159850" y="3095053"/>
                  <a:pt x="1148216" y="3093619"/>
                </a:cubicBezTo>
                <a:cubicBezTo>
                  <a:pt x="1137499" y="3093619"/>
                  <a:pt x="1130802" y="3087526"/>
                  <a:pt x="1130802" y="3079315"/>
                </a:cubicBezTo>
                <a:cubicBezTo>
                  <a:pt x="1130802" y="3070839"/>
                  <a:pt x="1137232" y="3066071"/>
                  <a:pt x="1148216" y="3066071"/>
                </a:cubicBezTo>
                <a:lnTo>
                  <a:pt x="1161343" y="3066071"/>
                </a:lnTo>
                <a:cubicBezTo>
                  <a:pt x="1165125" y="3066554"/>
                  <a:pt x="1168953" y="3065609"/>
                  <a:pt x="1172060" y="3063423"/>
                </a:cubicBezTo>
                <a:close/>
                <a:moveTo>
                  <a:pt x="1796056" y="3019718"/>
                </a:moveTo>
                <a:cubicBezTo>
                  <a:pt x="1809461" y="3019340"/>
                  <a:pt x="1821051" y="3028873"/>
                  <a:pt x="1823115" y="3041969"/>
                </a:cubicBezTo>
                <a:lnTo>
                  <a:pt x="1768190" y="3041969"/>
                </a:lnTo>
                <a:cubicBezTo>
                  <a:pt x="1770601" y="3028738"/>
                  <a:pt x="1782469" y="3019261"/>
                  <a:pt x="1796056" y="3019718"/>
                </a:cubicBezTo>
                <a:close/>
                <a:moveTo>
                  <a:pt x="1385331" y="2994290"/>
                </a:moveTo>
                <a:lnTo>
                  <a:pt x="1427128" y="3115605"/>
                </a:lnTo>
                <a:lnTo>
                  <a:pt x="1470261" y="3115605"/>
                </a:lnTo>
                <a:lnTo>
                  <a:pt x="1513932" y="2994290"/>
                </a:lnTo>
                <a:lnTo>
                  <a:pt x="1477223" y="2994290"/>
                </a:lnTo>
                <a:lnTo>
                  <a:pt x="1449367" y="3078521"/>
                </a:lnTo>
                <a:lnTo>
                  <a:pt x="1423104" y="2994290"/>
                </a:lnTo>
                <a:close/>
                <a:moveTo>
                  <a:pt x="1319153" y="2994290"/>
                </a:moveTo>
                <a:lnTo>
                  <a:pt x="1319153" y="3023426"/>
                </a:lnTo>
                <a:lnTo>
                  <a:pt x="1336299" y="3023426"/>
                </a:lnTo>
                <a:lnTo>
                  <a:pt x="1336299" y="3115604"/>
                </a:lnTo>
                <a:lnTo>
                  <a:pt x="1371127" y="3115604"/>
                </a:lnTo>
                <a:lnTo>
                  <a:pt x="1371127" y="2994290"/>
                </a:lnTo>
                <a:close/>
                <a:moveTo>
                  <a:pt x="1293161" y="2992700"/>
                </a:moveTo>
                <a:cubicBezTo>
                  <a:pt x="1279051" y="2992037"/>
                  <a:pt x="1266138" y="3000512"/>
                  <a:pt x="1261280" y="3013626"/>
                </a:cubicBezTo>
                <a:lnTo>
                  <a:pt x="1261280" y="2994290"/>
                </a:lnTo>
                <a:lnTo>
                  <a:pt x="1227522" y="2994290"/>
                </a:lnTo>
                <a:lnTo>
                  <a:pt x="1227522" y="3115604"/>
                </a:lnTo>
                <a:lnTo>
                  <a:pt x="1262352" y="3115604"/>
                </a:lnTo>
                <a:lnTo>
                  <a:pt x="1262352" y="3057596"/>
                </a:lnTo>
                <a:cubicBezTo>
                  <a:pt x="1262352" y="3036405"/>
                  <a:pt x="1270389" y="3028194"/>
                  <a:pt x="1288073" y="3028194"/>
                </a:cubicBezTo>
                <a:lnTo>
                  <a:pt x="1302808" y="3028194"/>
                </a:lnTo>
                <a:lnTo>
                  <a:pt x="1302808" y="2993760"/>
                </a:lnTo>
                <a:cubicBezTo>
                  <a:pt x="1299648" y="2993016"/>
                  <a:pt x="1296409" y="2992660"/>
                  <a:pt x="1293161" y="2992700"/>
                </a:cubicBezTo>
                <a:close/>
                <a:moveTo>
                  <a:pt x="1796056" y="2991112"/>
                </a:moveTo>
                <a:cubicBezTo>
                  <a:pt x="1794693" y="2991076"/>
                  <a:pt x="1793320" y="2991084"/>
                  <a:pt x="1791956" y="2991138"/>
                </a:cubicBezTo>
                <a:cubicBezTo>
                  <a:pt x="1757657" y="2992470"/>
                  <a:pt x="1730943" y="3021039"/>
                  <a:pt x="1732297" y="3054948"/>
                </a:cubicBezTo>
                <a:cubicBezTo>
                  <a:pt x="1732749" y="3080035"/>
                  <a:pt x="1747766" y="3102624"/>
                  <a:pt x="1770879" y="3112990"/>
                </a:cubicBezTo>
                <a:cubicBezTo>
                  <a:pt x="1803959" y="3127828"/>
                  <a:pt x="1842934" y="3113344"/>
                  <a:pt x="1857943" y="3080641"/>
                </a:cubicBezTo>
                <a:lnTo>
                  <a:pt x="1821781" y="3076933"/>
                </a:lnTo>
                <a:cubicBezTo>
                  <a:pt x="1817229" y="3083448"/>
                  <a:pt x="1810181" y="3087829"/>
                  <a:pt x="1802269" y="3089046"/>
                </a:cubicBezTo>
                <a:cubicBezTo>
                  <a:pt x="1786368" y="3091493"/>
                  <a:pt x="1771474" y="3080733"/>
                  <a:pt x="1768997" y="3065013"/>
                </a:cubicBezTo>
                <a:lnTo>
                  <a:pt x="1860353" y="3065013"/>
                </a:lnTo>
                <a:lnTo>
                  <a:pt x="1860353" y="3063689"/>
                </a:lnTo>
                <a:cubicBezTo>
                  <a:pt x="1860353" y="3012832"/>
                  <a:pt x="1829808" y="2991112"/>
                  <a:pt x="1796056" y="2991112"/>
                </a:cubicBezTo>
                <a:close/>
                <a:moveTo>
                  <a:pt x="1574215" y="2991111"/>
                </a:moveTo>
                <a:cubicBezTo>
                  <a:pt x="1555692" y="2991390"/>
                  <a:pt x="1537573" y="2996507"/>
                  <a:pt x="1521700" y="3005944"/>
                </a:cubicBezTo>
                <a:lnTo>
                  <a:pt x="1535364" y="3031902"/>
                </a:lnTo>
                <a:cubicBezTo>
                  <a:pt x="1546618" y="3025290"/>
                  <a:pt x="1559283" y="3021388"/>
                  <a:pt x="1572342" y="3020512"/>
                </a:cubicBezTo>
                <a:cubicBezTo>
                  <a:pt x="1585738" y="3020512"/>
                  <a:pt x="1592699" y="3026075"/>
                  <a:pt x="1592699" y="3034816"/>
                </a:cubicBezTo>
                <a:lnTo>
                  <a:pt x="1592699" y="3036140"/>
                </a:lnTo>
                <a:cubicBezTo>
                  <a:pt x="1592699" y="3040643"/>
                  <a:pt x="1590020" y="3043292"/>
                  <a:pt x="1584124" y="3043292"/>
                </a:cubicBezTo>
                <a:lnTo>
                  <a:pt x="1560013" y="3043292"/>
                </a:lnTo>
                <a:cubicBezTo>
                  <a:pt x="1532685" y="3043292"/>
                  <a:pt x="1515545" y="3057595"/>
                  <a:pt x="1515545" y="3080640"/>
                </a:cubicBezTo>
                <a:cubicBezTo>
                  <a:pt x="1515555" y="3081010"/>
                  <a:pt x="1515574" y="3081380"/>
                  <a:pt x="1515603" y="3081750"/>
                </a:cubicBezTo>
                <a:cubicBezTo>
                  <a:pt x="1517081" y="3103663"/>
                  <a:pt x="1536247" y="3120244"/>
                  <a:pt x="1558409" y="3118782"/>
                </a:cubicBezTo>
                <a:cubicBezTo>
                  <a:pt x="1571536" y="3119591"/>
                  <a:pt x="1584259" y="3114183"/>
                  <a:pt x="1592699" y="3104214"/>
                </a:cubicBezTo>
                <a:lnTo>
                  <a:pt x="1592699" y="3115604"/>
                </a:lnTo>
                <a:lnTo>
                  <a:pt x="1627527" y="3115604"/>
                </a:lnTo>
                <a:lnTo>
                  <a:pt x="1627527" y="3035875"/>
                </a:lnTo>
                <a:cubicBezTo>
                  <a:pt x="1627527" y="3003825"/>
                  <a:pt x="1602081" y="2991111"/>
                  <a:pt x="1574215" y="2991111"/>
                </a:cubicBezTo>
                <a:close/>
                <a:moveTo>
                  <a:pt x="1153574" y="2991111"/>
                </a:moveTo>
                <a:cubicBezTo>
                  <a:pt x="1135053" y="2991390"/>
                  <a:pt x="1116936" y="2996508"/>
                  <a:pt x="1101062" y="3005944"/>
                </a:cubicBezTo>
                <a:lnTo>
                  <a:pt x="1114726" y="3031902"/>
                </a:lnTo>
                <a:cubicBezTo>
                  <a:pt x="1125976" y="3025290"/>
                  <a:pt x="1138641" y="3021388"/>
                  <a:pt x="1151699" y="3020512"/>
                </a:cubicBezTo>
                <a:cubicBezTo>
                  <a:pt x="1165095" y="3020512"/>
                  <a:pt x="1172060" y="3026075"/>
                  <a:pt x="1172060" y="3034816"/>
                </a:cubicBezTo>
                <a:lnTo>
                  <a:pt x="1172060" y="3036140"/>
                </a:lnTo>
                <a:cubicBezTo>
                  <a:pt x="1172060" y="3040643"/>
                  <a:pt x="1169381" y="3043292"/>
                  <a:pt x="1163487" y="3043292"/>
                </a:cubicBezTo>
                <a:lnTo>
                  <a:pt x="1139375" y="3043292"/>
                </a:lnTo>
                <a:cubicBezTo>
                  <a:pt x="1112046" y="3043292"/>
                  <a:pt x="1094901" y="3057595"/>
                  <a:pt x="1094901" y="3080640"/>
                </a:cubicBezTo>
                <a:cubicBezTo>
                  <a:pt x="1094915" y="3081010"/>
                  <a:pt x="1094936" y="3081379"/>
                  <a:pt x="1094960" y="3081749"/>
                </a:cubicBezTo>
                <a:cubicBezTo>
                  <a:pt x="1096437" y="3103662"/>
                  <a:pt x="1115603" y="3120243"/>
                  <a:pt x="1137766" y="3118782"/>
                </a:cubicBezTo>
                <a:cubicBezTo>
                  <a:pt x="1150890" y="3119592"/>
                  <a:pt x="1163622" y="3114184"/>
                  <a:pt x="1172060" y="3104214"/>
                </a:cubicBezTo>
                <a:lnTo>
                  <a:pt x="1172060" y="3115604"/>
                </a:lnTo>
                <a:lnTo>
                  <a:pt x="1206890" y="3115604"/>
                </a:lnTo>
                <a:lnTo>
                  <a:pt x="1206890" y="3035875"/>
                </a:lnTo>
                <a:cubicBezTo>
                  <a:pt x="1206890" y="3003825"/>
                  <a:pt x="1181438" y="2991111"/>
                  <a:pt x="1153574" y="2991111"/>
                </a:cubicBezTo>
                <a:close/>
                <a:moveTo>
                  <a:pt x="568575" y="2954429"/>
                </a:moveTo>
                <a:cubicBezTo>
                  <a:pt x="555414" y="2999156"/>
                  <a:pt x="555406" y="3046664"/>
                  <a:pt x="568549" y="3091396"/>
                </a:cubicBezTo>
                <a:cubicBezTo>
                  <a:pt x="587170" y="3093621"/>
                  <a:pt x="606017" y="3093184"/>
                  <a:pt x="624511" y="3090097"/>
                </a:cubicBezTo>
                <a:cubicBezTo>
                  <a:pt x="610287" y="3052610"/>
                  <a:pt x="608324" y="3011654"/>
                  <a:pt x="618898" y="2973004"/>
                </a:cubicBezTo>
                <a:cubicBezTo>
                  <a:pt x="620492" y="2967123"/>
                  <a:pt x="622369" y="2961366"/>
                  <a:pt x="624479" y="2955725"/>
                </a:cubicBezTo>
                <a:cubicBezTo>
                  <a:pt x="606004" y="2952645"/>
                  <a:pt x="587176" y="2952208"/>
                  <a:pt x="568575" y="2954429"/>
                </a:cubicBezTo>
                <a:close/>
                <a:moveTo>
                  <a:pt x="1659953" y="2948201"/>
                </a:moveTo>
                <a:lnTo>
                  <a:pt x="1659953" y="2994290"/>
                </a:lnTo>
                <a:lnTo>
                  <a:pt x="1640662" y="2994290"/>
                </a:lnTo>
                <a:lnTo>
                  <a:pt x="1640662" y="3023426"/>
                </a:lnTo>
                <a:lnTo>
                  <a:pt x="1659953" y="3023426"/>
                </a:lnTo>
                <a:lnTo>
                  <a:pt x="1659953" y="3089911"/>
                </a:lnTo>
                <a:cubicBezTo>
                  <a:pt x="1659953" y="3114280"/>
                  <a:pt x="1677900" y="3117194"/>
                  <a:pt x="1695318" y="3117194"/>
                </a:cubicBezTo>
                <a:cubicBezTo>
                  <a:pt x="1705497" y="3117194"/>
                  <a:pt x="1722377" y="3115604"/>
                  <a:pt x="1722377" y="3115604"/>
                </a:cubicBezTo>
                <a:lnTo>
                  <a:pt x="1722377" y="3086203"/>
                </a:lnTo>
                <a:cubicBezTo>
                  <a:pt x="1722377" y="3086203"/>
                  <a:pt x="1715137" y="3086998"/>
                  <a:pt x="1706303" y="3086998"/>
                </a:cubicBezTo>
                <a:cubicBezTo>
                  <a:pt x="1700945" y="3086998"/>
                  <a:pt x="1694780" y="3085938"/>
                  <a:pt x="1694780" y="3078256"/>
                </a:cubicBezTo>
                <a:lnTo>
                  <a:pt x="1694780" y="3023426"/>
                </a:lnTo>
                <a:lnTo>
                  <a:pt x="1721302" y="3023426"/>
                </a:lnTo>
                <a:lnTo>
                  <a:pt x="1721302" y="2994290"/>
                </a:lnTo>
                <a:lnTo>
                  <a:pt x="1694780" y="2994290"/>
                </a:lnTo>
                <a:lnTo>
                  <a:pt x="1694780" y="2948201"/>
                </a:lnTo>
                <a:close/>
                <a:moveTo>
                  <a:pt x="1884617" y="2930355"/>
                </a:moveTo>
                <a:lnTo>
                  <a:pt x="1884617" y="2963335"/>
                </a:lnTo>
                <a:lnTo>
                  <a:pt x="1893998" y="2963335"/>
                </a:lnTo>
                <a:lnTo>
                  <a:pt x="1893998" y="2944492"/>
                </a:lnTo>
                <a:lnTo>
                  <a:pt x="1898291" y="2956270"/>
                </a:lnTo>
                <a:lnTo>
                  <a:pt x="1905819" y="2956270"/>
                </a:lnTo>
                <a:lnTo>
                  <a:pt x="1910111" y="2944492"/>
                </a:lnTo>
                <a:lnTo>
                  <a:pt x="1910111" y="2963335"/>
                </a:lnTo>
                <a:lnTo>
                  <a:pt x="1919685" y="2963335"/>
                </a:lnTo>
                <a:lnTo>
                  <a:pt x="1919685" y="2930355"/>
                </a:lnTo>
                <a:lnTo>
                  <a:pt x="1907566" y="2930355"/>
                </a:lnTo>
                <a:lnTo>
                  <a:pt x="1902362" y="2944114"/>
                </a:lnTo>
                <a:lnTo>
                  <a:pt x="1897494" y="2930355"/>
                </a:lnTo>
                <a:close/>
                <a:moveTo>
                  <a:pt x="1850683" y="2930355"/>
                </a:moveTo>
                <a:lnTo>
                  <a:pt x="1850683" y="2938929"/>
                </a:lnTo>
                <a:lnTo>
                  <a:pt x="1860074" y="2938929"/>
                </a:lnTo>
                <a:lnTo>
                  <a:pt x="1860074" y="2963335"/>
                </a:lnTo>
                <a:lnTo>
                  <a:pt x="1869839" y="2963335"/>
                </a:lnTo>
                <a:lnTo>
                  <a:pt x="1869839" y="2938929"/>
                </a:lnTo>
                <a:lnTo>
                  <a:pt x="1879230" y="2938929"/>
                </a:lnTo>
                <a:lnTo>
                  <a:pt x="1879230" y="2930355"/>
                </a:lnTo>
                <a:close/>
                <a:moveTo>
                  <a:pt x="1352105" y="2930189"/>
                </a:moveTo>
                <a:cubicBezTo>
                  <a:pt x="1339759" y="2930284"/>
                  <a:pt x="1329816" y="2940233"/>
                  <a:pt x="1329868" y="2952439"/>
                </a:cubicBezTo>
                <a:cubicBezTo>
                  <a:pt x="1329940" y="2964552"/>
                  <a:pt x="1339855" y="2974355"/>
                  <a:pt x="1352108" y="2974427"/>
                </a:cubicBezTo>
                <a:cubicBezTo>
                  <a:pt x="1364463" y="2974498"/>
                  <a:pt x="1374538" y="2964654"/>
                  <a:pt x="1374610" y="2952439"/>
                </a:cubicBezTo>
                <a:cubicBezTo>
                  <a:pt x="1374610" y="2952414"/>
                  <a:pt x="1374610" y="2952388"/>
                  <a:pt x="1374610" y="2952364"/>
                </a:cubicBezTo>
                <a:cubicBezTo>
                  <a:pt x="1374589" y="2940096"/>
                  <a:pt x="1364513" y="2930168"/>
                  <a:pt x="1352105" y="2930189"/>
                </a:cubicBezTo>
                <a:close/>
                <a:moveTo>
                  <a:pt x="1041583" y="2930189"/>
                </a:moveTo>
                <a:lnTo>
                  <a:pt x="1041583" y="3115604"/>
                </a:lnTo>
                <a:lnTo>
                  <a:pt x="1076143" y="3115604"/>
                </a:lnTo>
                <a:lnTo>
                  <a:pt x="1076143" y="2930189"/>
                </a:lnTo>
                <a:close/>
                <a:moveTo>
                  <a:pt x="925239" y="2926990"/>
                </a:moveTo>
                <a:cubicBezTo>
                  <a:pt x="872870" y="2928183"/>
                  <a:pt x="831395" y="2971122"/>
                  <a:pt x="832602" y="3022897"/>
                </a:cubicBezTo>
                <a:cubicBezTo>
                  <a:pt x="832562" y="3024595"/>
                  <a:pt x="832569" y="3026292"/>
                  <a:pt x="832623" y="3027990"/>
                </a:cubicBezTo>
                <a:cubicBezTo>
                  <a:pt x="834261" y="3079753"/>
                  <a:pt x="878033" y="3120402"/>
                  <a:pt x="930389" y="3118783"/>
                </a:cubicBezTo>
                <a:cubicBezTo>
                  <a:pt x="973630" y="3119900"/>
                  <a:pt x="1011845" y="3091151"/>
                  <a:pt x="1022285" y="3049650"/>
                </a:cubicBezTo>
                <a:lnTo>
                  <a:pt x="981294" y="3049650"/>
                </a:lnTo>
                <a:cubicBezTo>
                  <a:pt x="974516" y="3071553"/>
                  <a:pt x="953525" y="3086080"/>
                  <a:pt x="930389" y="3084878"/>
                </a:cubicBezTo>
                <a:cubicBezTo>
                  <a:pt x="895026" y="3084878"/>
                  <a:pt x="871450" y="3058391"/>
                  <a:pt x="871450" y="3022897"/>
                </a:cubicBezTo>
                <a:cubicBezTo>
                  <a:pt x="871450" y="2987403"/>
                  <a:pt x="895026" y="2960916"/>
                  <a:pt x="930389" y="2960916"/>
                </a:cubicBezTo>
                <a:cubicBezTo>
                  <a:pt x="953525" y="2959714"/>
                  <a:pt x="974516" y="2974241"/>
                  <a:pt x="981294" y="2996144"/>
                </a:cubicBezTo>
                <a:lnTo>
                  <a:pt x="1022285" y="2996144"/>
                </a:lnTo>
                <a:cubicBezTo>
                  <a:pt x="1011846" y="2954642"/>
                  <a:pt x="973630" y="2925892"/>
                  <a:pt x="930389" y="2927011"/>
                </a:cubicBezTo>
                <a:cubicBezTo>
                  <a:pt x="928673" y="2926958"/>
                  <a:pt x="926955" y="2926951"/>
                  <a:pt x="925239" y="2926990"/>
                </a:cubicBezTo>
                <a:close/>
                <a:moveTo>
                  <a:pt x="651232" y="2907161"/>
                </a:moveTo>
                <a:cubicBezTo>
                  <a:pt x="639985" y="2921984"/>
                  <a:pt x="630973" y="2938343"/>
                  <a:pt x="624479" y="2955726"/>
                </a:cubicBezTo>
                <a:cubicBezTo>
                  <a:pt x="670541" y="2963471"/>
                  <a:pt x="712258" y="2987315"/>
                  <a:pt x="742033" y="3022914"/>
                </a:cubicBezTo>
                <a:cubicBezTo>
                  <a:pt x="712265" y="3058505"/>
                  <a:pt x="670562" y="3082346"/>
                  <a:pt x="624512" y="3090097"/>
                </a:cubicBezTo>
                <a:cubicBezTo>
                  <a:pt x="631041" y="3107476"/>
                  <a:pt x="640089" y="3123825"/>
                  <a:pt x="651373" y="3138631"/>
                </a:cubicBezTo>
                <a:cubicBezTo>
                  <a:pt x="697088" y="3127502"/>
                  <a:pt x="738657" y="3103746"/>
                  <a:pt x="771228" y="3070136"/>
                </a:cubicBezTo>
                <a:cubicBezTo>
                  <a:pt x="763842" y="3053091"/>
                  <a:pt x="754009" y="3037186"/>
                  <a:pt x="742033" y="3022914"/>
                </a:cubicBezTo>
                <a:cubicBezTo>
                  <a:pt x="754009" y="3008642"/>
                  <a:pt x="763841" y="2992738"/>
                  <a:pt x="771227" y="2975692"/>
                </a:cubicBezTo>
                <a:cubicBezTo>
                  <a:pt x="738623" y="2942047"/>
                  <a:pt x="697001" y="2918276"/>
                  <a:pt x="651232" y="2907161"/>
                </a:cubicBezTo>
                <a:close/>
                <a:moveTo>
                  <a:pt x="0" y="0"/>
                </a:moveTo>
                <a:lnTo>
                  <a:pt x="12192000" y="0"/>
                </a:lnTo>
                <a:lnTo>
                  <a:pt x="12192000" y="3429000"/>
                </a:lnTo>
                <a:lnTo>
                  <a:pt x="8040688" y="3429000"/>
                </a:lnTo>
                <a:lnTo>
                  <a:pt x="7499776" y="3429000"/>
                </a:lnTo>
                <a:lnTo>
                  <a:pt x="0" y="3429000"/>
                </a:lnTo>
                <a:close/>
              </a:path>
            </a:pathLst>
          </a:custGeom>
          <a:solidFill>
            <a:schemeClr val="tx1">
              <a:lumMod val="75000"/>
              <a:lumOff val="25000"/>
            </a:schemeClr>
          </a:solidFill>
          <a:ln>
            <a:noFill/>
          </a:ln>
        </p:spPr>
        <p:txBody>
          <a:bodyPr wrap="square" tIns="108000" anchor="t" anchorCtr="0">
            <a:noAutofit/>
          </a:bodyPr>
          <a:lstStyle>
            <a:lvl1pPr marL="0" indent="0" algn="ctr">
              <a:buNone/>
              <a:defRPr sz="1000">
                <a:solidFill>
                  <a:schemeClr val="accent1"/>
                </a:solidFill>
                <a:latin typeface="+mn-lt"/>
              </a:defRPr>
            </a:lvl1pPr>
          </a:lstStyle>
          <a:p>
            <a:pPr lvl="0"/>
            <a:r>
              <a:rPr lang="en-US"/>
              <a:t>Drag picture file here or click </a:t>
            </a:r>
            <a:r>
              <a:rPr lang="en-US" noProof="0"/>
              <a:t>center</a:t>
            </a:r>
            <a:r>
              <a:rPr lang="en-US"/>
              <a:t> icon to insert dark image</a:t>
            </a:r>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7" y="6348353"/>
            <a:ext cx="3292474" cy="215901"/>
          </a:xfrm>
        </p:spPr>
        <p:txBody>
          <a:bodyPr/>
          <a:lstStyle>
            <a:lvl1pPr>
              <a:defRPr>
                <a:solidFill>
                  <a:schemeClr val="bg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251885"/>
          </a:xfrm>
        </p:spPr>
        <p:txBody>
          <a:bodyPr/>
          <a:lstStyle>
            <a:lvl1pPr>
              <a:defRPr/>
            </a:lvl1pPr>
          </a:lstStyle>
          <a:p>
            <a:r>
              <a:rPr lang="en-US"/>
              <a:t>Header avenir demi</a:t>
            </a:r>
            <a:endParaRPr lang="en-GB"/>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7" name="Text Placeholder 12">
            <a:extLst>
              <a:ext uri="{FF2B5EF4-FFF2-40B4-BE49-F238E27FC236}">
                <a16:creationId xmlns:a16="http://schemas.microsoft.com/office/drawing/2014/main" id="{841E26EB-9911-0A6E-407B-8667159EEC13}"/>
              </a:ext>
            </a:extLst>
          </p:cNvPr>
          <p:cNvSpPr>
            <a:spLocks noGrp="1"/>
          </p:cNvSpPr>
          <p:nvPr>
            <p:ph type="body" sz="quarter" idx="14"/>
          </p:nvPr>
        </p:nvSpPr>
        <p:spPr>
          <a:xfrm>
            <a:off x="550863" y="1808164"/>
            <a:ext cx="3204000" cy="1441450"/>
          </a:xfrm>
        </p:spPr>
        <p:txBody>
          <a:bodyPr/>
          <a:lstStyle/>
          <a:p>
            <a:pPr lvl="0"/>
            <a:r>
              <a:rPr lang="en-US"/>
              <a:t>Click to edit Master text styles</a:t>
            </a:r>
          </a:p>
          <a:p>
            <a:pPr lvl="1"/>
            <a:r>
              <a:rPr lang="en-US"/>
              <a:t>Second level</a:t>
            </a:r>
          </a:p>
          <a:p>
            <a:pPr lvl="2"/>
            <a:r>
              <a:rPr lang="en-US"/>
              <a:t>Third level</a:t>
            </a:r>
          </a:p>
        </p:txBody>
      </p:sp>
      <p:sp>
        <p:nvSpPr>
          <p:cNvPr id="10" name="Text Placeholder 12">
            <a:extLst>
              <a:ext uri="{FF2B5EF4-FFF2-40B4-BE49-F238E27FC236}">
                <a16:creationId xmlns:a16="http://schemas.microsoft.com/office/drawing/2014/main" id="{45BEBC43-8186-4AEB-F4CF-271F011B0368}"/>
              </a:ext>
            </a:extLst>
          </p:cNvPr>
          <p:cNvSpPr>
            <a:spLocks noGrp="1"/>
          </p:cNvSpPr>
          <p:nvPr>
            <p:ph type="body" sz="quarter" idx="15"/>
          </p:nvPr>
        </p:nvSpPr>
        <p:spPr>
          <a:xfrm>
            <a:off x="4295776" y="1808164"/>
            <a:ext cx="3204000" cy="1441450"/>
          </a:xfrm>
        </p:spPr>
        <p:txBody>
          <a:bodyPr/>
          <a:lstStyle/>
          <a:p>
            <a:pPr lvl="0"/>
            <a:r>
              <a:rPr lang="en-US"/>
              <a:t>Click to edit Master text styles</a:t>
            </a:r>
          </a:p>
          <a:p>
            <a:pPr lvl="1"/>
            <a:r>
              <a:rPr lang="en-US"/>
              <a:t>Second level</a:t>
            </a:r>
          </a:p>
          <a:p>
            <a:pPr lvl="2"/>
            <a:r>
              <a:rPr lang="en-US"/>
              <a:t>Third level</a:t>
            </a:r>
          </a:p>
        </p:txBody>
      </p:sp>
      <p:sp>
        <p:nvSpPr>
          <p:cNvPr id="11" name="Text Placeholder 12">
            <a:extLst>
              <a:ext uri="{FF2B5EF4-FFF2-40B4-BE49-F238E27FC236}">
                <a16:creationId xmlns:a16="http://schemas.microsoft.com/office/drawing/2014/main" id="{042CC176-3CD8-0372-5942-EAD056B059E7}"/>
              </a:ext>
            </a:extLst>
          </p:cNvPr>
          <p:cNvSpPr>
            <a:spLocks noGrp="1"/>
          </p:cNvSpPr>
          <p:nvPr>
            <p:ph type="body" sz="quarter" idx="16"/>
          </p:nvPr>
        </p:nvSpPr>
        <p:spPr>
          <a:xfrm>
            <a:off x="8040687" y="1808164"/>
            <a:ext cx="3204000" cy="1441450"/>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8656589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itrus/mint pattern - Black quote">
    <p:bg>
      <p:bgPr>
        <a:solidFill>
          <a:schemeClr val="bg1"/>
        </a:solidFill>
        <a:effectLst/>
      </p:bgPr>
    </p:bg>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25659636-78CF-6EFF-68F5-52F1AB62035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9200" y="6348353"/>
            <a:ext cx="215899" cy="215900"/>
          </a:xfrm>
        </p:spPr>
        <p:txBody>
          <a:bodyPr/>
          <a:lstStyle>
            <a:lvl1pPr>
              <a:defRPr>
                <a:solidFill>
                  <a:schemeClr val="tx1"/>
                </a:solidFill>
              </a:defRPr>
            </a:lvl1pPr>
          </a:lstStyle>
          <a:p>
            <a:fld id="{F59CD943-D024-467A-B36E-F11E1285ED75}" type="slidenum">
              <a:rPr lang="en-GB" smtClean="0"/>
              <a:pPr/>
              <a:t>‹#›</a:t>
            </a:fld>
            <a:endParaRPr lang="en-GB"/>
          </a:p>
        </p:txBody>
      </p:sp>
      <p:sp>
        <p:nvSpPr>
          <p:cNvPr id="2" name="Text Placeholder 12">
            <a:extLst>
              <a:ext uri="{FF2B5EF4-FFF2-40B4-BE49-F238E27FC236}">
                <a16:creationId xmlns:a16="http://schemas.microsoft.com/office/drawing/2014/main" id="{51D1D711-9691-BEE7-727A-A074BC47FEA0}"/>
              </a:ext>
            </a:extLst>
          </p:cNvPr>
          <p:cNvSpPr>
            <a:spLocks noGrp="1"/>
          </p:cNvSpPr>
          <p:nvPr>
            <p:ph type="body" sz="quarter" idx="28" hasCustomPrompt="1"/>
          </p:nvPr>
        </p:nvSpPr>
        <p:spPr>
          <a:xfrm>
            <a:off x="1487488" y="4286568"/>
            <a:ext cx="3600450" cy="259239"/>
          </a:xfrm>
          <a:noFill/>
        </p:spPr>
        <p:txBody>
          <a:bodyPr/>
          <a:lstStyle>
            <a:lvl1pPr marL="0" indent="0" algn="l">
              <a:buNone/>
              <a:defRPr sz="16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6" name="Text Placeholder 12">
            <a:extLst>
              <a:ext uri="{FF2B5EF4-FFF2-40B4-BE49-F238E27FC236}">
                <a16:creationId xmlns:a16="http://schemas.microsoft.com/office/drawing/2014/main" id="{0EFA41F3-CF2B-F07E-F3DA-DC0602B25A9D}"/>
              </a:ext>
            </a:extLst>
          </p:cNvPr>
          <p:cNvSpPr>
            <a:spLocks noGrp="1"/>
          </p:cNvSpPr>
          <p:nvPr>
            <p:ph type="body" sz="quarter" idx="29" hasCustomPrompt="1"/>
          </p:nvPr>
        </p:nvSpPr>
        <p:spPr>
          <a:xfrm>
            <a:off x="1487488" y="4543748"/>
            <a:ext cx="3600450" cy="259239"/>
          </a:xfrm>
          <a:noFill/>
        </p:spPr>
        <p:txBody>
          <a:bodyPr/>
          <a:lstStyle>
            <a:lvl1pPr marL="0" indent="0" algn="l">
              <a:buNone/>
              <a:defRPr sz="1500">
                <a:solidFill>
                  <a:schemeClr val="tx1"/>
                </a:solidFill>
                <a:latin typeface="+mn-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Company name</a:t>
            </a:r>
          </a:p>
        </p:txBody>
      </p:sp>
      <p:sp>
        <p:nvSpPr>
          <p:cNvPr id="18" name="Text Placeholder 9">
            <a:extLst>
              <a:ext uri="{FF2B5EF4-FFF2-40B4-BE49-F238E27FC236}">
                <a16:creationId xmlns:a16="http://schemas.microsoft.com/office/drawing/2014/main" id="{6A6F47D2-4DE8-3A51-AB24-AA4D5A7F13E9}"/>
              </a:ext>
            </a:extLst>
          </p:cNvPr>
          <p:cNvSpPr>
            <a:spLocks noGrp="1"/>
          </p:cNvSpPr>
          <p:nvPr>
            <p:ph type="body" sz="quarter" idx="26" hasCustomPrompt="1"/>
          </p:nvPr>
        </p:nvSpPr>
        <p:spPr>
          <a:xfrm>
            <a:off x="1487488" y="2979813"/>
            <a:ext cx="8280400" cy="1107996"/>
          </a:xfrm>
          <a:prstGeom prst="rect">
            <a:avLst/>
          </a:prstGeom>
          <a:noFill/>
        </p:spPr>
        <p:txBody>
          <a:bodyPr wrap="square" lIns="0" tIns="0" rIns="0" bIns="0" anchor="b" anchorCtr="0">
            <a:spAutoFit/>
          </a:bodyPr>
          <a:lstStyle>
            <a:lvl1pPr marL="0" indent="0" algn="l">
              <a:buNone/>
              <a:tabLst/>
              <a:defRPr sz="3600">
                <a:solidFill>
                  <a:schemeClr val="tx1"/>
                </a:solidFill>
                <a:latin typeface="+mj-lt"/>
              </a:defRPr>
            </a:lvl1pPr>
          </a:lstStyle>
          <a:p>
            <a:pPr lvl="0"/>
            <a:r>
              <a:rPr lang="en-US"/>
              <a:t>“Quote copy, resize textbox horizontally as required”.</a:t>
            </a:r>
            <a:endParaRPr lang="en-GB"/>
          </a:p>
        </p:txBody>
      </p:sp>
      <p:pic>
        <p:nvPicPr>
          <p:cNvPr id="7" name="Graphic 6">
            <a:extLst>
              <a:ext uri="{FF2B5EF4-FFF2-40B4-BE49-F238E27FC236}">
                <a16:creationId xmlns:a16="http://schemas.microsoft.com/office/drawing/2014/main" id="{861E0A2F-248F-8E7B-8F36-71FDC08C0E7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50863" y="6336448"/>
            <a:ext cx="1381417" cy="233480"/>
          </a:xfrm>
          <a:prstGeom prst="rect">
            <a:avLst/>
          </a:prstGeom>
        </p:spPr>
      </p:pic>
    </p:spTree>
    <p:extLst>
      <p:ext uri="{BB962C8B-B14F-4D97-AF65-F5344CB8AC3E}">
        <p14:creationId xmlns:p14="http://schemas.microsoft.com/office/powerpoint/2010/main" val="35121616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ngle Textbo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11090274"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11090274" cy="336973"/>
          </a:xfrm>
          <a:prstGeom prst="rect">
            <a:avLst/>
          </a:prstGeom>
        </p:spPr>
        <p:txBody>
          <a:bodyPr lIns="0" tIns="0" rIns="0" bIns="0">
            <a:noAutofit/>
          </a:bodyPr>
          <a:lstStyle>
            <a:lvl1pPr marL="0" indent="0">
              <a:lnSpc>
                <a:spcPct val="10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8281986" cy="4321175"/>
          </a:xfrm>
        </p:spPr>
        <p:txBody>
          <a:bodyPr/>
          <a:lstStyle>
            <a:lvl3pPr>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7077691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Full Light Image - Quot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B24388A-E89F-1465-CB42-4F8D1E8B7BCE}"/>
              </a:ext>
            </a:extLst>
          </p:cNvPr>
          <p:cNvSpPr/>
          <p:nvPr userDrawn="1"/>
        </p:nvSpPr>
        <p:spPr>
          <a:xfrm>
            <a:off x="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icture Placeholder 5">
            <a:extLst>
              <a:ext uri="{FF2B5EF4-FFF2-40B4-BE49-F238E27FC236}">
                <a16:creationId xmlns:a16="http://schemas.microsoft.com/office/drawing/2014/main" id="{E7B1683A-D886-9B6C-2690-189E65E5E8DC}"/>
              </a:ext>
            </a:extLst>
          </p:cNvPr>
          <p:cNvSpPr>
            <a:spLocks noGrp="1"/>
          </p:cNvSpPr>
          <p:nvPr>
            <p:ph type="pic" sz="quarter" idx="20" hasCustomPrompt="1"/>
          </p:nvPr>
        </p:nvSpPr>
        <p:spPr>
          <a:xfrm>
            <a:off x="0" y="0"/>
            <a:ext cx="12192000" cy="6858000"/>
          </a:xfrm>
          <a:custGeom>
            <a:avLst/>
            <a:gdLst>
              <a:gd name="connsiteX0" fmla="*/ 1592699 w 12192000"/>
              <a:gd name="connsiteY0" fmla="*/ 6492423 h 6858000"/>
              <a:gd name="connsiteX1" fmla="*/ 1592699 w 12192000"/>
              <a:gd name="connsiteY1" fmla="*/ 6501164 h 6858000"/>
              <a:gd name="connsiteX2" fmla="*/ 1592546 w 12192000"/>
              <a:gd name="connsiteY2" fmla="*/ 6504388 h 6858000"/>
              <a:gd name="connsiteX3" fmla="*/ 1568857 w 12192000"/>
              <a:gd name="connsiteY3" fmla="*/ 6522619 h 6858000"/>
              <a:gd name="connsiteX4" fmla="*/ 1551438 w 12192000"/>
              <a:gd name="connsiteY4" fmla="*/ 6508315 h 6858000"/>
              <a:gd name="connsiteX5" fmla="*/ 1568857 w 12192000"/>
              <a:gd name="connsiteY5" fmla="*/ 6495071 h 6858000"/>
              <a:gd name="connsiteX6" fmla="*/ 1581983 w 12192000"/>
              <a:gd name="connsiteY6" fmla="*/ 6495071 h 6858000"/>
              <a:gd name="connsiteX7" fmla="*/ 1592699 w 12192000"/>
              <a:gd name="connsiteY7" fmla="*/ 6492423 h 6858000"/>
              <a:gd name="connsiteX8" fmla="*/ 1172060 w 12192000"/>
              <a:gd name="connsiteY8" fmla="*/ 6492423 h 6858000"/>
              <a:gd name="connsiteX9" fmla="*/ 1172060 w 12192000"/>
              <a:gd name="connsiteY9" fmla="*/ 6501164 h 6858000"/>
              <a:gd name="connsiteX10" fmla="*/ 1171906 w 12192000"/>
              <a:gd name="connsiteY10" fmla="*/ 6504389 h 6858000"/>
              <a:gd name="connsiteX11" fmla="*/ 1148216 w 12192000"/>
              <a:gd name="connsiteY11" fmla="*/ 6522619 h 6858000"/>
              <a:gd name="connsiteX12" fmla="*/ 1130802 w 12192000"/>
              <a:gd name="connsiteY12" fmla="*/ 6508315 h 6858000"/>
              <a:gd name="connsiteX13" fmla="*/ 1148216 w 12192000"/>
              <a:gd name="connsiteY13" fmla="*/ 6495071 h 6858000"/>
              <a:gd name="connsiteX14" fmla="*/ 1161343 w 12192000"/>
              <a:gd name="connsiteY14" fmla="*/ 6495071 h 6858000"/>
              <a:gd name="connsiteX15" fmla="*/ 1172060 w 12192000"/>
              <a:gd name="connsiteY15" fmla="*/ 6492423 h 6858000"/>
              <a:gd name="connsiteX16" fmla="*/ 1796056 w 12192000"/>
              <a:gd name="connsiteY16" fmla="*/ 6448718 h 6858000"/>
              <a:gd name="connsiteX17" fmla="*/ 1823115 w 12192000"/>
              <a:gd name="connsiteY17" fmla="*/ 6470969 h 6858000"/>
              <a:gd name="connsiteX18" fmla="*/ 1768190 w 12192000"/>
              <a:gd name="connsiteY18" fmla="*/ 6470969 h 6858000"/>
              <a:gd name="connsiteX19" fmla="*/ 1796056 w 12192000"/>
              <a:gd name="connsiteY19" fmla="*/ 6448718 h 6858000"/>
              <a:gd name="connsiteX20" fmla="*/ 1385331 w 12192000"/>
              <a:gd name="connsiteY20" fmla="*/ 6423290 h 6858000"/>
              <a:gd name="connsiteX21" fmla="*/ 1427128 w 12192000"/>
              <a:gd name="connsiteY21" fmla="*/ 6544605 h 6858000"/>
              <a:gd name="connsiteX22" fmla="*/ 1470261 w 12192000"/>
              <a:gd name="connsiteY22" fmla="*/ 6544605 h 6858000"/>
              <a:gd name="connsiteX23" fmla="*/ 1513932 w 12192000"/>
              <a:gd name="connsiteY23" fmla="*/ 6423290 h 6858000"/>
              <a:gd name="connsiteX24" fmla="*/ 1477223 w 12192000"/>
              <a:gd name="connsiteY24" fmla="*/ 6423290 h 6858000"/>
              <a:gd name="connsiteX25" fmla="*/ 1449367 w 12192000"/>
              <a:gd name="connsiteY25" fmla="*/ 6507521 h 6858000"/>
              <a:gd name="connsiteX26" fmla="*/ 1423104 w 12192000"/>
              <a:gd name="connsiteY26" fmla="*/ 6423290 h 6858000"/>
              <a:gd name="connsiteX27" fmla="*/ 1319153 w 12192000"/>
              <a:gd name="connsiteY27" fmla="*/ 6423290 h 6858000"/>
              <a:gd name="connsiteX28" fmla="*/ 1319153 w 12192000"/>
              <a:gd name="connsiteY28" fmla="*/ 6452426 h 6858000"/>
              <a:gd name="connsiteX29" fmla="*/ 1336299 w 12192000"/>
              <a:gd name="connsiteY29" fmla="*/ 6452426 h 6858000"/>
              <a:gd name="connsiteX30" fmla="*/ 1336299 w 12192000"/>
              <a:gd name="connsiteY30" fmla="*/ 6544604 h 6858000"/>
              <a:gd name="connsiteX31" fmla="*/ 1371127 w 12192000"/>
              <a:gd name="connsiteY31" fmla="*/ 6544604 h 6858000"/>
              <a:gd name="connsiteX32" fmla="*/ 1371127 w 12192000"/>
              <a:gd name="connsiteY32" fmla="*/ 6423290 h 6858000"/>
              <a:gd name="connsiteX33" fmla="*/ 1293161 w 12192000"/>
              <a:gd name="connsiteY33" fmla="*/ 6421700 h 6858000"/>
              <a:gd name="connsiteX34" fmla="*/ 1261280 w 12192000"/>
              <a:gd name="connsiteY34" fmla="*/ 6442626 h 6858000"/>
              <a:gd name="connsiteX35" fmla="*/ 1261280 w 12192000"/>
              <a:gd name="connsiteY35" fmla="*/ 6423290 h 6858000"/>
              <a:gd name="connsiteX36" fmla="*/ 1227522 w 12192000"/>
              <a:gd name="connsiteY36" fmla="*/ 6423290 h 6858000"/>
              <a:gd name="connsiteX37" fmla="*/ 1227522 w 12192000"/>
              <a:gd name="connsiteY37" fmla="*/ 6544604 h 6858000"/>
              <a:gd name="connsiteX38" fmla="*/ 1262352 w 12192000"/>
              <a:gd name="connsiteY38" fmla="*/ 6544604 h 6858000"/>
              <a:gd name="connsiteX39" fmla="*/ 1262352 w 12192000"/>
              <a:gd name="connsiteY39" fmla="*/ 6486596 h 6858000"/>
              <a:gd name="connsiteX40" fmla="*/ 1288073 w 12192000"/>
              <a:gd name="connsiteY40" fmla="*/ 6457194 h 6858000"/>
              <a:gd name="connsiteX41" fmla="*/ 1302808 w 12192000"/>
              <a:gd name="connsiteY41" fmla="*/ 6457194 h 6858000"/>
              <a:gd name="connsiteX42" fmla="*/ 1302808 w 12192000"/>
              <a:gd name="connsiteY42" fmla="*/ 6422760 h 6858000"/>
              <a:gd name="connsiteX43" fmla="*/ 1293161 w 12192000"/>
              <a:gd name="connsiteY43" fmla="*/ 6421700 h 6858000"/>
              <a:gd name="connsiteX44" fmla="*/ 1796056 w 12192000"/>
              <a:gd name="connsiteY44" fmla="*/ 6420112 h 6858000"/>
              <a:gd name="connsiteX45" fmla="*/ 1791956 w 12192000"/>
              <a:gd name="connsiteY45" fmla="*/ 6420138 h 6858000"/>
              <a:gd name="connsiteX46" fmla="*/ 1732297 w 12192000"/>
              <a:gd name="connsiteY46" fmla="*/ 6483948 h 6858000"/>
              <a:gd name="connsiteX47" fmla="*/ 1770879 w 12192000"/>
              <a:gd name="connsiteY47" fmla="*/ 6541990 h 6858000"/>
              <a:gd name="connsiteX48" fmla="*/ 1857943 w 12192000"/>
              <a:gd name="connsiteY48" fmla="*/ 6509641 h 6858000"/>
              <a:gd name="connsiteX49" fmla="*/ 1821781 w 12192000"/>
              <a:gd name="connsiteY49" fmla="*/ 6505933 h 6858000"/>
              <a:gd name="connsiteX50" fmla="*/ 1802269 w 12192000"/>
              <a:gd name="connsiteY50" fmla="*/ 6518046 h 6858000"/>
              <a:gd name="connsiteX51" fmla="*/ 1768997 w 12192000"/>
              <a:gd name="connsiteY51" fmla="*/ 6494013 h 6858000"/>
              <a:gd name="connsiteX52" fmla="*/ 1860353 w 12192000"/>
              <a:gd name="connsiteY52" fmla="*/ 6494013 h 6858000"/>
              <a:gd name="connsiteX53" fmla="*/ 1860353 w 12192000"/>
              <a:gd name="connsiteY53" fmla="*/ 6492689 h 6858000"/>
              <a:gd name="connsiteX54" fmla="*/ 1796056 w 12192000"/>
              <a:gd name="connsiteY54" fmla="*/ 6420112 h 6858000"/>
              <a:gd name="connsiteX55" fmla="*/ 1574215 w 12192000"/>
              <a:gd name="connsiteY55" fmla="*/ 6420111 h 6858000"/>
              <a:gd name="connsiteX56" fmla="*/ 1521700 w 12192000"/>
              <a:gd name="connsiteY56" fmla="*/ 6434944 h 6858000"/>
              <a:gd name="connsiteX57" fmla="*/ 1535364 w 12192000"/>
              <a:gd name="connsiteY57" fmla="*/ 6460902 h 6858000"/>
              <a:gd name="connsiteX58" fmla="*/ 1572342 w 12192000"/>
              <a:gd name="connsiteY58" fmla="*/ 6449512 h 6858000"/>
              <a:gd name="connsiteX59" fmla="*/ 1592699 w 12192000"/>
              <a:gd name="connsiteY59" fmla="*/ 6463816 h 6858000"/>
              <a:gd name="connsiteX60" fmla="*/ 1592699 w 12192000"/>
              <a:gd name="connsiteY60" fmla="*/ 6465140 h 6858000"/>
              <a:gd name="connsiteX61" fmla="*/ 1584124 w 12192000"/>
              <a:gd name="connsiteY61" fmla="*/ 6472292 h 6858000"/>
              <a:gd name="connsiteX62" fmla="*/ 1560013 w 12192000"/>
              <a:gd name="connsiteY62" fmla="*/ 6472292 h 6858000"/>
              <a:gd name="connsiteX63" fmla="*/ 1515545 w 12192000"/>
              <a:gd name="connsiteY63" fmla="*/ 6509640 h 6858000"/>
              <a:gd name="connsiteX64" fmla="*/ 1515603 w 12192000"/>
              <a:gd name="connsiteY64" fmla="*/ 6510750 h 6858000"/>
              <a:gd name="connsiteX65" fmla="*/ 1558409 w 12192000"/>
              <a:gd name="connsiteY65" fmla="*/ 6547782 h 6858000"/>
              <a:gd name="connsiteX66" fmla="*/ 1592699 w 12192000"/>
              <a:gd name="connsiteY66" fmla="*/ 6533214 h 6858000"/>
              <a:gd name="connsiteX67" fmla="*/ 1592699 w 12192000"/>
              <a:gd name="connsiteY67" fmla="*/ 6544604 h 6858000"/>
              <a:gd name="connsiteX68" fmla="*/ 1627527 w 12192000"/>
              <a:gd name="connsiteY68" fmla="*/ 6544604 h 6858000"/>
              <a:gd name="connsiteX69" fmla="*/ 1627527 w 12192000"/>
              <a:gd name="connsiteY69" fmla="*/ 6464875 h 6858000"/>
              <a:gd name="connsiteX70" fmla="*/ 1574215 w 12192000"/>
              <a:gd name="connsiteY70" fmla="*/ 6420111 h 6858000"/>
              <a:gd name="connsiteX71" fmla="*/ 1153574 w 12192000"/>
              <a:gd name="connsiteY71" fmla="*/ 6420111 h 6858000"/>
              <a:gd name="connsiteX72" fmla="*/ 1101062 w 12192000"/>
              <a:gd name="connsiteY72" fmla="*/ 6434944 h 6858000"/>
              <a:gd name="connsiteX73" fmla="*/ 1114726 w 12192000"/>
              <a:gd name="connsiteY73" fmla="*/ 6460902 h 6858000"/>
              <a:gd name="connsiteX74" fmla="*/ 1151699 w 12192000"/>
              <a:gd name="connsiteY74" fmla="*/ 6449512 h 6858000"/>
              <a:gd name="connsiteX75" fmla="*/ 1172060 w 12192000"/>
              <a:gd name="connsiteY75" fmla="*/ 6463816 h 6858000"/>
              <a:gd name="connsiteX76" fmla="*/ 1172060 w 12192000"/>
              <a:gd name="connsiteY76" fmla="*/ 6465140 h 6858000"/>
              <a:gd name="connsiteX77" fmla="*/ 1163487 w 12192000"/>
              <a:gd name="connsiteY77" fmla="*/ 6472292 h 6858000"/>
              <a:gd name="connsiteX78" fmla="*/ 1139375 w 12192000"/>
              <a:gd name="connsiteY78" fmla="*/ 6472292 h 6858000"/>
              <a:gd name="connsiteX79" fmla="*/ 1094901 w 12192000"/>
              <a:gd name="connsiteY79" fmla="*/ 6509640 h 6858000"/>
              <a:gd name="connsiteX80" fmla="*/ 1094960 w 12192000"/>
              <a:gd name="connsiteY80" fmla="*/ 6510749 h 6858000"/>
              <a:gd name="connsiteX81" fmla="*/ 1137766 w 12192000"/>
              <a:gd name="connsiteY81" fmla="*/ 6547782 h 6858000"/>
              <a:gd name="connsiteX82" fmla="*/ 1172060 w 12192000"/>
              <a:gd name="connsiteY82" fmla="*/ 6533214 h 6858000"/>
              <a:gd name="connsiteX83" fmla="*/ 1172060 w 12192000"/>
              <a:gd name="connsiteY83" fmla="*/ 6544604 h 6858000"/>
              <a:gd name="connsiteX84" fmla="*/ 1206890 w 12192000"/>
              <a:gd name="connsiteY84" fmla="*/ 6544604 h 6858000"/>
              <a:gd name="connsiteX85" fmla="*/ 1206890 w 12192000"/>
              <a:gd name="connsiteY85" fmla="*/ 6464875 h 6858000"/>
              <a:gd name="connsiteX86" fmla="*/ 1153574 w 12192000"/>
              <a:gd name="connsiteY86" fmla="*/ 6420111 h 6858000"/>
              <a:gd name="connsiteX87" fmla="*/ 568575 w 12192000"/>
              <a:gd name="connsiteY87" fmla="*/ 6383429 h 6858000"/>
              <a:gd name="connsiteX88" fmla="*/ 568549 w 12192000"/>
              <a:gd name="connsiteY88" fmla="*/ 6520396 h 6858000"/>
              <a:gd name="connsiteX89" fmla="*/ 624511 w 12192000"/>
              <a:gd name="connsiteY89" fmla="*/ 6519097 h 6858000"/>
              <a:gd name="connsiteX90" fmla="*/ 618898 w 12192000"/>
              <a:gd name="connsiteY90" fmla="*/ 6402004 h 6858000"/>
              <a:gd name="connsiteX91" fmla="*/ 624479 w 12192000"/>
              <a:gd name="connsiteY91" fmla="*/ 6384725 h 6858000"/>
              <a:gd name="connsiteX92" fmla="*/ 568575 w 12192000"/>
              <a:gd name="connsiteY92" fmla="*/ 6383429 h 6858000"/>
              <a:gd name="connsiteX93" fmla="*/ 1659953 w 12192000"/>
              <a:gd name="connsiteY93" fmla="*/ 6377201 h 6858000"/>
              <a:gd name="connsiteX94" fmla="*/ 1659953 w 12192000"/>
              <a:gd name="connsiteY94" fmla="*/ 6423290 h 6858000"/>
              <a:gd name="connsiteX95" fmla="*/ 1640662 w 12192000"/>
              <a:gd name="connsiteY95" fmla="*/ 6423290 h 6858000"/>
              <a:gd name="connsiteX96" fmla="*/ 1640662 w 12192000"/>
              <a:gd name="connsiteY96" fmla="*/ 6452426 h 6858000"/>
              <a:gd name="connsiteX97" fmla="*/ 1659953 w 12192000"/>
              <a:gd name="connsiteY97" fmla="*/ 6452426 h 6858000"/>
              <a:gd name="connsiteX98" fmla="*/ 1659953 w 12192000"/>
              <a:gd name="connsiteY98" fmla="*/ 6518911 h 6858000"/>
              <a:gd name="connsiteX99" fmla="*/ 1695318 w 12192000"/>
              <a:gd name="connsiteY99" fmla="*/ 6546194 h 6858000"/>
              <a:gd name="connsiteX100" fmla="*/ 1722377 w 12192000"/>
              <a:gd name="connsiteY100" fmla="*/ 6544604 h 6858000"/>
              <a:gd name="connsiteX101" fmla="*/ 1722377 w 12192000"/>
              <a:gd name="connsiteY101" fmla="*/ 6515203 h 6858000"/>
              <a:gd name="connsiteX102" fmla="*/ 1706303 w 12192000"/>
              <a:gd name="connsiteY102" fmla="*/ 6515998 h 6858000"/>
              <a:gd name="connsiteX103" fmla="*/ 1694780 w 12192000"/>
              <a:gd name="connsiteY103" fmla="*/ 6507256 h 6858000"/>
              <a:gd name="connsiteX104" fmla="*/ 1694780 w 12192000"/>
              <a:gd name="connsiteY104" fmla="*/ 6452426 h 6858000"/>
              <a:gd name="connsiteX105" fmla="*/ 1721302 w 12192000"/>
              <a:gd name="connsiteY105" fmla="*/ 6452426 h 6858000"/>
              <a:gd name="connsiteX106" fmla="*/ 1721302 w 12192000"/>
              <a:gd name="connsiteY106" fmla="*/ 6423290 h 6858000"/>
              <a:gd name="connsiteX107" fmla="*/ 1694780 w 12192000"/>
              <a:gd name="connsiteY107" fmla="*/ 6423290 h 6858000"/>
              <a:gd name="connsiteX108" fmla="*/ 1694780 w 12192000"/>
              <a:gd name="connsiteY108" fmla="*/ 6377201 h 6858000"/>
              <a:gd name="connsiteX109" fmla="*/ 1884617 w 12192000"/>
              <a:gd name="connsiteY109" fmla="*/ 6359355 h 6858000"/>
              <a:gd name="connsiteX110" fmla="*/ 1884617 w 12192000"/>
              <a:gd name="connsiteY110" fmla="*/ 6392335 h 6858000"/>
              <a:gd name="connsiteX111" fmla="*/ 1893998 w 12192000"/>
              <a:gd name="connsiteY111" fmla="*/ 6392335 h 6858000"/>
              <a:gd name="connsiteX112" fmla="*/ 1893998 w 12192000"/>
              <a:gd name="connsiteY112" fmla="*/ 6373492 h 6858000"/>
              <a:gd name="connsiteX113" fmla="*/ 1898291 w 12192000"/>
              <a:gd name="connsiteY113" fmla="*/ 6385270 h 6858000"/>
              <a:gd name="connsiteX114" fmla="*/ 1905819 w 12192000"/>
              <a:gd name="connsiteY114" fmla="*/ 6385270 h 6858000"/>
              <a:gd name="connsiteX115" fmla="*/ 1910111 w 12192000"/>
              <a:gd name="connsiteY115" fmla="*/ 6373492 h 6858000"/>
              <a:gd name="connsiteX116" fmla="*/ 1910111 w 12192000"/>
              <a:gd name="connsiteY116" fmla="*/ 6392335 h 6858000"/>
              <a:gd name="connsiteX117" fmla="*/ 1919685 w 12192000"/>
              <a:gd name="connsiteY117" fmla="*/ 6392335 h 6858000"/>
              <a:gd name="connsiteX118" fmla="*/ 1919685 w 12192000"/>
              <a:gd name="connsiteY118" fmla="*/ 6359355 h 6858000"/>
              <a:gd name="connsiteX119" fmla="*/ 1907566 w 12192000"/>
              <a:gd name="connsiteY119" fmla="*/ 6359355 h 6858000"/>
              <a:gd name="connsiteX120" fmla="*/ 1902362 w 12192000"/>
              <a:gd name="connsiteY120" fmla="*/ 6373114 h 6858000"/>
              <a:gd name="connsiteX121" fmla="*/ 1897494 w 12192000"/>
              <a:gd name="connsiteY121" fmla="*/ 6359355 h 6858000"/>
              <a:gd name="connsiteX122" fmla="*/ 1850683 w 12192000"/>
              <a:gd name="connsiteY122" fmla="*/ 6359355 h 6858000"/>
              <a:gd name="connsiteX123" fmla="*/ 1850683 w 12192000"/>
              <a:gd name="connsiteY123" fmla="*/ 6367929 h 6858000"/>
              <a:gd name="connsiteX124" fmla="*/ 1860074 w 12192000"/>
              <a:gd name="connsiteY124" fmla="*/ 6367929 h 6858000"/>
              <a:gd name="connsiteX125" fmla="*/ 1860074 w 12192000"/>
              <a:gd name="connsiteY125" fmla="*/ 6392335 h 6858000"/>
              <a:gd name="connsiteX126" fmla="*/ 1869839 w 12192000"/>
              <a:gd name="connsiteY126" fmla="*/ 6392335 h 6858000"/>
              <a:gd name="connsiteX127" fmla="*/ 1869839 w 12192000"/>
              <a:gd name="connsiteY127" fmla="*/ 6367929 h 6858000"/>
              <a:gd name="connsiteX128" fmla="*/ 1879230 w 12192000"/>
              <a:gd name="connsiteY128" fmla="*/ 6367929 h 6858000"/>
              <a:gd name="connsiteX129" fmla="*/ 1879230 w 12192000"/>
              <a:gd name="connsiteY129" fmla="*/ 6359355 h 6858000"/>
              <a:gd name="connsiteX130" fmla="*/ 1352105 w 12192000"/>
              <a:gd name="connsiteY130" fmla="*/ 6359189 h 6858000"/>
              <a:gd name="connsiteX131" fmla="*/ 1329868 w 12192000"/>
              <a:gd name="connsiteY131" fmla="*/ 6381439 h 6858000"/>
              <a:gd name="connsiteX132" fmla="*/ 1352108 w 12192000"/>
              <a:gd name="connsiteY132" fmla="*/ 6403427 h 6858000"/>
              <a:gd name="connsiteX133" fmla="*/ 1374610 w 12192000"/>
              <a:gd name="connsiteY133" fmla="*/ 6381439 h 6858000"/>
              <a:gd name="connsiteX134" fmla="*/ 1374610 w 12192000"/>
              <a:gd name="connsiteY134" fmla="*/ 6381364 h 6858000"/>
              <a:gd name="connsiteX135" fmla="*/ 1352105 w 12192000"/>
              <a:gd name="connsiteY135" fmla="*/ 6359189 h 6858000"/>
              <a:gd name="connsiteX136" fmla="*/ 1041583 w 12192000"/>
              <a:gd name="connsiteY136" fmla="*/ 6359189 h 6858000"/>
              <a:gd name="connsiteX137" fmla="*/ 1041583 w 12192000"/>
              <a:gd name="connsiteY137" fmla="*/ 6544604 h 6858000"/>
              <a:gd name="connsiteX138" fmla="*/ 1076143 w 12192000"/>
              <a:gd name="connsiteY138" fmla="*/ 6544604 h 6858000"/>
              <a:gd name="connsiteX139" fmla="*/ 1076143 w 12192000"/>
              <a:gd name="connsiteY139" fmla="*/ 6359189 h 6858000"/>
              <a:gd name="connsiteX140" fmla="*/ 925239 w 12192000"/>
              <a:gd name="connsiteY140" fmla="*/ 6355990 h 6858000"/>
              <a:gd name="connsiteX141" fmla="*/ 832602 w 12192000"/>
              <a:gd name="connsiteY141" fmla="*/ 6451897 h 6858000"/>
              <a:gd name="connsiteX142" fmla="*/ 832623 w 12192000"/>
              <a:gd name="connsiteY142" fmla="*/ 6456990 h 6858000"/>
              <a:gd name="connsiteX143" fmla="*/ 930389 w 12192000"/>
              <a:gd name="connsiteY143" fmla="*/ 6547783 h 6858000"/>
              <a:gd name="connsiteX144" fmla="*/ 1022285 w 12192000"/>
              <a:gd name="connsiteY144" fmla="*/ 6478650 h 6858000"/>
              <a:gd name="connsiteX145" fmla="*/ 981294 w 12192000"/>
              <a:gd name="connsiteY145" fmla="*/ 6478650 h 6858000"/>
              <a:gd name="connsiteX146" fmla="*/ 930389 w 12192000"/>
              <a:gd name="connsiteY146" fmla="*/ 6513878 h 6858000"/>
              <a:gd name="connsiteX147" fmla="*/ 871450 w 12192000"/>
              <a:gd name="connsiteY147" fmla="*/ 6451897 h 6858000"/>
              <a:gd name="connsiteX148" fmla="*/ 930389 w 12192000"/>
              <a:gd name="connsiteY148" fmla="*/ 6389916 h 6858000"/>
              <a:gd name="connsiteX149" fmla="*/ 981294 w 12192000"/>
              <a:gd name="connsiteY149" fmla="*/ 6425144 h 6858000"/>
              <a:gd name="connsiteX150" fmla="*/ 1022285 w 12192000"/>
              <a:gd name="connsiteY150" fmla="*/ 6425144 h 6858000"/>
              <a:gd name="connsiteX151" fmla="*/ 930389 w 12192000"/>
              <a:gd name="connsiteY151" fmla="*/ 6356011 h 6858000"/>
              <a:gd name="connsiteX152" fmla="*/ 925239 w 12192000"/>
              <a:gd name="connsiteY152" fmla="*/ 6355990 h 6858000"/>
              <a:gd name="connsiteX153" fmla="*/ 651232 w 12192000"/>
              <a:gd name="connsiteY153" fmla="*/ 6336161 h 6858000"/>
              <a:gd name="connsiteX154" fmla="*/ 624479 w 12192000"/>
              <a:gd name="connsiteY154" fmla="*/ 6384726 h 6858000"/>
              <a:gd name="connsiteX155" fmla="*/ 742033 w 12192000"/>
              <a:gd name="connsiteY155" fmla="*/ 6451914 h 6858000"/>
              <a:gd name="connsiteX156" fmla="*/ 624512 w 12192000"/>
              <a:gd name="connsiteY156" fmla="*/ 6519097 h 6858000"/>
              <a:gd name="connsiteX157" fmla="*/ 651373 w 12192000"/>
              <a:gd name="connsiteY157" fmla="*/ 6567631 h 6858000"/>
              <a:gd name="connsiteX158" fmla="*/ 771228 w 12192000"/>
              <a:gd name="connsiteY158" fmla="*/ 6499136 h 6858000"/>
              <a:gd name="connsiteX159" fmla="*/ 742033 w 12192000"/>
              <a:gd name="connsiteY159" fmla="*/ 6451914 h 6858000"/>
              <a:gd name="connsiteX160" fmla="*/ 771227 w 12192000"/>
              <a:gd name="connsiteY160" fmla="*/ 6404692 h 6858000"/>
              <a:gd name="connsiteX161" fmla="*/ 651232 w 12192000"/>
              <a:gd name="connsiteY161" fmla="*/ 6336161 h 6858000"/>
              <a:gd name="connsiteX162" fmla="*/ 0 w 12192000"/>
              <a:gd name="connsiteY162" fmla="*/ 0 h 6858000"/>
              <a:gd name="connsiteX163" fmla="*/ 7104065 w 12192000"/>
              <a:gd name="connsiteY163" fmla="*/ 0 h 6858000"/>
              <a:gd name="connsiteX164" fmla="*/ 8040688 w 12192000"/>
              <a:gd name="connsiteY164" fmla="*/ 0 h 6858000"/>
              <a:gd name="connsiteX165" fmla="*/ 12192000 w 12192000"/>
              <a:gd name="connsiteY165" fmla="*/ 0 h 6858000"/>
              <a:gd name="connsiteX166" fmla="*/ 12192000 w 12192000"/>
              <a:gd name="connsiteY166" fmla="*/ 6858000 h 6858000"/>
              <a:gd name="connsiteX167" fmla="*/ 8040688 w 12192000"/>
              <a:gd name="connsiteY167" fmla="*/ 6858000 h 6858000"/>
              <a:gd name="connsiteX168" fmla="*/ 7104065 w 12192000"/>
              <a:gd name="connsiteY168" fmla="*/ 6858000 h 6858000"/>
              <a:gd name="connsiteX169" fmla="*/ 0 w 12192000"/>
              <a:gd name="connsiteY16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12192000" h="6858000">
                <a:moveTo>
                  <a:pt x="1592699" y="6492423"/>
                </a:moveTo>
                <a:lnTo>
                  <a:pt x="1592699" y="6501164"/>
                </a:lnTo>
                <a:cubicBezTo>
                  <a:pt x="1592738" y="6502241"/>
                  <a:pt x="1592680" y="6503319"/>
                  <a:pt x="1592546" y="6504388"/>
                </a:cubicBezTo>
                <a:cubicBezTo>
                  <a:pt x="1591096" y="6515890"/>
                  <a:pt x="1580495" y="6524053"/>
                  <a:pt x="1568857" y="6522619"/>
                </a:cubicBezTo>
                <a:cubicBezTo>
                  <a:pt x="1558141" y="6522619"/>
                  <a:pt x="1551438" y="6516526"/>
                  <a:pt x="1551438" y="6508315"/>
                </a:cubicBezTo>
                <a:cubicBezTo>
                  <a:pt x="1551438" y="6499839"/>
                  <a:pt x="1557872" y="6495071"/>
                  <a:pt x="1568857" y="6495071"/>
                </a:cubicBezTo>
                <a:lnTo>
                  <a:pt x="1581983" y="6495071"/>
                </a:lnTo>
                <a:cubicBezTo>
                  <a:pt x="1585766" y="6495554"/>
                  <a:pt x="1589598" y="6494609"/>
                  <a:pt x="1592699" y="6492423"/>
                </a:cubicBezTo>
                <a:close/>
                <a:moveTo>
                  <a:pt x="1172060" y="6492423"/>
                </a:moveTo>
                <a:lnTo>
                  <a:pt x="1172060" y="6501164"/>
                </a:lnTo>
                <a:cubicBezTo>
                  <a:pt x="1172093" y="6502242"/>
                  <a:pt x="1172042" y="6503320"/>
                  <a:pt x="1171906" y="6504389"/>
                </a:cubicBezTo>
                <a:cubicBezTo>
                  <a:pt x="1170456" y="6515891"/>
                  <a:pt x="1159850" y="6524053"/>
                  <a:pt x="1148216" y="6522619"/>
                </a:cubicBezTo>
                <a:cubicBezTo>
                  <a:pt x="1137499" y="6522619"/>
                  <a:pt x="1130802" y="6516526"/>
                  <a:pt x="1130802" y="6508315"/>
                </a:cubicBezTo>
                <a:cubicBezTo>
                  <a:pt x="1130802" y="6499839"/>
                  <a:pt x="1137232" y="6495071"/>
                  <a:pt x="1148216" y="6495071"/>
                </a:cubicBezTo>
                <a:lnTo>
                  <a:pt x="1161343" y="6495071"/>
                </a:lnTo>
                <a:cubicBezTo>
                  <a:pt x="1165125" y="6495554"/>
                  <a:pt x="1168953" y="6494609"/>
                  <a:pt x="1172060" y="6492423"/>
                </a:cubicBezTo>
                <a:close/>
                <a:moveTo>
                  <a:pt x="1796056" y="6448718"/>
                </a:moveTo>
                <a:cubicBezTo>
                  <a:pt x="1809461" y="6448340"/>
                  <a:pt x="1821051" y="6457873"/>
                  <a:pt x="1823115" y="6470969"/>
                </a:cubicBezTo>
                <a:lnTo>
                  <a:pt x="1768190" y="6470969"/>
                </a:lnTo>
                <a:cubicBezTo>
                  <a:pt x="1770601" y="6457738"/>
                  <a:pt x="1782469" y="6448261"/>
                  <a:pt x="1796056" y="6448718"/>
                </a:cubicBezTo>
                <a:close/>
                <a:moveTo>
                  <a:pt x="1385331" y="6423290"/>
                </a:moveTo>
                <a:lnTo>
                  <a:pt x="1427128" y="6544605"/>
                </a:lnTo>
                <a:lnTo>
                  <a:pt x="1470261" y="6544605"/>
                </a:lnTo>
                <a:lnTo>
                  <a:pt x="1513932" y="6423290"/>
                </a:lnTo>
                <a:lnTo>
                  <a:pt x="1477223" y="6423290"/>
                </a:lnTo>
                <a:lnTo>
                  <a:pt x="1449367" y="6507521"/>
                </a:lnTo>
                <a:lnTo>
                  <a:pt x="1423104" y="6423290"/>
                </a:lnTo>
                <a:close/>
                <a:moveTo>
                  <a:pt x="1319153" y="6423290"/>
                </a:moveTo>
                <a:lnTo>
                  <a:pt x="1319153" y="6452426"/>
                </a:lnTo>
                <a:lnTo>
                  <a:pt x="1336299" y="6452426"/>
                </a:lnTo>
                <a:lnTo>
                  <a:pt x="1336299" y="6544604"/>
                </a:lnTo>
                <a:lnTo>
                  <a:pt x="1371127" y="6544604"/>
                </a:lnTo>
                <a:lnTo>
                  <a:pt x="1371127" y="6423290"/>
                </a:lnTo>
                <a:close/>
                <a:moveTo>
                  <a:pt x="1293161" y="6421700"/>
                </a:moveTo>
                <a:cubicBezTo>
                  <a:pt x="1279051" y="6421037"/>
                  <a:pt x="1266138" y="6429512"/>
                  <a:pt x="1261280" y="6442626"/>
                </a:cubicBezTo>
                <a:lnTo>
                  <a:pt x="1261280" y="6423290"/>
                </a:lnTo>
                <a:lnTo>
                  <a:pt x="1227522" y="6423290"/>
                </a:lnTo>
                <a:lnTo>
                  <a:pt x="1227522" y="6544604"/>
                </a:lnTo>
                <a:lnTo>
                  <a:pt x="1262352" y="6544604"/>
                </a:lnTo>
                <a:lnTo>
                  <a:pt x="1262352" y="6486596"/>
                </a:lnTo>
                <a:cubicBezTo>
                  <a:pt x="1262352" y="6465405"/>
                  <a:pt x="1270389" y="6457194"/>
                  <a:pt x="1288073" y="6457194"/>
                </a:cubicBezTo>
                <a:lnTo>
                  <a:pt x="1302808" y="6457194"/>
                </a:lnTo>
                <a:lnTo>
                  <a:pt x="1302808" y="6422760"/>
                </a:lnTo>
                <a:cubicBezTo>
                  <a:pt x="1299648" y="6422016"/>
                  <a:pt x="1296409" y="6421660"/>
                  <a:pt x="1293161" y="6421700"/>
                </a:cubicBezTo>
                <a:close/>
                <a:moveTo>
                  <a:pt x="1796056" y="6420112"/>
                </a:moveTo>
                <a:cubicBezTo>
                  <a:pt x="1794693" y="6420076"/>
                  <a:pt x="1793320" y="6420084"/>
                  <a:pt x="1791956" y="6420138"/>
                </a:cubicBezTo>
                <a:cubicBezTo>
                  <a:pt x="1757657" y="6421470"/>
                  <a:pt x="1730943" y="6450039"/>
                  <a:pt x="1732297" y="6483948"/>
                </a:cubicBezTo>
                <a:cubicBezTo>
                  <a:pt x="1732749" y="6509035"/>
                  <a:pt x="1747766" y="6531624"/>
                  <a:pt x="1770879" y="6541990"/>
                </a:cubicBezTo>
                <a:cubicBezTo>
                  <a:pt x="1803959" y="6556828"/>
                  <a:pt x="1842934" y="6542344"/>
                  <a:pt x="1857943" y="6509641"/>
                </a:cubicBezTo>
                <a:lnTo>
                  <a:pt x="1821781" y="6505933"/>
                </a:lnTo>
                <a:cubicBezTo>
                  <a:pt x="1817229" y="6512448"/>
                  <a:pt x="1810181" y="6516829"/>
                  <a:pt x="1802269" y="6518046"/>
                </a:cubicBezTo>
                <a:cubicBezTo>
                  <a:pt x="1786368" y="6520493"/>
                  <a:pt x="1771474" y="6509733"/>
                  <a:pt x="1768997" y="6494013"/>
                </a:cubicBezTo>
                <a:lnTo>
                  <a:pt x="1860353" y="6494013"/>
                </a:lnTo>
                <a:lnTo>
                  <a:pt x="1860353" y="6492689"/>
                </a:lnTo>
                <a:cubicBezTo>
                  <a:pt x="1860353" y="6441832"/>
                  <a:pt x="1829808" y="6420112"/>
                  <a:pt x="1796056" y="6420112"/>
                </a:cubicBezTo>
                <a:close/>
                <a:moveTo>
                  <a:pt x="1574215" y="6420111"/>
                </a:moveTo>
                <a:cubicBezTo>
                  <a:pt x="1555692" y="6420390"/>
                  <a:pt x="1537573" y="6425507"/>
                  <a:pt x="1521700" y="6434944"/>
                </a:cubicBezTo>
                <a:lnTo>
                  <a:pt x="1535364" y="6460902"/>
                </a:lnTo>
                <a:cubicBezTo>
                  <a:pt x="1546618" y="6454290"/>
                  <a:pt x="1559283" y="6450388"/>
                  <a:pt x="1572342" y="6449512"/>
                </a:cubicBezTo>
                <a:cubicBezTo>
                  <a:pt x="1585738" y="6449512"/>
                  <a:pt x="1592699" y="6455075"/>
                  <a:pt x="1592699" y="6463816"/>
                </a:cubicBezTo>
                <a:lnTo>
                  <a:pt x="1592699" y="6465140"/>
                </a:lnTo>
                <a:cubicBezTo>
                  <a:pt x="1592699" y="6469643"/>
                  <a:pt x="1590020" y="6472292"/>
                  <a:pt x="1584124" y="6472292"/>
                </a:cubicBezTo>
                <a:lnTo>
                  <a:pt x="1560013" y="6472292"/>
                </a:lnTo>
                <a:cubicBezTo>
                  <a:pt x="1532685" y="6472292"/>
                  <a:pt x="1515545" y="6486595"/>
                  <a:pt x="1515545" y="6509640"/>
                </a:cubicBezTo>
                <a:cubicBezTo>
                  <a:pt x="1515555" y="6510010"/>
                  <a:pt x="1515574" y="6510380"/>
                  <a:pt x="1515603" y="6510750"/>
                </a:cubicBezTo>
                <a:cubicBezTo>
                  <a:pt x="1517081" y="6532663"/>
                  <a:pt x="1536247" y="6549244"/>
                  <a:pt x="1558409" y="6547782"/>
                </a:cubicBezTo>
                <a:cubicBezTo>
                  <a:pt x="1571536" y="6548591"/>
                  <a:pt x="1584259" y="6543183"/>
                  <a:pt x="1592699" y="6533214"/>
                </a:cubicBezTo>
                <a:lnTo>
                  <a:pt x="1592699" y="6544604"/>
                </a:lnTo>
                <a:lnTo>
                  <a:pt x="1627527" y="6544604"/>
                </a:lnTo>
                <a:lnTo>
                  <a:pt x="1627527" y="6464875"/>
                </a:lnTo>
                <a:cubicBezTo>
                  <a:pt x="1627527" y="6432825"/>
                  <a:pt x="1602081" y="6420111"/>
                  <a:pt x="1574215" y="6420111"/>
                </a:cubicBezTo>
                <a:close/>
                <a:moveTo>
                  <a:pt x="1153574" y="6420111"/>
                </a:moveTo>
                <a:cubicBezTo>
                  <a:pt x="1135053" y="6420390"/>
                  <a:pt x="1116936" y="6425508"/>
                  <a:pt x="1101062" y="6434944"/>
                </a:cubicBezTo>
                <a:lnTo>
                  <a:pt x="1114726" y="6460902"/>
                </a:lnTo>
                <a:cubicBezTo>
                  <a:pt x="1125976" y="6454290"/>
                  <a:pt x="1138641" y="6450388"/>
                  <a:pt x="1151699" y="6449512"/>
                </a:cubicBezTo>
                <a:cubicBezTo>
                  <a:pt x="1165095" y="6449512"/>
                  <a:pt x="1172060" y="6455075"/>
                  <a:pt x="1172060" y="6463816"/>
                </a:cubicBezTo>
                <a:lnTo>
                  <a:pt x="1172060" y="6465140"/>
                </a:lnTo>
                <a:cubicBezTo>
                  <a:pt x="1172060" y="6469643"/>
                  <a:pt x="1169381" y="6472292"/>
                  <a:pt x="1163487" y="6472292"/>
                </a:cubicBezTo>
                <a:lnTo>
                  <a:pt x="1139375" y="6472292"/>
                </a:lnTo>
                <a:cubicBezTo>
                  <a:pt x="1112046" y="6472292"/>
                  <a:pt x="1094901" y="6486595"/>
                  <a:pt x="1094901" y="6509640"/>
                </a:cubicBezTo>
                <a:cubicBezTo>
                  <a:pt x="1094915" y="6510010"/>
                  <a:pt x="1094936" y="6510379"/>
                  <a:pt x="1094960" y="6510749"/>
                </a:cubicBezTo>
                <a:cubicBezTo>
                  <a:pt x="1096437" y="6532662"/>
                  <a:pt x="1115603" y="6549243"/>
                  <a:pt x="1137766" y="6547782"/>
                </a:cubicBezTo>
                <a:cubicBezTo>
                  <a:pt x="1150890" y="6548592"/>
                  <a:pt x="1163622" y="6543184"/>
                  <a:pt x="1172060" y="6533214"/>
                </a:cubicBezTo>
                <a:lnTo>
                  <a:pt x="1172060" y="6544604"/>
                </a:lnTo>
                <a:lnTo>
                  <a:pt x="1206890" y="6544604"/>
                </a:lnTo>
                <a:lnTo>
                  <a:pt x="1206890" y="6464875"/>
                </a:lnTo>
                <a:cubicBezTo>
                  <a:pt x="1206890" y="6432825"/>
                  <a:pt x="1181438" y="6420111"/>
                  <a:pt x="1153574" y="6420111"/>
                </a:cubicBezTo>
                <a:close/>
                <a:moveTo>
                  <a:pt x="568575" y="6383429"/>
                </a:moveTo>
                <a:cubicBezTo>
                  <a:pt x="555414" y="6428156"/>
                  <a:pt x="555406" y="6475664"/>
                  <a:pt x="568549" y="6520396"/>
                </a:cubicBezTo>
                <a:cubicBezTo>
                  <a:pt x="587170" y="6522621"/>
                  <a:pt x="606017" y="6522184"/>
                  <a:pt x="624511" y="6519097"/>
                </a:cubicBezTo>
                <a:cubicBezTo>
                  <a:pt x="610287" y="6481610"/>
                  <a:pt x="608324" y="6440654"/>
                  <a:pt x="618898" y="6402004"/>
                </a:cubicBezTo>
                <a:cubicBezTo>
                  <a:pt x="620492" y="6396123"/>
                  <a:pt x="622369" y="6390366"/>
                  <a:pt x="624479" y="6384725"/>
                </a:cubicBezTo>
                <a:cubicBezTo>
                  <a:pt x="606004" y="6381645"/>
                  <a:pt x="587176" y="6381208"/>
                  <a:pt x="568575" y="6383429"/>
                </a:cubicBezTo>
                <a:close/>
                <a:moveTo>
                  <a:pt x="1659953" y="6377201"/>
                </a:moveTo>
                <a:lnTo>
                  <a:pt x="1659953" y="6423290"/>
                </a:lnTo>
                <a:lnTo>
                  <a:pt x="1640662" y="6423290"/>
                </a:lnTo>
                <a:lnTo>
                  <a:pt x="1640662" y="6452426"/>
                </a:lnTo>
                <a:lnTo>
                  <a:pt x="1659953" y="6452426"/>
                </a:lnTo>
                <a:lnTo>
                  <a:pt x="1659953" y="6518911"/>
                </a:lnTo>
                <a:cubicBezTo>
                  <a:pt x="1659953" y="6543280"/>
                  <a:pt x="1677900" y="6546194"/>
                  <a:pt x="1695318" y="6546194"/>
                </a:cubicBezTo>
                <a:cubicBezTo>
                  <a:pt x="1705497" y="6546194"/>
                  <a:pt x="1722377" y="6544604"/>
                  <a:pt x="1722377" y="6544604"/>
                </a:cubicBezTo>
                <a:lnTo>
                  <a:pt x="1722377" y="6515203"/>
                </a:lnTo>
                <a:cubicBezTo>
                  <a:pt x="1722377" y="6515203"/>
                  <a:pt x="1715137" y="6515998"/>
                  <a:pt x="1706303" y="6515998"/>
                </a:cubicBezTo>
                <a:cubicBezTo>
                  <a:pt x="1700945" y="6515998"/>
                  <a:pt x="1694780" y="6514938"/>
                  <a:pt x="1694780" y="6507256"/>
                </a:cubicBezTo>
                <a:lnTo>
                  <a:pt x="1694780" y="6452426"/>
                </a:lnTo>
                <a:lnTo>
                  <a:pt x="1721302" y="6452426"/>
                </a:lnTo>
                <a:lnTo>
                  <a:pt x="1721302" y="6423290"/>
                </a:lnTo>
                <a:lnTo>
                  <a:pt x="1694780" y="6423290"/>
                </a:lnTo>
                <a:lnTo>
                  <a:pt x="1694780" y="6377201"/>
                </a:lnTo>
                <a:close/>
                <a:moveTo>
                  <a:pt x="1884617" y="6359355"/>
                </a:moveTo>
                <a:lnTo>
                  <a:pt x="1884617" y="6392335"/>
                </a:lnTo>
                <a:lnTo>
                  <a:pt x="1893998" y="6392335"/>
                </a:lnTo>
                <a:lnTo>
                  <a:pt x="1893998" y="6373492"/>
                </a:lnTo>
                <a:lnTo>
                  <a:pt x="1898291" y="6385270"/>
                </a:lnTo>
                <a:lnTo>
                  <a:pt x="1905819" y="6385270"/>
                </a:lnTo>
                <a:lnTo>
                  <a:pt x="1910111" y="6373492"/>
                </a:lnTo>
                <a:lnTo>
                  <a:pt x="1910111" y="6392335"/>
                </a:lnTo>
                <a:lnTo>
                  <a:pt x="1919685" y="6392335"/>
                </a:lnTo>
                <a:lnTo>
                  <a:pt x="1919685" y="6359355"/>
                </a:lnTo>
                <a:lnTo>
                  <a:pt x="1907566" y="6359355"/>
                </a:lnTo>
                <a:lnTo>
                  <a:pt x="1902362" y="6373114"/>
                </a:lnTo>
                <a:lnTo>
                  <a:pt x="1897494" y="6359355"/>
                </a:lnTo>
                <a:close/>
                <a:moveTo>
                  <a:pt x="1850683" y="6359355"/>
                </a:moveTo>
                <a:lnTo>
                  <a:pt x="1850683" y="6367929"/>
                </a:lnTo>
                <a:lnTo>
                  <a:pt x="1860074" y="6367929"/>
                </a:lnTo>
                <a:lnTo>
                  <a:pt x="1860074" y="6392335"/>
                </a:lnTo>
                <a:lnTo>
                  <a:pt x="1869839" y="6392335"/>
                </a:lnTo>
                <a:lnTo>
                  <a:pt x="1869839" y="6367929"/>
                </a:lnTo>
                <a:lnTo>
                  <a:pt x="1879230" y="6367929"/>
                </a:lnTo>
                <a:lnTo>
                  <a:pt x="1879230" y="6359355"/>
                </a:lnTo>
                <a:close/>
                <a:moveTo>
                  <a:pt x="1352105" y="6359189"/>
                </a:moveTo>
                <a:cubicBezTo>
                  <a:pt x="1339759" y="6359284"/>
                  <a:pt x="1329816" y="6369233"/>
                  <a:pt x="1329868" y="6381439"/>
                </a:cubicBezTo>
                <a:cubicBezTo>
                  <a:pt x="1329940" y="6393552"/>
                  <a:pt x="1339855" y="6403355"/>
                  <a:pt x="1352108" y="6403427"/>
                </a:cubicBezTo>
                <a:cubicBezTo>
                  <a:pt x="1364463" y="6403498"/>
                  <a:pt x="1374538" y="6393654"/>
                  <a:pt x="1374610" y="6381439"/>
                </a:cubicBezTo>
                <a:cubicBezTo>
                  <a:pt x="1374610" y="6381414"/>
                  <a:pt x="1374610" y="6381388"/>
                  <a:pt x="1374610" y="6381364"/>
                </a:cubicBezTo>
                <a:cubicBezTo>
                  <a:pt x="1374589" y="6369096"/>
                  <a:pt x="1364513" y="6359168"/>
                  <a:pt x="1352105" y="6359189"/>
                </a:cubicBezTo>
                <a:close/>
                <a:moveTo>
                  <a:pt x="1041583" y="6359189"/>
                </a:moveTo>
                <a:lnTo>
                  <a:pt x="1041583" y="6544604"/>
                </a:lnTo>
                <a:lnTo>
                  <a:pt x="1076143" y="6544604"/>
                </a:lnTo>
                <a:lnTo>
                  <a:pt x="1076143" y="6359189"/>
                </a:lnTo>
                <a:close/>
                <a:moveTo>
                  <a:pt x="925239" y="6355990"/>
                </a:moveTo>
                <a:cubicBezTo>
                  <a:pt x="872870" y="6357183"/>
                  <a:pt x="831395" y="6400122"/>
                  <a:pt x="832602" y="6451897"/>
                </a:cubicBezTo>
                <a:cubicBezTo>
                  <a:pt x="832562" y="6453595"/>
                  <a:pt x="832569" y="6455292"/>
                  <a:pt x="832623" y="6456990"/>
                </a:cubicBezTo>
                <a:cubicBezTo>
                  <a:pt x="834261" y="6508753"/>
                  <a:pt x="878033" y="6549402"/>
                  <a:pt x="930389" y="6547783"/>
                </a:cubicBezTo>
                <a:cubicBezTo>
                  <a:pt x="973630" y="6548900"/>
                  <a:pt x="1011845" y="6520151"/>
                  <a:pt x="1022285" y="6478650"/>
                </a:cubicBezTo>
                <a:lnTo>
                  <a:pt x="981294" y="6478650"/>
                </a:lnTo>
                <a:cubicBezTo>
                  <a:pt x="974516" y="6500553"/>
                  <a:pt x="953525" y="6515080"/>
                  <a:pt x="930389" y="6513878"/>
                </a:cubicBezTo>
                <a:cubicBezTo>
                  <a:pt x="895026" y="6513878"/>
                  <a:pt x="871450" y="6487391"/>
                  <a:pt x="871450" y="6451897"/>
                </a:cubicBezTo>
                <a:cubicBezTo>
                  <a:pt x="871450" y="6416403"/>
                  <a:pt x="895026" y="6389916"/>
                  <a:pt x="930389" y="6389916"/>
                </a:cubicBezTo>
                <a:cubicBezTo>
                  <a:pt x="953525" y="6388714"/>
                  <a:pt x="974516" y="6403241"/>
                  <a:pt x="981294" y="6425144"/>
                </a:cubicBezTo>
                <a:lnTo>
                  <a:pt x="1022285" y="6425144"/>
                </a:lnTo>
                <a:cubicBezTo>
                  <a:pt x="1011846" y="6383642"/>
                  <a:pt x="973630" y="6354892"/>
                  <a:pt x="930389" y="6356011"/>
                </a:cubicBezTo>
                <a:cubicBezTo>
                  <a:pt x="928673" y="6355958"/>
                  <a:pt x="926955" y="6355951"/>
                  <a:pt x="925239" y="6355990"/>
                </a:cubicBezTo>
                <a:close/>
                <a:moveTo>
                  <a:pt x="651232" y="6336161"/>
                </a:moveTo>
                <a:cubicBezTo>
                  <a:pt x="639985" y="6350984"/>
                  <a:pt x="630973" y="6367343"/>
                  <a:pt x="624479" y="6384726"/>
                </a:cubicBezTo>
                <a:cubicBezTo>
                  <a:pt x="670541" y="6392471"/>
                  <a:pt x="712258" y="6416315"/>
                  <a:pt x="742033" y="6451914"/>
                </a:cubicBezTo>
                <a:cubicBezTo>
                  <a:pt x="712265" y="6487505"/>
                  <a:pt x="670562" y="6511346"/>
                  <a:pt x="624512" y="6519097"/>
                </a:cubicBezTo>
                <a:cubicBezTo>
                  <a:pt x="631041" y="6536476"/>
                  <a:pt x="640089" y="6552825"/>
                  <a:pt x="651373" y="6567631"/>
                </a:cubicBezTo>
                <a:cubicBezTo>
                  <a:pt x="697088" y="6556502"/>
                  <a:pt x="738657" y="6532746"/>
                  <a:pt x="771228" y="6499136"/>
                </a:cubicBezTo>
                <a:cubicBezTo>
                  <a:pt x="763842" y="6482091"/>
                  <a:pt x="754009" y="6466186"/>
                  <a:pt x="742033" y="6451914"/>
                </a:cubicBezTo>
                <a:cubicBezTo>
                  <a:pt x="754009" y="6437642"/>
                  <a:pt x="763841" y="6421738"/>
                  <a:pt x="771227" y="6404692"/>
                </a:cubicBezTo>
                <a:cubicBezTo>
                  <a:pt x="738623" y="6371047"/>
                  <a:pt x="697001" y="6347276"/>
                  <a:pt x="651232" y="6336161"/>
                </a:cubicBezTo>
                <a:close/>
                <a:moveTo>
                  <a:pt x="0" y="0"/>
                </a:moveTo>
                <a:lnTo>
                  <a:pt x="7104065" y="0"/>
                </a:lnTo>
                <a:lnTo>
                  <a:pt x="8040688" y="0"/>
                </a:lnTo>
                <a:lnTo>
                  <a:pt x="12192000" y="0"/>
                </a:lnTo>
                <a:lnTo>
                  <a:pt x="12192000" y="6858000"/>
                </a:lnTo>
                <a:lnTo>
                  <a:pt x="8040688" y="6858000"/>
                </a:lnTo>
                <a:lnTo>
                  <a:pt x="7104065" y="6858000"/>
                </a:lnTo>
                <a:lnTo>
                  <a:pt x="0" y="6858000"/>
                </a:lnTo>
                <a:close/>
              </a:path>
            </a:pathLst>
          </a:custGeom>
          <a:solidFill>
            <a:schemeClr val="bg1">
              <a:lumMod val="95000"/>
            </a:schemeClr>
          </a:solidFill>
          <a:ln>
            <a:noFill/>
          </a:ln>
        </p:spPr>
        <p:txBody>
          <a:bodyPr wrap="square" tIns="180000" anchor="t" anchorCtr="0">
            <a:noAutofit/>
          </a:bodyPr>
          <a:lstStyle>
            <a:lvl1pPr marL="0" indent="0" algn="ctr">
              <a:buNone/>
              <a:defRPr sz="1000">
                <a:solidFill>
                  <a:schemeClr val="accent2"/>
                </a:solidFill>
                <a:latin typeface="+mn-lt"/>
              </a:defRPr>
            </a:lvl1pPr>
          </a:lstStyle>
          <a:p>
            <a:pPr lvl="0"/>
            <a:r>
              <a:rPr lang="en-US"/>
              <a:t>Drag picture file here or click </a:t>
            </a:r>
            <a:r>
              <a:rPr lang="en-US" noProof="0"/>
              <a:t>center</a:t>
            </a:r>
            <a:r>
              <a:rPr lang="en-US"/>
              <a:t> icon to insert light image</a:t>
            </a:r>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sp>
        <p:nvSpPr>
          <p:cNvPr id="8" name="Text Placeholder 12">
            <a:extLst>
              <a:ext uri="{FF2B5EF4-FFF2-40B4-BE49-F238E27FC236}">
                <a16:creationId xmlns:a16="http://schemas.microsoft.com/office/drawing/2014/main" id="{8DDC60B7-E753-52DF-078B-3DC551E10500}"/>
              </a:ext>
            </a:extLst>
          </p:cNvPr>
          <p:cNvSpPr>
            <a:spLocks noGrp="1"/>
          </p:cNvSpPr>
          <p:nvPr>
            <p:ph type="body" sz="quarter" idx="28" hasCustomPrompt="1"/>
          </p:nvPr>
        </p:nvSpPr>
        <p:spPr>
          <a:xfrm>
            <a:off x="1487488" y="4286568"/>
            <a:ext cx="3600450" cy="259239"/>
          </a:xfrm>
          <a:noFill/>
        </p:spPr>
        <p:txBody>
          <a:bodyPr/>
          <a:lstStyle>
            <a:lvl1pPr marL="0" indent="0" algn="l">
              <a:buNone/>
              <a:defRPr sz="16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9" name="Text Placeholder 12">
            <a:extLst>
              <a:ext uri="{FF2B5EF4-FFF2-40B4-BE49-F238E27FC236}">
                <a16:creationId xmlns:a16="http://schemas.microsoft.com/office/drawing/2014/main" id="{4BB56A7A-43A7-EBC8-E591-5A304D59169A}"/>
              </a:ext>
            </a:extLst>
          </p:cNvPr>
          <p:cNvSpPr>
            <a:spLocks noGrp="1"/>
          </p:cNvSpPr>
          <p:nvPr>
            <p:ph type="body" sz="quarter" idx="29" hasCustomPrompt="1"/>
          </p:nvPr>
        </p:nvSpPr>
        <p:spPr>
          <a:xfrm>
            <a:off x="1487488" y="4543748"/>
            <a:ext cx="3600450" cy="259239"/>
          </a:xfrm>
          <a:noFill/>
        </p:spPr>
        <p:txBody>
          <a:bodyPr/>
          <a:lstStyle>
            <a:lvl1pPr marL="0" indent="0" algn="l">
              <a:buNone/>
              <a:defRPr sz="1500">
                <a:solidFill>
                  <a:schemeClr val="tx1"/>
                </a:solidFill>
                <a:latin typeface="+mn-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Company name</a:t>
            </a:r>
          </a:p>
        </p:txBody>
      </p:sp>
      <p:sp>
        <p:nvSpPr>
          <p:cNvPr id="10" name="Text Placeholder 9">
            <a:extLst>
              <a:ext uri="{FF2B5EF4-FFF2-40B4-BE49-F238E27FC236}">
                <a16:creationId xmlns:a16="http://schemas.microsoft.com/office/drawing/2014/main" id="{768C0EE5-7595-B97C-61F7-F69AAADB86EA}"/>
              </a:ext>
            </a:extLst>
          </p:cNvPr>
          <p:cNvSpPr>
            <a:spLocks noGrp="1"/>
          </p:cNvSpPr>
          <p:nvPr>
            <p:ph type="body" sz="quarter" idx="26" hasCustomPrompt="1"/>
          </p:nvPr>
        </p:nvSpPr>
        <p:spPr>
          <a:xfrm>
            <a:off x="1487488" y="2979813"/>
            <a:ext cx="8280400" cy="1107996"/>
          </a:xfrm>
          <a:prstGeom prst="rect">
            <a:avLst/>
          </a:prstGeom>
          <a:noFill/>
        </p:spPr>
        <p:txBody>
          <a:bodyPr wrap="square" lIns="0" tIns="0" rIns="0" bIns="0" anchor="b" anchorCtr="0">
            <a:spAutoFit/>
          </a:bodyPr>
          <a:lstStyle>
            <a:lvl1pPr marL="0" indent="0" algn="l">
              <a:buNone/>
              <a:tabLst/>
              <a:defRPr sz="3600">
                <a:solidFill>
                  <a:schemeClr val="tx1"/>
                </a:solidFill>
                <a:latin typeface="+mj-lt"/>
              </a:defRPr>
            </a:lvl1pPr>
          </a:lstStyle>
          <a:p>
            <a:pPr lvl="0"/>
            <a:r>
              <a:rPr lang="en-US"/>
              <a:t>“Quote copy, resize textbox </a:t>
            </a:r>
            <a:r>
              <a:rPr lang="en-US" err="1"/>
              <a:t>recolour</a:t>
            </a:r>
            <a:r>
              <a:rPr lang="en-US"/>
              <a:t> text as required”.</a:t>
            </a:r>
            <a:endParaRPr lang="en-GB"/>
          </a:p>
        </p:txBody>
      </p:sp>
    </p:spTree>
    <p:extLst>
      <p:ext uri="{BB962C8B-B14F-4D97-AF65-F5344CB8AC3E}">
        <p14:creationId xmlns:p14="http://schemas.microsoft.com/office/powerpoint/2010/main" val="211027627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x Images / Tex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251885"/>
          </a:xfrm>
        </p:spPr>
        <p:txBody>
          <a:bodyPr/>
          <a:lstStyle>
            <a:lvl1pPr>
              <a:defRPr/>
            </a:lvl1pPr>
          </a:lstStyle>
          <a:p>
            <a:r>
              <a:rPr lang="en-US"/>
              <a:t>Header avenir demi</a:t>
            </a:r>
            <a:endParaRPr lang="en-GB"/>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5" name="Picture Placeholder 15">
            <a:extLst>
              <a:ext uri="{FF2B5EF4-FFF2-40B4-BE49-F238E27FC236}">
                <a16:creationId xmlns:a16="http://schemas.microsoft.com/office/drawing/2014/main" id="{903F0106-157C-427D-4EE3-058FF2156B3C}"/>
              </a:ext>
            </a:extLst>
          </p:cNvPr>
          <p:cNvSpPr>
            <a:spLocks noGrp="1"/>
          </p:cNvSpPr>
          <p:nvPr>
            <p:ph type="pic" sz="quarter" idx="20" hasCustomPrompt="1"/>
          </p:nvPr>
        </p:nvSpPr>
        <p:spPr>
          <a:xfrm>
            <a:off x="551231" y="1815304"/>
            <a:ext cx="3202379" cy="1613696"/>
          </a:xfrm>
          <a:noFill/>
        </p:spPr>
        <p:txBody>
          <a:bodyPr tIns="144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8" name="Picture Placeholder 15">
            <a:extLst>
              <a:ext uri="{FF2B5EF4-FFF2-40B4-BE49-F238E27FC236}">
                <a16:creationId xmlns:a16="http://schemas.microsoft.com/office/drawing/2014/main" id="{EC657CC3-F918-1A6E-4F80-19CFDA23FC11}"/>
              </a:ext>
            </a:extLst>
          </p:cNvPr>
          <p:cNvSpPr>
            <a:spLocks noGrp="1"/>
          </p:cNvSpPr>
          <p:nvPr>
            <p:ph type="pic" sz="quarter" idx="27" hasCustomPrompt="1"/>
          </p:nvPr>
        </p:nvSpPr>
        <p:spPr>
          <a:xfrm>
            <a:off x="4295775" y="1815304"/>
            <a:ext cx="3202379" cy="1613696"/>
          </a:xfrm>
          <a:noFill/>
        </p:spPr>
        <p:txBody>
          <a:bodyPr tIns="144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9" name="Picture Placeholder 15">
            <a:extLst>
              <a:ext uri="{FF2B5EF4-FFF2-40B4-BE49-F238E27FC236}">
                <a16:creationId xmlns:a16="http://schemas.microsoft.com/office/drawing/2014/main" id="{8D0A983E-8A75-5B03-E6D8-3B461E3D79BB}"/>
              </a:ext>
            </a:extLst>
          </p:cNvPr>
          <p:cNvSpPr>
            <a:spLocks noGrp="1"/>
          </p:cNvSpPr>
          <p:nvPr>
            <p:ph type="pic" sz="quarter" idx="29" hasCustomPrompt="1"/>
          </p:nvPr>
        </p:nvSpPr>
        <p:spPr>
          <a:xfrm>
            <a:off x="8040688" y="1815304"/>
            <a:ext cx="3204000" cy="1613696"/>
          </a:xfrm>
          <a:noFill/>
        </p:spPr>
        <p:txBody>
          <a:bodyPr tIns="144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17" name="Text Placeholder 12">
            <a:extLst>
              <a:ext uri="{FF2B5EF4-FFF2-40B4-BE49-F238E27FC236}">
                <a16:creationId xmlns:a16="http://schemas.microsoft.com/office/drawing/2014/main" id="{2DA8D027-1671-C417-E0C3-5993F02B96D9}"/>
              </a:ext>
            </a:extLst>
          </p:cNvPr>
          <p:cNvSpPr>
            <a:spLocks noGrp="1"/>
          </p:cNvSpPr>
          <p:nvPr>
            <p:ph type="body" sz="quarter" idx="39" hasCustomPrompt="1"/>
          </p:nvPr>
        </p:nvSpPr>
        <p:spPr>
          <a:xfrm>
            <a:off x="550863" y="1720850"/>
            <a:ext cx="3202897" cy="94454"/>
          </a:xfrm>
          <a:solidFill>
            <a:schemeClr val="accent1"/>
          </a:solidFill>
        </p:spPr>
        <p:txBody>
          <a:bodyPr/>
          <a:lstStyle>
            <a:lvl1pPr marL="0" indent="0">
              <a:buNone/>
              <a:defRPr sz="200"/>
            </a:lvl1pPr>
            <a:lvl4pPr>
              <a:buClr>
                <a:schemeClr val="accent1"/>
              </a:buClr>
              <a:defRPr/>
            </a:lvl4pPr>
            <a:lvl5pPr>
              <a:buClr>
                <a:schemeClr val="accent1"/>
              </a:buClr>
              <a:defRPr/>
            </a:lvl5pPr>
          </a:lstStyle>
          <a:p>
            <a:pPr lvl="0"/>
            <a:r>
              <a:rPr lang="en-US"/>
              <a:t> </a:t>
            </a:r>
            <a:endParaRPr lang="en-GB"/>
          </a:p>
        </p:txBody>
      </p:sp>
      <p:sp>
        <p:nvSpPr>
          <p:cNvPr id="20" name="Text Placeholder 12">
            <a:extLst>
              <a:ext uri="{FF2B5EF4-FFF2-40B4-BE49-F238E27FC236}">
                <a16:creationId xmlns:a16="http://schemas.microsoft.com/office/drawing/2014/main" id="{CD7185C1-17ED-4DDA-8D74-3D9B371C3A61}"/>
              </a:ext>
            </a:extLst>
          </p:cNvPr>
          <p:cNvSpPr>
            <a:spLocks noGrp="1"/>
          </p:cNvSpPr>
          <p:nvPr>
            <p:ph type="body" sz="quarter" idx="40" hasCustomPrompt="1"/>
          </p:nvPr>
        </p:nvSpPr>
        <p:spPr>
          <a:xfrm>
            <a:off x="4295560" y="1720850"/>
            <a:ext cx="3202898" cy="94454"/>
          </a:xfrm>
          <a:solidFill>
            <a:schemeClr val="accent1"/>
          </a:solidFill>
        </p:spPr>
        <p:txBody>
          <a:bodyPr/>
          <a:lstStyle>
            <a:lvl1pPr marL="0" indent="0">
              <a:buNone/>
              <a:defRPr sz="200"/>
            </a:lvl1pPr>
            <a:lvl4pPr>
              <a:buClr>
                <a:schemeClr val="accent1"/>
              </a:buClr>
              <a:defRPr/>
            </a:lvl4pPr>
            <a:lvl5pPr>
              <a:buClr>
                <a:schemeClr val="accent1"/>
              </a:buClr>
              <a:defRPr/>
            </a:lvl5pPr>
          </a:lstStyle>
          <a:p>
            <a:pPr lvl="0"/>
            <a:r>
              <a:rPr lang="en-US"/>
              <a:t> </a:t>
            </a:r>
            <a:endParaRPr lang="en-GB"/>
          </a:p>
        </p:txBody>
      </p:sp>
      <p:sp>
        <p:nvSpPr>
          <p:cNvPr id="21" name="Text Placeholder 12">
            <a:extLst>
              <a:ext uri="{FF2B5EF4-FFF2-40B4-BE49-F238E27FC236}">
                <a16:creationId xmlns:a16="http://schemas.microsoft.com/office/drawing/2014/main" id="{C20373E0-93FA-5E07-BE29-2A7CDEAB21F9}"/>
              </a:ext>
            </a:extLst>
          </p:cNvPr>
          <p:cNvSpPr>
            <a:spLocks noGrp="1"/>
          </p:cNvSpPr>
          <p:nvPr>
            <p:ph type="body" sz="quarter" idx="41" hasCustomPrompt="1"/>
          </p:nvPr>
        </p:nvSpPr>
        <p:spPr>
          <a:xfrm>
            <a:off x="8040168" y="1720850"/>
            <a:ext cx="3204519" cy="94454"/>
          </a:xfrm>
          <a:solidFill>
            <a:schemeClr val="accent1"/>
          </a:solidFill>
        </p:spPr>
        <p:txBody>
          <a:bodyPr/>
          <a:lstStyle>
            <a:lvl1pPr marL="0" indent="0">
              <a:buNone/>
              <a:defRPr sz="200"/>
            </a:lvl1pPr>
            <a:lvl4pPr>
              <a:buClr>
                <a:schemeClr val="accent1"/>
              </a:buClr>
              <a:defRPr/>
            </a:lvl4pPr>
            <a:lvl5pPr>
              <a:buClr>
                <a:schemeClr val="accent1"/>
              </a:buClr>
              <a:defRPr/>
            </a:lvl5pPr>
          </a:lstStyle>
          <a:p>
            <a:pPr lvl="0"/>
            <a:r>
              <a:rPr lang="en-US"/>
              <a:t> </a:t>
            </a:r>
            <a:endParaRPr lang="en-GB"/>
          </a:p>
        </p:txBody>
      </p:sp>
      <p:sp>
        <p:nvSpPr>
          <p:cNvPr id="23" name="Text Placeholder 12">
            <a:extLst>
              <a:ext uri="{FF2B5EF4-FFF2-40B4-BE49-F238E27FC236}">
                <a16:creationId xmlns:a16="http://schemas.microsoft.com/office/drawing/2014/main" id="{C531B205-D3A4-EA26-3CFE-0FB948EE2890}"/>
              </a:ext>
            </a:extLst>
          </p:cNvPr>
          <p:cNvSpPr>
            <a:spLocks noGrp="1"/>
          </p:cNvSpPr>
          <p:nvPr>
            <p:ph type="body" sz="quarter" idx="43"/>
          </p:nvPr>
        </p:nvSpPr>
        <p:spPr>
          <a:xfrm>
            <a:off x="550863" y="3614886"/>
            <a:ext cx="3202379" cy="1974702"/>
          </a:xfrm>
        </p:spPr>
        <p:txBody>
          <a:bodyPr/>
          <a:lstStyle/>
          <a:p>
            <a:pPr lvl="0"/>
            <a:r>
              <a:rPr lang="en-US"/>
              <a:t>Click to edit Master text styles</a:t>
            </a:r>
          </a:p>
          <a:p>
            <a:pPr lvl="1"/>
            <a:r>
              <a:rPr lang="en-US"/>
              <a:t>Second level</a:t>
            </a:r>
          </a:p>
          <a:p>
            <a:pPr lvl="2"/>
            <a:r>
              <a:rPr lang="en-US"/>
              <a:t>Third level</a:t>
            </a:r>
          </a:p>
        </p:txBody>
      </p:sp>
      <p:sp>
        <p:nvSpPr>
          <p:cNvPr id="24" name="Text Placeholder 12">
            <a:extLst>
              <a:ext uri="{FF2B5EF4-FFF2-40B4-BE49-F238E27FC236}">
                <a16:creationId xmlns:a16="http://schemas.microsoft.com/office/drawing/2014/main" id="{5CD19475-61C5-E508-86C6-A6A43C37FD75}"/>
              </a:ext>
            </a:extLst>
          </p:cNvPr>
          <p:cNvSpPr>
            <a:spLocks noGrp="1"/>
          </p:cNvSpPr>
          <p:nvPr>
            <p:ph type="body" sz="quarter" idx="44"/>
          </p:nvPr>
        </p:nvSpPr>
        <p:spPr>
          <a:xfrm>
            <a:off x="4295529" y="3614886"/>
            <a:ext cx="3202379" cy="1974702"/>
          </a:xfrm>
        </p:spPr>
        <p:txBody>
          <a:bodyPr/>
          <a:lstStyle/>
          <a:p>
            <a:pPr lvl="0"/>
            <a:r>
              <a:rPr lang="en-US"/>
              <a:t>Click to edit Master text styles</a:t>
            </a:r>
          </a:p>
          <a:p>
            <a:pPr lvl="1"/>
            <a:r>
              <a:rPr lang="en-US"/>
              <a:t>Second level</a:t>
            </a:r>
          </a:p>
          <a:p>
            <a:pPr lvl="2"/>
            <a:r>
              <a:rPr lang="en-US"/>
              <a:t>Third level</a:t>
            </a:r>
          </a:p>
        </p:txBody>
      </p:sp>
      <p:sp>
        <p:nvSpPr>
          <p:cNvPr id="25" name="Text Placeholder 12">
            <a:extLst>
              <a:ext uri="{FF2B5EF4-FFF2-40B4-BE49-F238E27FC236}">
                <a16:creationId xmlns:a16="http://schemas.microsoft.com/office/drawing/2014/main" id="{BFA0A616-B625-CB56-07F5-2868451F4AE4}"/>
              </a:ext>
            </a:extLst>
          </p:cNvPr>
          <p:cNvSpPr>
            <a:spLocks noGrp="1"/>
          </p:cNvSpPr>
          <p:nvPr>
            <p:ph type="body" sz="quarter" idx="45"/>
          </p:nvPr>
        </p:nvSpPr>
        <p:spPr>
          <a:xfrm>
            <a:off x="8040688" y="3614886"/>
            <a:ext cx="3204000" cy="1974702"/>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2053733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x Images / Tex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251885"/>
          </a:xfrm>
        </p:spPr>
        <p:txBody>
          <a:bodyPr/>
          <a:lstStyle>
            <a:lvl1pPr>
              <a:defRPr/>
            </a:lvl1pPr>
          </a:lstStyle>
          <a:p>
            <a:r>
              <a:rPr lang="en-US"/>
              <a:t>Header avenir demi</a:t>
            </a:r>
            <a:endParaRPr lang="en-GB"/>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5" name="Picture Placeholder 15">
            <a:extLst>
              <a:ext uri="{FF2B5EF4-FFF2-40B4-BE49-F238E27FC236}">
                <a16:creationId xmlns:a16="http://schemas.microsoft.com/office/drawing/2014/main" id="{903F0106-157C-427D-4EE3-058FF2156B3C}"/>
              </a:ext>
            </a:extLst>
          </p:cNvPr>
          <p:cNvSpPr>
            <a:spLocks noGrp="1"/>
          </p:cNvSpPr>
          <p:nvPr>
            <p:ph type="pic" sz="quarter" idx="20" hasCustomPrompt="1"/>
          </p:nvPr>
        </p:nvSpPr>
        <p:spPr>
          <a:xfrm>
            <a:off x="551231" y="1815304"/>
            <a:ext cx="2267633" cy="1613696"/>
          </a:xfrm>
          <a:noFill/>
        </p:spPr>
        <p:txBody>
          <a:bodyPr lIns="288000" tIns="144000" rIns="288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8" name="Picture Placeholder 15">
            <a:extLst>
              <a:ext uri="{FF2B5EF4-FFF2-40B4-BE49-F238E27FC236}">
                <a16:creationId xmlns:a16="http://schemas.microsoft.com/office/drawing/2014/main" id="{EC657CC3-F918-1A6E-4F80-19CFDA23FC11}"/>
              </a:ext>
            </a:extLst>
          </p:cNvPr>
          <p:cNvSpPr>
            <a:spLocks noGrp="1"/>
          </p:cNvSpPr>
          <p:nvPr>
            <p:ph type="pic" sz="quarter" idx="27" hasCustomPrompt="1"/>
          </p:nvPr>
        </p:nvSpPr>
        <p:spPr>
          <a:xfrm>
            <a:off x="3359518" y="1815304"/>
            <a:ext cx="2267633" cy="1613696"/>
          </a:xfrm>
          <a:noFill/>
        </p:spPr>
        <p:txBody>
          <a:bodyPr lIns="288000" tIns="144000" rIns="288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9" name="Picture Placeholder 15">
            <a:extLst>
              <a:ext uri="{FF2B5EF4-FFF2-40B4-BE49-F238E27FC236}">
                <a16:creationId xmlns:a16="http://schemas.microsoft.com/office/drawing/2014/main" id="{8D0A983E-8A75-5B03-E6D8-3B461E3D79BB}"/>
              </a:ext>
            </a:extLst>
          </p:cNvPr>
          <p:cNvSpPr>
            <a:spLocks noGrp="1"/>
          </p:cNvSpPr>
          <p:nvPr>
            <p:ph type="pic" sz="quarter" idx="29" hasCustomPrompt="1"/>
          </p:nvPr>
        </p:nvSpPr>
        <p:spPr>
          <a:xfrm>
            <a:off x="6167805" y="1815304"/>
            <a:ext cx="2267633" cy="1613696"/>
          </a:xfrm>
          <a:noFill/>
        </p:spPr>
        <p:txBody>
          <a:bodyPr lIns="288000" tIns="144000" rIns="288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12" name="Picture Placeholder 15">
            <a:extLst>
              <a:ext uri="{FF2B5EF4-FFF2-40B4-BE49-F238E27FC236}">
                <a16:creationId xmlns:a16="http://schemas.microsoft.com/office/drawing/2014/main" id="{73CB5704-B72F-A122-22D9-327C2FC30431}"/>
              </a:ext>
            </a:extLst>
          </p:cNvPr>
          <p:cNvSpPr>
            <a:spLocks noGrp="1"/>
          </p:cNvSpPr>
          <p:nvPr>
            <p:ph type="pic" sz="quarter" idx="33" hasCustomPrompt="1"/>
          </p:nvPr>
        </p:nvSpPr>
        <p:spPr>
          <a:xfrm>
            <a:off x="8976091" y="1815304"/>
            <a:ext cx="2267633" cy="1613696"/>
          </a:xfrm>
          <a:noFill/>
        </p:spPr>
        <p:txBody>
          <a:bodyPr lIns="288000" tIns="144000" rIns="288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17" name="Text Placeholder 12">
            <a:extLst>
              <a:ext uri="{FF2B5EF4-FFF2-40B4-BE49-F238E27FC236}">
                <a16:creationId xmlns:a16="http://schemas.microsoft.com/office/drawing/2014/main" id="{2DA8D027-1671-C417-E0C3-5993F02B96D9}"/>
              </a:ext>
            </a:extLst>
          </p:cNvPr>
          <p:cNvSpPr>
            <a:spLocks noGrp="1"/>
          </p:cNvSpPr>
          <p:nvPr>
            <p:ph type="body" sz="quarter" idx="39" hasCustomPrompt="1"/>
          </p:nvPr>
        </p:nvSpPr>
        <p:spPr>
          <a:xfrm>
            <a:off x="550864" y="1720850"/>
            <a:ext cx="2268000" cy="94454"/>
          </a:xfrm>
          <a:solidFill>
            <a:schemeClr val="accent1"/>
          </a:solidFill>
        </p:spPr>
        <p:txBody>
          <a:bodyPr/>
          <a:lstStyle>
            <a:lvl1pPr marL="0" indent="0">
              <a:buNone/>
              <a:defRPr sz="200"/>
            </a:lvl1pPr>
            <a:lvl4pPr>
              <a:buClr>
                <a:schemeClr val="accent1"/>
              </a:buClr>
              <a:defRPr/>
            </a:lvl4pPr>
            <a:lvl5pPr>
              <a:buClr>
                <a:schemeClr val="accent1"/>
              </a:buClr>
              <a:defRPr/>
            </a:lvl5pPr>
          </a:lstStyle>
          <a:p>
            <a:pPr lvl="0"/>
            <a:r>
              <a:rPr lang="en-US"/>
              <a:t> </a:t>
            </a:r>
            <a:endParaRPr lang="en-GB"/>
          </a:p>
        </p:txBody>
      </p:sp>
      <p:sp>
        <p:nvSpPr>
          <p:cNvPr id="20" name="Text Placeholder 12">
            <a:extLst>
              <a:ext uri="{FF2B5EF4-FFF2-40B4-BE49-F238E27FC236}">
                <a16:creationId xmlns:a16="http://schemas.microsoft.com/office/drawing/2014/main" id="{CD7185C1-17ED-4DDA-8D74-3D9B371C3A61}"/>
              </a:ext>
            </a:extLst>
          </p:cNvPr>
          <p:cNvSpPr>
            <a:spLocks noGrp="1"/>
          </p:cNvSpPr>
          <p:nvPr>
            <p:ph type="body" sz="quarter" idx="40" hasCustomPrompt="1"/>
          </p:nvPr>
        </p:nvSpPr>
        <p:spPr>
          <a:xfrm>
            <a:off x="3359151" y="1720850"/>
            <a:ext cx="2268000" cy="94454"/>
          </a:xfrm>
          <a:solidFill>
            <a:schemeClr val="accent1"/>
          </a:solidFill>
        </p:spPr>
        <p:txBody>
          <a:bodyPr/>
          <a:lstStyle>
            <a:lvl1pPr marL="0" indent="0">
              <a:buNone/>
              <a:defRPr sz="200"/>
            </a:lvl1pPr>
            <a:lvl4pPr>
              <a:buClr>
                <a:schemeClr val="accent1"/>
              </a:buClr>
              <a:defRPr/>
            </a:lvl4pPr>
            <a:lvl5pPr>
              <a:buClr>
                <a:schemeClr val="accent1"/>
              </a:buClr>
              <a:defRPr/>
            </a:lvl5pPr>
          </a:lstStyle>
          <a:p>
            <a:pPr lvl="0"/>
            <a:r>
              <a:rPr lang="en-US"/>
              <a:t> </a:t>
            </a:r>
            <a:endParaRPr lang="en-GB"/>
          </a:p>
        </p:txBody>
      </p:sp>
      <p:sp>
        <p:nvSpPr>
          <p:cNvPr id="21" name="Text Placeholder 12">
            <a:extLst>
              <a:ext uri="{FF2B5EF4-FFF2-40B4-BE49-F238E27FC236}">
                <a16:creationId xmlns:a16="http://schemas.microsoft.com/office/drawing/2014/main" id="{C20373E0-93FA-5E07-BE29-2A7CDEAB21F9}"/>
              </a:ext>
            </a:extLst>
          </p:cNvPr>
          <p:cNvSpPr>
            <a:spLocks noGrp="1"/>
          </p:cNvSpPr>
          <p:nvPr>
            <p:ph type="body" sz="quarter" idx="41" hasCustomPrompt="1"/>
          </p:nvPr>
        </p:nvSpPr>
        <p:spPr>
          <a:xfrm>
            <a:off x="6167438" y="1720850"/>
            <a:ext cx="2268000" cy="94454"/>
          </a:xfrm>
          <a:solidFill>
            <a:schemeClr val="accent1"/>
          </a:solidFill>
        </p:spPr>
        <p:txBody>
          <a:bodyPr/>
          <a:lstStyle>
            <a:lvl1pPr marL="0" indent="0">
              <a:buNone/>
              <a:defRPr sz="200"/>
            </a:lvl1pPr>
            <a:lvl4pPr>
              <a:buClr>
                <a:schemeClr val="accent1"/>
              </a:buClr>
              <a:defRPr/>
            </a:lvl4pPr>
            <a:lvl5pPr>
              <a:buClr>
                <a:schemeClr val="accent1"/>
              </a:buClr>
              <a:defRPr/>
            </a:lvl5pPr>
          </a:lstStyle>
          <a:p>
            <a:pPr lvl="0"/>
            <a:r>
              <a:rPr lang="en-US"/>
              <a:t> </a:t>
            </a:r>
            <a:endParaRPr lang="en-GB"/>
          </a:p>
        </p:txBody>
      </p:sp>
      <p:sp>
        <p:nvSpPr>
          <p:cNvPr id="22" name="Text Placeholder 12">
            <a:extLst>
              <a:ext uri="{FF2B5EF4-FFF2-40B4-BE49-F238E27FC236}">
                <a16:creationId xmlns:a16="http://schemas.microsoft.com/office/drawing/2014/main" id="{16AEE30E-3916-27B5-D72D-39A00D8F21C2}"/>
              </a:ext>
            </a:extLst>
          </p:cNvPr>
          <p:cNvSpPr>
            <a:spLocks noGrp="1"/>
          </p:cNvSpPr>
          <p:nvPr>
            <p:ph type="body" sz="quarter" idx="42" hasCustomPrompt="1"/>
          </p:nvPr>
        </p:nvSpPr>
        <p:spPr>
          <a:xfrm>
            <a:off x="8975724" y="1720850"/>
            <a:ext cx="2268000" cy="94454"/>
          </a:xfrm>
          <a:solidFill>
            <a:schemeClr val="accent1"/>
          </a:solidFill>
        </p:spPr>
        <p:txBody>
          <a:bodyPr/>
          <a:lstStyle>
            <a:lvl1pPr marL="0" indent="0">
              <a:buNone/>
              <a:defRPr sz="200"/>
            </a:lvl1pPr>
            <a:lvl4pPr>
              <a:buClr>
                <a:schemeClr val="accent1"/>
              </a:buClr>
              <a:defRPr/>
            </a:lvl4pPr>
            <a:lvl5pPr>
              <a:buClr>
                <a:schemeClr val="accent1"/>
              </a:buClr>
              <a:defRPr/>
            </a:lvl5pPr>
          </a:lstStyle>
          <a:p>
            <a:pPr lvl="0"/>
            <a:r>
              <a:rPr lang="en-US"/>
              <a:t> </a:t>
            </a:r>
            <a:endParaRPr lang="en-GB"/>
          </a:p>
        </p:txBody>
      </p:sp>
      <p:sp>
        <p:nvSpPr>
          <p:cNvPr id="23" name="Text Placeholder 12">
            <a:extLst>
              <a:ext uri="{FF2B5EF4-FFF2-40B4-BE49-F238E27FC236}">
                <a16:creationId xmlns:a16="http://schemas.microsoft.com/office/drawing/2014/main" id="{C531B205-D3A4-EA26-3CFE-0FB948EE2890}"/>
              </a:ext>
            </a:extLst>
          </p:cNvPr>
          <p:cNvSpPr>
            <a:spLocks noGrp="1"/>
          </p:cNvSpPr>
          <p:nvPr>
            <p:ph type="body" sz="quarter" idx="43"/>
          </p:nvPr>
        </p:nvSpPr>
        <p:spPr>
          <a:xfrm>
            <a:off x="550863" y="3614886"/>
            <a:ext cx="2267633" cy="1974702"/>
          </a:xfrm>
        </p:spPr>
        <p:txBody>
          <a:bodyPr/>
          <a:lstStyle/>
          <a:p>
            <a:pPr lvl="0"/>
            <a:r>
              <a:rPr lang="en-US"/>
              <a:t>Click to edit Master text styles</a:t>
            </a:r>
          </a:p>
          <a:p>
            <a:pPr lvl="1"/>
            <a:r>
              <a:rPr lang="en-US"/>
              <a:t>Second level</a:t>
            </a:r>
          </a:p>
          <a:p>
            <a:pPr lvl="2"/>
            <a:r>
              <a:rPr lang="en-US"/>
              <a:t>Third level</a:t>
            </a:r>
          </a:p>
        </p:txBody>
      </p:sp>
      <p:sp>
        <p:nvSpPr>
          <p:cNvPr id="24" name="Text Placeholder 12">
            <a:extLst>
              <a:ext uri="{FF2B5EF4-FFF2-40B4-BE49-F238E27FC236}">
                <a16:creationId xmlns:a16="http://schemas.microsoft.com/office/drawing/2014/main" id="{5CD19475-61C5-E508-86C6-A6A43C37FD75}"/>
              </a:ext>
            </a:extLst>
          </p:cNvPr>
          <p:cNvSpPr>
            <a:spLocks noGrp="1"/>
          </p:cNvSpPr>
          <p:nvPr>
            <p:ph type="body" sz="quarter" idx="44"/>
          </p:nvPr>
        </p:nvSpPr>
        <p:spPr>
          <a:xfrm>
            <a:off x="3359272" y="3614886"/>
            <a:ext cx="2267633" cy="1974702"/>
          </a:xfrm>
        </p:spPr>
        <p:txBody>
          <a:bodyPr/>
          <a:lstStyle/>
          <a:p>
            <a:pPr lvl="0"/>
            <a:r>
              <a:rPr lang="en-US"/>
              <a:t>Click to edit Master text styles</a:t>
            </a:r>
          </a:p>
          <a:p>
            <a:pPr lvl="1"/>
            <a:r>
              <a:rPr lang="en-US"/>
              <a:t>Second level</a:t>
            </a:r>
          </a:p>
          <a:p>
            <a:pPr lvl="2"/>
            <a:r>
              <a:rPr lang="en-US"/>
              <a:t>Third level</a:t>
            </a:r>
          </a:p>
        </p:txBody>
      </p:sp>
      <p:sp>
        <p:nvSpPr>
          <p:cNvPr id="25" name="Text Placeholder 12">
            <a:extLst>
              <a:ext uri="{FF2B5EF4-FFF2-40B4-BE49-F238E27FC236}">
                <a16:creationId xmlns:a16="http://schemas.microsoft.com/office/drawing/2014/main" id="{BFA0A616-B625-CB56-07F5-2868451F4AE4}"/>
              </a:ext>
            </a:extLst>
          </p:cNvPr>
          <p:cNvSpPr>
            <a:spLocks noGrp="1"/>
          </p:cNvSpPr>
          <p:nvPr>
            <p:ph type="body" sz="quarter" idx="45"/>
          </p:nvPr>
        </p:nvSpPr>
        <p:spPr>
          <a:xfrm>
            <a:off x="6167681" y="3614886"/>
            <a:ext cx="2267633" cy="1974702"/>
          </a:xfrm>
        </p:spPr>
        <p:txBody>
          <a:bodyPr/>
          <a:lstStyle/>
          <a:p>
            <a:pPr lvl="0"/>
            <a:r>
              <a:rPr lang="en-US"/>
              <a:t>Click to edit Master text styles</a:t>
            </a:r>
          </a:p>
          <a:p>
            <a:pPr lvl="1"/>
            <a:r>
              <a:rPr lang="en-US"/>
              <a:t>Second level</a:t>
            </a:r>
          </a:p>
          <a:p>
            <a:pPr lvl="2"/>
            <a:r>
              <a:rPr lang="en-US"/>
              <a:t>Third level</a:t>
            </a:r>
          </a:p>
        </p:txBody>
      </p:sp>
      <p:sp>
        <p:nvSpPr>
          <p:cNvPr id="26" name="Text Placeholder 12">
            <a:extLst>
              <a:ext uri="{FF2B5EF4-FFF2-40B4-BE49-F238E27FC236}">
                <a16:creationId xmlns:a16="http://schemas.microsoft.com/office/drawing/2014/main" id="{44E764C5-EE0F-D481-485B-3B14A6A1CFCF}"/>
              </a:ext>
            </a:extLst>
          </p:cNvPr>
          <p:cNvSpPr>
            <a:spLocks noGrp="1"/>
          </p:cNvSpPr>
          <p:nvPr>
            <p:ph type="body" sz="quarter" idx="46"/>
          </p:nvPr>
        </p:nvSpPr>
        <p:spPr>
          <a:xfrm>
            <a:off x="8976091" y="3614886"/>
            <a:ext cx="2267633" cy="1974702"/>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1401488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4 Teams Profiles">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251885"/>
          </a:xfrm>
        </p:spPr>
        <p:txBody>
          <a:bodyPr/>
          <a:lstStyle>
            <a:lvl1pPr>
              <a:defRPr/>
            </a:lvl1pPr>
          </a:lstStyle>
          <a:p>
            <a:r>
              <a:rPr lang="en-US"/>
              <a:t>Header avenir demi</a:t>
            </a:r>
            <a:endParaRPr lang="en-GB"/>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7" name="Picture Placeholder 15">
            <a:extLst>
              <a:ext uri="{FF2B5EF4-FFF2-40B4-BE49-F238E27FC236}">
                <a16:creationId xmlns:a16="http://schemas.microsoft.com/office/drawing/2014/main" id="{8575BBD5-17C3-1DCA-C387-5D44672EB054}"/>
              </a:ext>
            </a:extLst>
          </p:cNvPr>
          <p:cNvSpPr>
            <a:spLocks noGrp="1"/>
          </p:cNvSpPr>
          <p:nvPr>
            <p:ph type="pic" sz="quarter" idx="39" hasCustomPrompt="1"/>
          </p:nvPr>
        </p:nvSpPr>
        <p:spPr>
          <a:xfrm>
            <a:off x="6167437" y="1270001"/>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10" name="Text Placeholder 12">
            <a:extLst>
              <a:ext uri="{FF2B5EF4-FFF2-40B4-BE49-F238E27FC236}">
                <a16:creationId xmlns:a16="http://schemas.microsoft.com/office/drawing/2014/main" id="{C4150847-1F6F-857E-692F-5C4E2A9E42CE}"/>
              </a:ext>
            </a:extLst>
          </p:cNvPr>
          <p:cNvSpPr>
            <a:spLocks noGrp="1"/>
          </p:cNvSpPr>
          <p:nvPr>
            <p:ph type="body" sz="quarter" idx="40"/>
          </p:nvPr>
        </p:nvSpPr>
        <p:spPr>
          <a:xfrm>
            <a:off x="6167437"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11" name="Text Placeholder 12">
            <a:extLst>
              <a:ext uri="{FF2B5EF4-FFF2-40B4-BE49-F238E27FC236}">
                <a16:creationId xmlns:a16="http://schemas.microsoft.com/office/drawing/2014/main" id="{97DA1409-93A0-C554-7ED9-E4C4F2EDDC29}"/>
              </a:ext>
            </a:extLst>
          </p:cNvPr>
          <p:cNvSpPr>
            <a:spLocks noGrp="1"/>
          </p:cNvSpPr>
          <p:nvPr>
            <p:ph type="body" sz="quarter" idx="41" hasCustomPrompt="1"/>
          </p:nvPr>
        </p:nvSpPr>
        <p:spPr>
          <a:xfrm>
            <a:off x="6167437" y="2311763"/>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13" name="Picture Placeholder 15">
            <a:extLst>
              <a:ext uri="{FF2B5EF4-FFF2-40B4-BE49-F238E27FC236}">
                <a16:creationId xmlns:a16="http://schemas.microsoft.com/office/drawing/2014/main" id="{7746417C-B9E9-48F3-42E0-5744312D74A8}"/>
              </a:ext>
            </a:extLst>
          </p:cNvPr>
          <p:cNvSpPr>
            <a:spLocks noGrp="1"/>
          </p:cNvSpPr>
          <p:nvPr>
            <p:ph type="pic" sz="quarter" idx="42" hasCustomPrompt="1"/>
          </p:nvPr>
        </p:nvSpPr>
        <p:spPr>
          <a:xfrm>
            <a:off x="8981446" y="1270001"/>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14" name="Text Placeholder 12">
            <a:extLst>
              <a:ext uri="{FF2B5EF4-FFF2-40B4-BE49-F238E27FC236}">
                <a16:creationId xmlns:a16="http://schemas.microsoft.com/office/drawing/2014/main" id="{96D08A06-8C27-0CD8-A99D-675CBC220935}"/>
              </a:ext>
            </a:extLst>
          </p:cNvPr>
          <p:cNvSpPr>
            <a:spLocks noGrp="1"/>
          </p:cNvSpPr>
          <p:nvPr>
            <p:ph type="body" sz="quarter" idx="44"/>
          </p:nvPr>
        </p:nvSpPr>
        <p:spPr>
          <a:xfrm>
            <a:off x="8981446"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3EF370F-6715-1A9E-C31B-5779E12E9D9F}"/>
              </a:ext>
            </a:extLst>
          </p:cNvPr>
          <p:cNvSpPr>
            <a:spLocks noGrp="1"/>
          </p:cNvSpPr>
          <p:nvPr>
            <p:ph type="body" sz="quarter" idx="45" hasCustomPrompt="1"/>
          </p:nvPr>
        </p:nvSpPr>
        <p:spPr>
          <a:xfrm>
            <a:off x="8981446" y="2311763"/>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16" name="Picture Placeholder 15">
            <a:extLst>
              <a:ext uri="{FF2B5EF4-FFF2-40B4-BE49-F238E27FC236}">
                <a16:creationId xmlns:a16="http://schemas.microsoft.com/office/drawing/2014/main" id="{DA05801B-112D-E8CC-61BD-A4834B349AA6}"/>
              </a:ext>
            </a:extLst>
          </p:cNvPr>
          <p:cNvSpPr>
            <a:spLocks noGrp="1"/>
          </p:cNvSpPr>
          <p:nvPr>
            <p:ph type="pic" sz="quarter" idx="46" hasCustomPrompt="1"/>
          </p:nvPr>
        </p:nvSpPr>
        <p:spPr>
          <a:xfrm>
            <a:off x="551231" y="1639334"/>
            <a:ext cx="1404000" cy="1404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18" name="Text Placeholder 12">
            <a:extLst>
              <a:ext uri="{FF2B5EF4-FFF2-40B4-BE49-F238E27FC236}">
                <a16:creationId xmlns:a16="http://schemas.microsoft.com/office/drawing/2014/main" id="{5D98A119-8A13-B65C-1498-57CF1EC991C8}"/>
              </a:ext>
            </a:extLst>
          </p:cNvPr>
          <p:cNvSpPr>
            <a:spLocks noGrp="1"/>
          </p:cNvSpPr>
          <p:nvPr>
            <p:ph type="body" sz="quarter" idx="47"/>
          </p:nvPr>
        </p:nvSpPr>
        <p:spPr>
          <a:xfrm>
            <a:off x="550863" y="3968750"/>
            <a:ext cx="2268000" cy="1436074"/>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a:p>
            <a:pPr lvl="2"/>
            <a:r>
              <a:rPr lang="en-US"/>
              <a:t>Third level</a:t>
            </a:r>
          </a:p>
        </p:txBody>
      </p:sp>
      <p:sp>
        <p:nvSpPr>
          <p:cNvPr id="19" name="Text Placeholder 12">
            <a:extLst>
              <a:ext uri="{FF2B5EF4-FFF2-40B4-BE49-F238E27FC236}">
                <a16:creationId xmlns:a16="http://schemas.microsoft.com/office/drawing/2014/main" id="{026CE2A2-F93E-B1AA-3611-400C0319FE19}"/>
              </a:ext>
            </a:extLst>
          </p:cNvPr>
          <p:cNvSpPr>
            <a:spLocks noGrp="1"/>
          </p:cNvSpPr>
          <p:nvPr>
            <p:ph type="body" sz="quarter" idx="48" hasCustomPrompt="1"/>
          </p:nvPr>
        </p:nvSpPr>
        <p:spPr>
          <a:xfrm>
            <a:off x="550862" y="3215665"/>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27" name="Picture Placeholder 15">
            <a:extLst>
              <a:ext uri="{FF2B5EF4-FFF2-40B4-BE49-F238E27FC236}">
                <a16:creationId xmlns:a16="http://schemas.microsoft.com/office/drawing/2014/main" id="{C124DB5D-11D5-E18C-B3C8-AF86AD1E4C51}"/>
              </a:ext>
            </a:extLst>
          </p:cNvPr>
          <p:cNvSpPr>
            <a:spLocks noGrp="1"/>
          </p:cNvSpPr>
          <p:nvPr>
            <p:ph type="pic" sz="quarter" idx="49" hasCustomPrompt="1"/>
          </p:nvPr>
        </p:nvSpPr>
        <p:spPr>
          <a:xfrm>
            <a:off x="3359519" y="1639334"/>
            <a:ext cx="1404000" cy="1404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28" name="Text Placeholder 12">
            <a:extLst>
              <a:ext uri="{FF2B5EF4-FFF2-40B4-BE49-F238E27FC236}">
                <a16:creationId xmlns:a16="http://schemas.microsoft.com/office/drawing/2014/main" id="{BFE8DAEC-7AD2-5CC1-3FE9-5DCB967ECE53}"/>
              </a:ext>
            </a:extLst>
          </p:cNvPr>
          <p:cNvSpPr>
            <a:spLocks noGrp="1"/>
          </p:cNvSpPr>
          <p:nvPr>
            <p:ph type="body" sz="quarter" idx="50" hasCustomPrompt="1"/>
          </p:nvPr>
        </p:nvSpPr>
        <p:spPr>
          <a:xfrm>
            <a:off x="3359150" y="3215665"/>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29" name="Picture Placeholder 15">
            <a:extLst>
              <a:ext uri="{FF2B5EF4-FFF2-40B4-BE49-F238E27FC236}">
                <a16:creationId xmlns:a16="http://schemas.microsoft.com/office/drawing/2014/main" id="{71F103AF-A0DA-F7D1-DABC-38F8B9946D24}"/>
              </a:ext>
            </a:extLst>
          </p:cNvPr>
          <p:cNvSpPr>
            <a:spLocks noGrp="1"/>
          </p:cNvSpPr>
          <p:nvPr>
            <p:ph type="pic" sz="quarter" idx="51" hasCustomPrompt="1"/>
          </p:nvPr>
        </p:nvSpPr>
        <p:spPr>
          <a:xfrm>
            <a:off x="6167437" y="3790587"/>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30" name="Text Placeholder 12">
            <a:extLst>
              <a:ext uri="{FF2B5EF4-FFF2-40B4-BE49-F238E27FC236}">
                <a16:creationId xmlns:a16="http://schemas.microsoft.com/office/drawing/2014/main" id="{EC073910-0BCB-B148-CD87-2DBDC042DB9A}"/>
              </a:ext>
            </a:extLst>
          </p:cNvPr>
          <p:cNvSpPr>
            <a:spLocks noGrp="1"/>
          </p:cNvSpPr>
          <p:nvPr>
            <p:ph type="body" sz="quarter" idx="52"/>
          </p:nvPr>
        </p:nvSpPr>
        <p:spPr>
          <a:xfrm>
            <a:off x="6167437"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31" name="Text Placeholder 12">
            <a:extLst>
              <a:ext uri="{FF2B5EF4-FFF2-40B4-BE49-F238E27FC236}">
                <a16:creationId xmlns:a16="http://schemas.microsoft.com/office/drawing/2014/main" id="{0391096C-37E5-CDDB-7C98-44F987E40A99}"/>
              </a:ext>
            </a:extLst>
          </p:cNvPr>
          <p:cNvSpPr>
            <a:spLocks noGrp="1"/>
          </p:cNvSpPr>
          <p:nvPr>
            <p:ph type="body" sz="quarter" idx="53" hasCustomPrompt="1"/>
          </p:nvPr>
        </p:nvSpPr>
        <p:spPr>
          <a:xfrm>
            <a:off x="6167437" y="4832349"/>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2" name="Picture Placeholder 15">
            <a:extLst>
              <a:ext uri="{FF2B5EF4-FFF2-40B4-BE49-F238E27FC236}">
                <a16:creationId xmlns:a16="http://schemas.microsoft.com/office/drawing/2014/main" id="{50DC4E27-BAC2-8A31-B3AA-FF1575614782}"/>
              </a:ext>
            </a:extLst>
          </p:cNvPr>
          <p:cNvSpPr>
            <a:spLocks noGrp="1"/>
          </p:cNvSpPr>
          <p:nvPr>
            <p:ph type="pic" sz="quarter" idx="54" hasCustomPrompt="1"/>
          </p:nvPr>
        </p:nvSpPr>
        <p:spPr>
          <a:xfrm>
            <a:off x="8981446" y="3790587"/>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33" name="Text Placeholder 12">
            <a:extLst>
              <a:ext uri="{FF2B5EF4-FFF2-40B4-BE49-F238E27FC236}">
                <a16:creationId xmlns:a16="http://schemas.microsoft.com/office/drawing/2014/main" id="{85D065AE-0699-C9BB-D780-27C3BE3A2A95}"/>
              </a:ext>
            </a:extLst>
          </p:cNvPr>
          <p:cNvSpPr>
            <a:spLocks noGrp="1"/>
          </p:cNvSpPr>
          <p:nvPr>
            <p:ph type="body" sz="quarter" idx="55"/>
          </p:nvPr>
        </p:nvSpPr>
        <p:spPr>
          <a:xfrm>
            <a:off x="8981446"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34" name="Text Placeholder 12">
            <a:extLst>
              <a:ext uri="{FF2B5EF4-FFF2-40B4-BE49-F238E27FC236}">
                <a16:creationId xmlns:a16="http://schemas.microsoft.com/office/drawing/2014/main" id="{8FE81E16-B801-AA2F-8DCD-8F5AA1B99902}"/>
              </a:ext>
            </a:extLst>
          </p:cNvPr>
          <p:cNvSpPr>
            <a:spLocks noGrp="1"/>
          </p:cNvSpPr>
          <p:nvPr>
            <p:ph type="body" sz="quarter" idx="56" hasCustomPrompt="1"/>
          </p:nvPr>
        </p:nvSpPr>
        <p:spPr>
          <a:xfrm>
            <a:off x="8981446" y="4832349"/>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5" name="Text Placeholder 12">
            <a:extLst>
              <a:ext uri="{FF2B5EF4-FFF2-40B4-BE49-F238E27FC236}">
                <a16:creationId xmlns:a16="http://schemas.microsoft.com/office/drawing/2014/main" id="{3FF6A6E9-42A0-7692-13DB-315CDEBD3F10}"/>
              </a:ext>
            </a:extLst>
          </p:cNvPr>
          <p:cNvSpPr>
            <a:spLocks noGrp="1"/>
          </p:cNvSpPr>
          <p:nvPr>
            <p:ph type="body" sz="quarter" idx="59" hasCustomPrompt="1"/>
          </p:nvPr>
        </p:nvSpPr>
        <p:spPr>
          <a:xfrm>
            <a:off x="6167437" y="2642734"/>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36" name="Text Placeholder 12">
            <a:extLst>
              <a:ext uri="{FF2B5EF4-FFF2-40B4-BE49-F238E27FC236}">
                <a16:creationId xmlns:a16="http://schemas.microsoft.com/office/drawing/2014/main" id="{897F3CE4-6AD8-DC5D-E112-48390B92FD4D}"/>
              </a:ext>
            </a:extLst>
          </p:cNvPr>
          <p:cNvSpPr>
            <a:spLocks noGrp="1"/>
          </p:cNvSpPr>
          <p:nvPr>
            <p:ph type="body" sz="quarter" idx="60" hasCustomPrompt="1"/>
          </p:nvPr>
        </p:nvSpPr>
        <p:spPr>
          <a:xfrm>
            <a:off x="8981446" y="2642734"/>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37" name="Text Placeholder 12">
            <a:extLst>
              <a:ext uri="{FF2B5EF4-FFF2-40B4-BE49-F238E27FC236}">
                <a16:creationId xmlns:a16="http://schemas.microsoft.com/office/drawing/2014/main" id="{465DB172-EA52-68C6-51D1-D92A6077E7ED}"/>
              </a:ext>
            </a:extLst>
          </p:cNvPr>
          <p:cNvSpPr>
            <a:spLocks noGrp="1"/>
          </p:cNvSpPr>
          <p:nvPr>
            <p:ph type="body" sz="quarter" idx="61" hasCustomPrompt="1"/>
          </p:nvPr>
        </p:nvSpPr>
        <p:spPr>
          <a:xfrm>
            <a:off x="550862" y="3546636"/>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38" name="Text Placeholder 12">
            <a:extLst>
              <a:ext uri="{FF2B5EF4-FFF2-40B4-BE49-F238E27FC236}">
                <a16:creationId xmlns:a16="http://schemas.microsoft.com/office/drawing/2014/main" id="{FB360039-77C5-A5D7-4360-BC7847A82BB0}"/>
              </a:ext>
            </a:extLst>
          </p:cNvPr>
          <p:cNvSpPr>
            <a:spLocks noGrp="1"/>
          </p:cNvSpPr>
          <p:nvPr>
            <p:ph type="body" sz="quarter" idx="62" hasCustomPrompt="1"/>
          </p:nvPr>
        </p:nvSpPr>
        <p:spPr>
          <a:xfrm>
            <a:off x="3359150" y="3546636"/>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39" name="Text Placeholder 12">
            <a:extLst>
              <a:ext uri="{FF2B5EF4-FFF2-40B4-BE49-F238E27FC236}">
                <a16:creationId xmlns:a16="http://schemas.microsoft.com/office/drawing/2014/main" id="{3D6EC732-A113-2052-5F3D-C31549DD1CE1}"/>
              </a:ext>
            </a:extLst>
          </p:cNvPr>
          <p:cNvSpPr>
            <a:spLocks noGrp="1"/>
          </p:cNvSpPr>
          <p:nvPr>
            <p:ph type="body" sz="quarter" idx="63" hasCustomPrompt="1"/>
          </p:nvPr>
        </p:nvSpPr>
        <p:spPr>
          <a:xfrm>
            <a:off x="6167437" y="5163320"/>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40" name="Text Placeholder 12">
            <a:extLst>
              <a:ext uri="{FF2B5EF4-FFF2-40B4-BE49-F238E27FC236}">
                <a16:creationId xmlns:a16="http://schemas.microsoft.com/office/drawing/2014/main" id="{88CC3C61-40E8-CFD0-A1E0-F7B743AC005B}"/>
              </a:ext>
            </a:extLst>
          </p:cNvPr>
          <p:cNvSpPr>
            <a:spLocks noGrp="1"/>
          </p:cNvSpPr>
          <p:nvPr>
            <p:ph type="body" sz="quarter" idx="64" hasCustomPrompt="1"/>
          </p:nvPr>
        </p:nvSpPr>
        <p:spPr>
          <a:xfrm>
            <a:off x="8981446" y="5163320"/>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41" name="Text Placeholder 12">
            <a:extLst>
              <a:ext uri="{FF2B5EF4-FFF2-40B4-BE49-F238E27FC236}">
                <a16:creationId xmlns:a16="http://schemas.microsoft.com/office/drawing/2014/main" id="{70F98EAF-C679-0B0F-8CF9-2B6386737BCC}"/>
              </a:ext>
            </a:extLst>
          </p:cNvPr>
          <p:cNvSpPr>
            <a:spLocks noGrp="1"/>
          </p:cNvSpPr>
          <p:nvPr>
            <p:ph type="body" sz="quarter" idx="65"/>
          </p:nvPr>
        </p:nvSpPr>
        <p:spPr>
          <a:xfrm>
            <a:off x="3359150" y="3968750"/>
            <a:ext cx="2268000" cy="1436074"/>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1837612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2+4 Teams Profiles">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251885"/>
          </a:xfrm>
        </p:spPr>
        <p:txBody>
          <a:bodyPr/>
          <a:lstStyle>
            <a:lvl1pPr>
              <a:defRPr/>
            </a:lvl1pPr>
          </a:lstStyle>
          <a:p>
            <a:r>
              <a:rPr lang="en-US"/>
              <a:t>Header avenir demi</a:t>
            </a:r>
            <a:endParaRPr lang="en-GB"/>
          </a:p>
        </p:txBody>
      </p:sp>
      <p:sp>
        <p:nvSpPr>
          <p:cNvPr id="16" name="Picture Placeholder 15">
            <a:extLst>
              <a:ext uri="{FF2B5EF4-FFF2-40B4-BE49-F238E27FC236}">
                <a16:creationId xmlns:a16="http://schemas.microsoft.com/office/drawing/2014/main" id="{DA05801B-112D-E8CC-61BD-A4834B349AA6}"/>
              </a:ext>
            </a:extLst>
          </p:cNvPr>
          <p:cNvSpPr>
            <a:spLocks noGrp="1"/>
          </p:cNvSpPr>
          <p:nvPr>
            <p:ph type="pic" sz="quarter" idx="46" hasCustomPrompt="1"/>
          </p:nvPr>
        </p:nvSpPr>
        <p:spPr>
          <a:xfrm>
            <a:off x="1032560" y="1808163"/>
            <a:ext cx="1728419" cy="1728419"/>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18" name="Text Placeholder 12">
            <a:extLst>
              <a:ext uri="{FF2B5EF4-FFF2-40B4-BE49-F238E27FC236}">
                <a16:creationId xmlns:a16="http://schemas.microsoft.com/office/drawing/2014/main" id="{5D98A119-8A13-B65C-1498-57CF1EC991C8}"/>
              </a:ext>
            </a:extLst>
          </p:cNvPr>
          <p:cNvSpPr>
            <a:spLocks noGrp="1"/>
          </p:cNvSpPr>
          <p:nvPr>
            <p:ph type="body" sz="quarter" idx="47"/>
          </p:nvPr>
        </p:nvSpPr>
        <p:spPr>
          <a:xfrm>
            <a:off x="550863" y="4752522"/>
            <a:ext cx="2691814" cy="879022"/>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a:p>
            <a:pPr lvl="2"/>
            <a:r>
              <a:rPr lang="en-US"/>
              <a:t>Third level</a:t>
            </a:r>
          </a:p>
        </p:txBody>
      </p:sp>
      <p:sp>
        <p:nvSpPr>
          <p:cNvPr id="19" name="Text Placeholder 12">
            <a:extLst>
              <a:ext uri="{FF2B5EF4-FFF2-40B4-BE49-F238E27FC236}">
                <a16:creationId xmlns:a16="http://schemas.microsoft.com/office/drawing/2014/main" id="{026CE2A2-F93E-B1AA-3611-400C0319FE19}"/>
              </a:ext>
            </a:extLst>
          </p:cNvPr>
          <p:cNvSpPr>
            <a:spLocks noGrp="1"/>
          </p:cNvSpPr>
          <p:nvPr>
            <p:ph type="body" sz="quarter" idx="48" hasCustomPrompt="1"/>
          </p:nvPr>
        </p:nvSpPr>
        <p:spPr>
          <a:xfrm>
            <a:off x="550862" y="3708913"/>
            <a:ext cx="2691815" cy="270168"/>
          </a:xfrm>
        </p:spPr>
        <p:txBody>
          <a:bodyPr anchor="ctr" anchorCtr="0"/>
          <a:lstStyle>
            <a:lvl1pPr marL="0" indent="0" algn="ctr">
              <a:lnSpc>
                <a:spcPct val="85000"/>
              </a:lnSpc>
              <a:buNone/>
              <a:defRPr sz="20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27" name="Picture Placeholder 15">
            <a:extLst>
              <a:ext uri="{FF2B5EF4-FFF2-40B4-BE49-F238E27FC236}">
                <a16:creationId xmlns:a16="http://schemas.microsoft.com/office/drawing/2014/main" id="{C124DB5D-11D5-E18C-B3C8-AF86AD1E4C51}"/>
              </a:ext>
            </a:extLst>
          </p:cNvPr>
          <p:cNvSpPr>
            <a:spLocks noGrp="1"/>
          </p:cNvSpPr>
          <p:nvPr>
            <p:ph type="pic" sz="quarter" idx="49" hasCustomPrompt="1"/>
          </p:nvPr>
        </p:nvSpPr>
        <p:spPr>
          <a:xfrm>
            <a:off x="3836447" y="1808163"/>
            <a:ext cx="1728419" cy="1728419"/>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28" name="Text Placeholder 12">
            <a:extLst>
              <a:ext uri="{FF2B5EF4-FFF2-40B4-BE49-F238E27FC236}">
                <a16:creationId xmlns:a16="http://schemas.microsoft.com/office/drawing/2014/main" id="{BFE8DAEC-7AD2-5CC1-3FE9-5DCB967ECE53}"/>
              </a:ext>
            </a:extLst>
          </p:cNvPr>
          <p:cNvSpPr>
            <a:spLocks noGrp="1"/>
          </p:cNvSpPr>
          <p:nvPr>
            <p:ph type="body" sz="quarter" idx="50" hasCustomPrompt="1"/>
          </p:nvPr>
        </p:nvSpPr>
        <p:spPr>
          <a:xfrm>
            <a:off x="3359150" y="3708913"/>
            <a:ext cx="2683014" cy="270168"/>
          </a:xfrm>
        </p:spPr>
        <p:txBody>
          <a:bodyPr anchor="ctr" anchorCtr="0"/>
          <a:lstStyle>
            <a:lvl1pPr marL="0" indent="0" algn="ctr">
              <a:lnSpc>
                <a:spcPct val="85000"/>
              </a:lnSpc>
              <a:buNone/>
              <a:defRPr sz="20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7" name="Text Placeholder 12">
            <a:extLst>
              <a:ext uri="{FF2B5EF4-FFF2-40B4-BE49-F238E27FC236}">
                <a16:creationId xmlns:a16="http://schemas.microsoft.com/office/drawing/2014/main" id="{465DB172-EA52-68C6-51D1-D92A6077E7ED}"/>
              </a:ext>
            </a:extLst>
          </p:cNvPr>
          <p:cNvSpPr>
            <a:spLocks noGrp="1"/>
          </p:cNvSpPr>
          <p:nvPr>
            <p:ph type="body" sz="quarter" idx="61" hasCustomPrompt="1"/>
          </p:nvPr>
        </p:nvSpPr>
        <p:spPr>
          <a:xfrm>
            <a:off x="550862" y="4141484"/>
            <a:ext cx="2691815" cy="243704"/>
          </a:xfrm>
        </p:spPr>
        <p:txBody>
          <a:bodyPr anchor="ctr" anchorCtr="0"/>
          <a:lstStyle>
            <a:lvl1pPr marL="0" indent="0" algn="ctr">
              <a:lnSpc>
                <a:spcPct val="85000"/>
              </a:lnSpc>
              <a:buNone/>
              <a:defRPr sz="14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38" name="Text Placeholder 12">
            <a:extLst>
              <a:ext uri="{FF2B5EF4-FFF2-40B4-BE49-F238E27FC236}">
                <a16:creationId xmlns:a16="http://schemas.microsoft.com/office/drawing/2014/main" id="{FB360039-77C5-A5D7-4360-BC7847A82BB0}"/>
              </a:ext>
            </a:extLst>
          </p:cNvPr>
          <p:cNvSpPr>
            <a:spLocks noGrp="1"/>
          </p:cNvSpPr>
          <p:nvPr>
            <p:ph type="body" sz="quarter" idx="62" hasCustomPrompt="1"/>
          </p:nvPr>
        </p:nvSpPr>
        <p:spPr>
          <a:xfrm>
            <a:off x="3359150" y="4141484"/>
            <a:ext cx="2683014" cy="243704"/>
          </a:xfrm>
        </p:spPr>
        <p:txBody>
          <a:bodyPr anchor="ctr" anchorCtr="0"/>
          <a:lstStyle>
            <a:lvl1pPr marL="0" indent="0" algn="ctr">
              <a:lnSpc>
                <a:spcPct val="85000"/>
              </a:lnSpc>
              <a:buNone/>
              <a:defRPr sz="14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41" name="Text Placeholder 12">
            <a:extLst>
              <a:ext uri="{FF2B5EF4-FFF2-40B4-BE49-F238E27FC236}">
                <a16:creationId xmlns:a16="http://schemas.microsoft.com/office/drawing/2014/main" id="{70F98EAF-C679-0B0F-8CF9-2B6386737BCC}"/>
              </a:ext>
            </a:extLst>
          </p:cNvPr>
          <p:cNvSpPr>
            <a:spLocks noGrp="1"/>
          </p:cNvSpPr>
          <p:nvPr>
            <p:ph type="body" sz="quarter" idx="65"/>
          </p:nvPr>
        </p:nvSpPr>
        <p:spPr>
          <a:xfrm>
            <a:off x="3359150" y="4752522"/>
            <a:ext cx="2683014" cy="879022"/>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a:p>
            <a:pPr lvl="2"/>
            <a:r>
              <a:rPr lang="en-US"/>
              <a:t>Third level</a:t>
            </a:r>
          </a:p>
        </p:txBody>
      </p:sp>
      <p:sp>
        <p:nvSpPr>
          <p:cNvPr id="5" name="Picture Placeholder 15">
            <a:extLst>
              <a:ext uri="{FF2B5EF4-FFF2-40B4-BE49-F238E27FC236}">
                <a16:creationId xmlns:a16="http://schemas.microsoft.com/office/drawing/2014/main" id="{424405FB-D161-EEE8-37C9-30D6133A85EF}"/>
              </a:ext>
            </a:extLst>
          </p:cNvPr>
          <p:cNvSpPr>
            <a:spLocks noGrp="1"/>
          </p:cNvSpPr>
          <p:nvPr>
            <p:ph type="pic" sz="quarter" idx="66" hasCustomPrompt="1"/>
          </p:nvPr>
        </p:nvSpPr>
        <p:spPr>
          <a:xfrm>
            <a:off x="6631535" y="1808163"/>
            <a:ext cx="1728419" cy="1728419"/>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8" name="Text Placeholder 12">
            <a:extLst>
              <a:ext uri="{FF2B5EF4-FFF2-40B4-BE49-F238E27FC236}">
                <a16:creationId xmlns:a16="http://schemas.microsoft.com/office/drawing/2014/main" id="{5948A730-6743-2620-C76A-D32813DC7B6A}"/>
              </a:ext>
            </a:extLst>
          </p:cNvPr>
          <p:cNvSpPr>
            <a:spLocks noGrp="1"/>
          </p:cNvSpPr>
          <p:nvPr>
            <p:ph type="body" sz="quarter" idx="67"/>
          </p:nvPr>
        </p:nvSpPr>
        <p:spPr>
          <a:xfrm>
            <a:off x="6149837" y="4752522"/>
            <a:ext cx="2691814" cy="879022"/>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a:p>
            <a:pPr lvl="2"/>
            <a:r>
              <a:rPr lang="en-US"/>
              <a:t>Third level</a:t>
            </a:r>
          </a:p>
        </p:txBody>
      </p:sp>
      <p:sp>
        <p:nvSpPr>
          <p:cNvPr id="9" name="Text Placeholder 12">
            <a:extLst>
              <a:ext uri="{FF2B5EF4-FFF2-40B4-BE49-F238E27FC236}">
                <a16:creationId xmlns:a16="http://schemas.microsoft.com/office/drawing/2014/main" id="{C60CC31B-21D3-3EB2-BFE5-04D48C104DC1}"/>
              </a:ext>
            </a:extLst>
          </p:cNvPr>
          <p:cNvSpPr>
            <a:spLocks noGrp="1"/>
          </p:cNvSpPr>
          <p:nvPr>
            <p:ph type="body" sz="quarter" idx="68" hasCustomPrompt="1"/>
          </p:nvPr>
        </p:nvSpPr>
        <p:spPr>
          <a:xfrm>
            <a:off x="6149837" y="3708913"/>
            <a:ext cx="2691814" cy="270168"/>
          </a:xfrm>
        </p:spPr>
        <p:txBody>
          <a:bodyPr anchor="ctr" anchorCtr="0"/>
          <a:lstStyle>
            <a:lvl1pPr marL="0" indent="0" algn="ctr">
              <a:lnSpc>
                <a:spcPct val="85000"/>
              </a:lnSpc>
              <a:buNone/>
              <a:defRPr sz="20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12" name="Picture Placeholder 15">
            <a:extLst>
              <a:ext uri="{FF2B5EF4-FFF2-40B4-BE49-F238E27FC236}">
                <a16:creationId xmlns:a16="http://schemas.microsoft.com/office/drawing/2014/main" id="{45A91FB6-C8ED-9797-ED58-2C4C61596338}"/>
              </a:ext>
            </a:extLst>
          </p:cNvPr>
          <p:cNvSpPr>
            <a:spLocks noGrp="1"/>
          </p:cNvSpPr>
          <p:nvPr>
            <p:ph type="pic" sz="quarter" idx="69" hasCustomPrompt="1"/>
          </p:nvPr>
        </p:nvSpPr>
        <p:spPr>
          <a:xfrm>
            <a:off x="9431022" y="1808163"/>
            <a:ext cx="1728419" cy="1728419"/>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17" name="Text Placeholder 12">
            <a:extLst>
              <a:ext uri="{FF2B5EF4-FFF2-40B4-BE49-F238E27FC236}">
                <a16:creationId xmlns:a16="http://schemas.microsoft.com/office/drawing/2014/main" id="{9783FA43-653F-F28A-7914-2306996E2DFC}"/>
              </a:ext>
            </a:extLst>
          </p:cNvPr>
          <p:cNvSpPr>
            <a:spLocks noGrp="1"/>
          </p:cNvSpPr>
          <p:nvPr>
            <p:ph type="body" sz="quarter" idx="70" hasCustomPrompt="1"/>
          </p:nvPr>
        </p:nvSpPr>
        <p:spPr>
          <a:xfrm>
            <a:off x="8949324" y="3708913"/>
            <a:ext cx="2691814" cy="270168"/>
          </a:xfrm>
        </p:spPr>
        <p:txBody>
          <a:bodyPr anchor="ctr" anchorCtr="0"/>
          <a:lstStyle>
            <a:lvl1pPr marL="0" indent="0" algn="ctr">
              <a:lnSpc>
                <a:spcPct val="85000"/>
              </a:lnSpc>
              <a:buNone/>
              <a:defRPr sz="20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20" name="Text Placeholder 12">
            <a:extLst>
              <a:ext uri="{FF2B5EF4-FFF2-40B4-BE49-F238E27FC236}">
                <a16:creationId xmlns:a16="http://schemas.microsoft.com/office/drawing/2014/main" id="{EAA58838-8B71-545F-8C9E-DC0FE7AA443F}"/>
              </a:ext>
            </a:extLst>
          </p:cNvPr>
          <p:cNvSpPr>
            <a:spLocks noGrp="1"/>
          </p:cNvSpPr>
          <p:nvPr>
            <p:ph type="body" sz="quarter" idx="71" hasCustomPrompt="1"/>
          </p:nvPr>
        </p:nvSpPr>
        <p:spPr>
          <a:xfrm>
            <a:off x="6149837" y="4141484"/>
            <a:ext cx="2691814" cy="243704"/>
          </a:xfrm>
        </p:spPr>
        <p:txBody>
          <a:bodyPr anchor="ctr" anchorCtr="0"/>
          <a:lstStyle>
            <a:lvl1pPr marL="0" indent="0" algn="ctr">
              <a:lnSpc>
                <a:spcPct val="85000"/>
              </a:lnSpc>
              <a:buNone/>
              <a:defRPr sz="14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21" name="Text Placeholder 12">
            <a:extLst>
              <a:ext uri="{FF2B5EF4-FFF2-40B4-BE49-F238E27FC236}">
                <a16:creationId xmlns:a16="http://schemas.microsoft.com/office/drawing/2014/main" id="{68DEBDAC-7B54-7745-412D-D4ABEFE075AE}"/>
              </a:ext>
            </a:extLst>
          </p:cNvPr>
          <p:cNvSpPr>
            <a:spLocks noGrp="1"/>
          </p:cNvSpPr>
          <p:nvPr>
            <p:ph type="body" sz="quarter" idx="72" hasCustomPrompt="1"/>
          </p:nvPr>
        </p:nvSpPr>
        <p:spPr>
          <a:xfrm>
            <a:off x="8949324" y="4141484"/>
            <a:ext cx="2691814" cy="243704"/>
          </a:xfrm>
        </p:spPr>
        <p:txBody>
          <a:bodyPr anchor="ctr" anchorCtr="0"/>
          <a:lstStyle>
            <a:lvl1pPr marL="0" indent="0" algn="ctr">
              <a:lnSpc>
                <a:spcPct val="85000"/>
              </a:lnSpc>
              <a:buNone/>
              <a:defRPr sz="14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22" name="Text Placeholder 12">
            <a:extLst>
              <a:ext uri="{FF2B5EF4-FFF2-40B4-BE49-F238E27FC236}">
                <a16:creationId xmlns:a16="http://schemas.microsoft.com/office/drawing/2014/main" id="{E2FF18D3-EF10-B22E-15ED-BD8F40214E8A}"/>
              </a:ext>
            </a:extLst>
          </p:cNvPr>
          <p:cNvSpPr>
            <a:spLocks noGrp="1"/>
          </p:cNvSpPr>
          <p:nvPr>
            <p:ph type="body" sz="quarter" idx="73"/>
          </p:nvPr>
        </p:nvSpPr>
        <p:spPr>
          <a:xfrm>
            <a:off x="8949324" y="4752522"/>
            <a:ext cx="2691814" cy="879022"/>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8426521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4x Profiles">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251885"/>
          </a:xfrm>
        </p:spPr>
        <p:txBody>
          <a:bodyPr/>
          <a:lstStyle>
            <a:lvl1pPr>
              <a:defRPr/>
            </a:lvl1pPr>
          </a:lstStyle>
          <a:p>
            <a:r>
              <a:rPr lang="en-US"/>
              <a:t>Header avenir demi</a:t>
            </a:r>
            <a:endParaRPr lang="en-GB"/>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7" name="Picture Placeholder 15">
            <a:extLst>
              <a:ext uri="{FF2B5EF4-FFF2-40B4-BE49-F238E27FC236}">
                <a16:creationId xmlns:a16="http://schemas.microsoft.com/office/drawing/2014/main" id="{8575BBD5-17C3-1DCA-C387-5D44672EB054}"/>
              </a:ext>
            </a:extLst>
          </p:cNvPr>
          <p:cNvSpPr>
            <a:spLocks noGrp="1"/>
          </p:cNvSpPr>
          <p:nvPr>
            <p:ph type="pic" sz="quarter" idx="39" hasCustomPrompt="1"/>
          </p:nvPr>
        </p:nvSpPr>
        <p:spPr>
          <a:xfrm>
            <a:off x="550864" y="1270001"/>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10" name="Text Placeholder 12">
            <a:extLst>
              <a:ext uri="{FF2B5EF4-FFF2-40B4-BE49-F238E27FC236}">
                <a16:creationId xmlns:a16="http://schemas.microsoft.com/office/drawing/2014/main" id="{C4150847-1F6F-857E-692F-5C4E2A9E42CE}"/>
              </a:ext>
            </a:extLst>
          </p:cNvPr>
          <p:cNvSpPr>
            <a:spLocks noGrp="1"/>
          </p:cNvSpPr>
          <p:nvPr>
            <p:ph type="body" sz="quarter" idx="40"/>
          </p:nvPr>
        </p:nvSpPr>
        <p:spPr>
          <a:xfrm>
            <a:off x="550864"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11" name="Text Placeholder 12">
            <a:extLst>
              <a:ext uri="{FF2B5EF4-FFF2-40B4-BE49-F238E27FC236}">
                <a16:creationId xmlns:a16="http://schemas.microsoft.com/office/drawing/2014/main" id="{97DA1409-93A0-C554-7ED9-E4C4F2EDDC29}"/>
              </a:ext>
            </a:extLst>
          </p:cNvPr>
          <p:cNvSpPr>
            <a:spLocks noGrp="1"/>
          </p:cNvSpPr>
          <p:nvPr>
            <p:ph type="body" sz="quarter" idx="41" hasCustomPrompt="1"/>
          </p:nvPr>
        </p:nvSpPr>
        <p:spPr>
          <a:xfrm>
            <a:off x="550864" y="2311763"/>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13" name="Picture Placeholder 15">
            <a:extLst>
              <a:ext uri="{FF2B5EF4-FFF2-40B4-BE49-F238E27FC236}">
                <a16:creationId xmlns:a16="http://schemas.microsoft.com/office/drawing/2014/main" id="{7746417C-B9E9-48F3-42E0-5744312D74A8}"/>
              </a:ext>
            </a:extLst>
          </p:cNvPr>
          <p:cNvSpPr>
            <a:spLocks noGrp="1"/>
          </p:cNvSpPr>
          <p:nvPr>
            <p:ph type="pic" sz="quarter" idx="42" hasCustomPrompt="1"/>
          </p:nvPr>
        </p:nvSpPr>
        <p:spPr>
          <a:xfrm>
            <a:off x="3364873" y="1270001"/>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14" name="Text Placeholder 12">
            <a:extLst>
              <a:ext uri="{FF2B5EF4-FFF2-40B4-BE49-F238E27FC236}">
                <a16:creationId xmlns:a16="http://schemas.microsoft.com/office/drawing/2014/main" id="{96D08A06-8C27-0CD8-A99D-675CBC220935}"/>
              </a:ext>
            </a:extLst>
          </p:cNvPr>
          <p:cNvSpPr>
            <a:spLocks noGrp="1"/>
          </p:cNvSpPr>
          <p:nvPr>
            <p:ph type="body" sz="quarter" idx="44"/>
          </p:nvPr>
        </p:nvSpPr>
        <p:spPr>
          <a:xfrm>
            <a:off x="3364873"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3EF370F-6715-1A9E-C31B-5779E12E9D9F}"/>
              </a:ext>
            </a:extLst>
          </p:cNvPr>
          <p:cNvSpPr>
            <a:spLocks noGrp="1"/>
          </p:cNvSpPr>
          <p:nvPr>
            <p:ph type="body" sz="quarter" idx="45" hasCustomPrompt="1"/>
          </p:nvPr>
        </p:nvSpPr>
        <p:spPr>
          <a:xfrm>
            <a:off x="3364873" y="2311763"/>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29" name="Picture Placeholder 15">
            <a:extLst>
              <a:ext uri="{FF2B5EF4-FFF2-40B4-BE49-F238E27FC236}">
                <a16:creationId xmlns:a16="http://schemas.microsoft.com/office/drawing/2014/main" id="{71F103AF-A0DA-F7D1-DABC-38F8B9946D24}"/>
              </a:ext>
            </a:extLst>
          </p:cNvPr>
          <p:cNvSpPr>
            <a:spLocks noGrp="1"/>
          </p:cNvSpPr>
          <p:nvPr>
            <p:ph type="pic" sz="quarter" idx="51" hasCustomPrompt="1"/>
          </p:nvPr>
        </p:nvSpPr>
        <p:spPr>
          <a:xfrm>
            <a:off x="550864" y="3790587"/>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30" name="Text Placeholder 12">
            <a:extLst>
              <a:ext uri="{FF2B5EF4-FFF2-40B4-BE49-F238E27FC236}">
                <a16:creationId xmlns:a16="http://schemas.microsoft.com/office/drawing/2014/main" id="{EC073910-0BCB-B148-CD87-2DBDC042DB9A}"/>
              </a:ext>
            </a:extLst>
          </p:cNvPr>
          <p:cNvSpPr>
            <a:spLocks noGrp="1"/>
          </p:cNvSpPr>
          <p:nvPr>
            <p:ph type="body" sz="quarter" idx="52"/>
          </p:nvPr>
        </p:nvSpPr>
        <p:spPr>
          <a:xfrm>
            <a:off x="550864"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31" name="Text Placeholder 12">
            <a:extLst>
              <a:ext uri="{FF2B5EF4-FFF2-40B4-BE49-F238E27FC236}">
                <a16:creationId xmlns:a16="http://schemas.microsoft.com/office/drawing/2014/main" id="{0391096C-37E5-CDDB-7C98-44F987E40A99}"/>
              </a:ext>
            </a:extLst>
          </p:cNvPr>
          <p:cNvSpPr>
            <a:spLocks noGrp="1"/>
          </p:cNvSpPr>
          <p:nvPr>
            <p:ph type="body" sz="quarter" idx="53" hasCustomPrompt="1"/>
          </p:nvPr>
        </p:nvSpPr>
        <p:spPr>
          <a:xfrm>
            <a:off x="550864" y="4832349"/>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2" name="Picture Placeholder 15">
            <a:extLst>
              <a:ext uri="{FF2B5EF4-FFF2-40B4-BE49-F238E27FC236}">
                <a16:creationId xmlns:a16="http://schemas.microsoft.com/office/drawing/2014/main" id="{50DC4E27-BAC2-8A31-B3AA-FF1575614782}"/>
              </a:ext>
            </a:extLst>
          </p:cNvPr>
          <p:cNvSpPr>
            <a:spLocks noGrp="1"/>
          </p:cNvSpPr>
          <p:nvPr>
            <p:ph type="pic" sz="quarter" idx="54" hasCustomPrompt="1"/>
          </p:nvPr>
        </p:nvSpPr>
        <p:spPr>
          <a:xfrm>
            <a:off x="3364873" y="3790587"/>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33" name="Text Placeholder 12">
            <a:extLst>
              <a:ext uri="{FF2B5EF4-FFF2-40B4-BE49-F238E27FC236}">
                <a16:creationId xmlns:a16="http://schemas.microsoft.com/office/drawing/2014/main" id="{85D065AE-0699-C9BB-D780-27C3BE3A2A95}"/>
              </a:ext>
            </a:extLst>
          </p:cNvPr>
          <p:cNvSpPr>
            <a:spLocks noGrp="1"/>
          </p:cNvSpPr>
          <p:nvPr>
            <p:ph type="body" sz="quarter" idx="55"/>
          </p:nvPr>
        </p:nvSpPr>
        <p:spPr>
          <a:xfrm>
            <a:off x="3364873"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34" name="Text Placeholder 12">
            <a:extLst>
              <a:ext uri="{FF2B5EF4-FFF2-40B4-BE49-F238E27FC236}">
                <a16:creationId xmlns:a16="http://schemas.microsoft.com/office/drawing/2014/main" id="{8FE81E16-B801-AA2F-8DCD-8F5AA1B99902}"/>
              </a:ext>
            </a:extLst>
          </p:cNvPr>
          <p:cNvSpPr>
            <a:spLocks noGrp="1"/>
          </p:cNvSpPr>
          <p:nvPr>
            <p:ph type="body" sz="quarter" idx="56" hasCustomPrompt="1"/>
          </p:nvPr>
        </p:nvSpPr>
        <p:spPr>
          <a:xfrm>
            <a:off x="3364873" y="4832349"/>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5" name="Text Placeholder 12">
            <a:extLst>
              <a:ext uri="{FF2B5EF4-FFF2-40B4-BE49-F238E27FC236}">
                <a16:creationId xmlns:a16="http://schemas.microsoft.com/office/drawing/2014/main" id="{3FF6A6E9-42A0-7692-13DB-315CDEBD3F10}"/>
              </a:ext>
            </a:extLst>
          </p:cNvPr>
          <p:cNvSpPr>
            <a:spLocks noGrp="1"/>
          </p:cNvSpPr>
          <p:nvPr>
            <p:ph type="body" sz="quarter" idx="59" hasCustomPrompt="1"/>
          </p:nvPr>
        </p:nvSpPr>
        <p:spPr>
          <a:xfrm>
            <a:off x="550864" y="2642734"/>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36" name="Text Placeholder 12">
            <a:extLst>
              <a:ext uri="{FF2B5EF4-FFF2-40B4-BE49-F238E27FC236}">
                <a16:creationId xmlns:a16="http://schemas.microsoft.com/office/drawing/2014/main" id="{897F3CE4-6AD8-DC5D-E112-48390B92FD4D}"/>
              </a:ext>
            </a:extLst>
          </p:cNvPr>
          <p:cNvSpPr>
            <a:spLocks noGrp="1"/>
          </p:cNvSpPr>
          <p:nvPr>
            <p:ph type="body" sz="quarter" idx="60" hasCustomPrompt="1"/>
          </p:nvPr>
        </p:nvSpPr>
        <p:spPr>
          <a:xfrm>
            <a:off x="3364873" y="2642734"/>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39" name="Text Placeholder 12">
            <a:extLst>
              <a:ext uri="{FF2B5EF4-FFF2-40B4-BE49-F238E27FC236}">
                <a16:creationId xmlns:a16="http://schemas.microsoft.com/office/drawing/2014/main" id="{3D6EC732-A113-2052-5F3D-C31549DD1CE1}"/>
              </a:ext>
            </a:extLst>
          </p:cNvPr>
          <p:cNvSpPr>
            <a:spLocks noGrp="1"/>
          </p:cNvSpPr>
          <p:nvPr>
            <p:ph type="body" sz="quarter" idx="63" hasCustomPrompt="1"/>
          </p:nvPr>
        </p:nvSpPr>
        <p:spPr>
          <a:xfrm>
            <a:off x="550864" y="5163320"/>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40" name="Text Placeholder 12">
            <a:extLst>
              <a:ext uri="{FF2B5EF4-FFF2-40B4-BE49-F238E27FC236}">
                <a16:creationId xmlns:a16="http://schemas.microsoft.com/office/drawing/2014/main" id="{88CC3C61-40E8-CFD0-A1E0-F7B743AC005B}"/>
              </a:ext>
            </a:extLst>
          </p:cNvPr>
          <p:cNvSpPr>
            <a:spLocks noGrp="1"/>
          </p:cNvSpPr>
          <p:nvPr>
            <p:ph type="body" sz="quarter" idx="64" hasCustomPrompt="1"/>
          </p:nvPr>
        </p:nvSpPr>
        <p:spPr>
          <a:xfrm>
            <a:off x="3364873" y="5163320"/>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5" name="Picture Placeholder 15">
            <a:extLst>
              <a:ext uri="{FF2B5EF4-FFF2-40B4-BE49-F238E27FC236}">
                <a16:creationId xmlns:a16="http://schemas.microsoft.com/office/drawing/2014/main" id="{579F519F-FF28-E95A-90FD-8ED476302122}"/>
              </a:ext>
            </a:extLst>
          </p:cNvPr>
          <p:cNvSpPr>
            <a:spLocks noGrp="1"/>
          </p:cNvSpPr>
          <p:nvPr>
            <p:ph type="pic" sz="quarter" idx="65" hasCustomPrompt="1"/>
          </p:nvPr>
        </p:nvSpPr>
        <p:spPr>
          <a:xfrm>
            <a:off x="6167438" y="1270001"/>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8" name="Text Placeholder 12">
            <a:extLst>
              <a:ext uri="{FF2B5EF4-FFF2-40B4-BE49-F238E27FC236}">
                <a16:creationId xmlns:a16="http://schemas.microsoft.com/office/drawing/2014/main" id="{EDFB7F73-2CDA-0D25-68DB-68D4065E2EFB}"/>
              </a:ext>
            </a:extLst>
          </p:cNvPr>
          <p:cNvSpPr>
            <a:spLocks noGrp="1"/>
          </p:cNvSpPr>
          <p:nvPr>
            <p:ph type="body" sz="quarter" idx="66"/>
          </p:nvPr>
        </p:nvSpPr>
        <p:spPr>
          <a:xfrm>
            <a:off x="6167438"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9" name="Text Placeholder 12">
            <a:extLst>
              <a:ext uri="{FF2B5EF4-FFF2-40B4-BE49-F238E27FC236}">
                <a16:creationId xmlns:a16="http://schemas.microsoft.com/office/drawing/2014/main" id="{EEB2D7DD-C214-FC47-587A-A689E46CA317}"/>
              </a:ext>
            </a:extLst>
          </p:cNvPr>
          <p:cNvSpPr>
            <a:spLocks noGrp="1"/>
          </p:cNvSpPr>
          <p:nvPr>
            <p:ph type="body" sz="quarter" idx="67" hasCustomPrompt="1"/>
          </p:nvPr>
        </p:nvSpPr>
        <p:spPr>
          <a:xfrm>
            <a:off x="6167438" y="2311763"/>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12" name="Picture Placeholder 15">
            <a:extLst>
              <a:ext uri="{FF2B5EF4-FFF2-40B4-BE49-F238E27FC236}">
                <a16:creationId xmlns:a16="http://schemas.microsoft.com/office/drawing/2014/main" id="{A16AFFED-3679-EC6F-38E4-BB141B3DC4A0}"/>
              </a:ext>
            </a:extLst>
          </p:cNvPr>
          <p:cNvSpPr>
            <a:spLocks noGrp="1"/>
          </p:cNvSpPr>
          <p:nvPr>
            <p:ph type="pic" sz="quarter" idx="68" hasCustomPrompt="1"/>
          </p:nvPr>
        </p:nvSpPr>
        <p:spPr>
          <a:xfrm>
            <a:off x="8982703" y="1270001"/>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17" name="Text Placeholder 12">
            <a:extLst>
              <a:ext uri="{FF2B5EF4-FFF2-40B4-BE49-F238E27FC236}">
                <a16:creationId xmlns:a16="http://schemas.microsoft.com/office/drawing/2014/main" id="{61B398F2-4320-2608-763F-19F2EAD3DF7D}"/>
              </a:ext>
            </a:extLst>
          </p:cNvPr>
          <p:cNvSpPr>
            <a:spLocks noGrp="1"/>
          </p:cNvSpPr>
          <p:nvPr>
            <p:ph type="body" sz="quarter" idx="69"/>
          </p:nvPr>
        </p:nvSpPr>
        <p:spPr>
          <a:xfrm>
            <a:off x="8982703"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626B44F3-03D8-5E28-57CB-031C8BA36E3E}"/>
              </a:ext>
            </a:extLst>
          </p:cNvPr>
          <p:cNvSpPr>
            <a:spLocks noGrp="1"/>
          </p:cNvSpPr>
          <p:nvPr>
            <p:ph type="body" sz="quarter" idx="70" hasCustomPrompt="1"/>
          </p:nvPr>
        </p:nvSpPr>
        <p:spPr>
          <a:xfrm>
            <a:off x="8982703" y="2311763"/>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21" name="Picture Placeholder 15">
            <a:extLst>
              <a:ext uri="{FF2B5EF4-FFF2-40B4-BE49-F238E27FC236}">
                <a16:creationId xmlns:a16="http://schemas.microsoft.com/office/drawing/2014/main" id="{40DA321B-E9DB-5413-41F7-007CC6996CC5}"/>
              </a:ext>
            </a:extLst>
          </p:cNvPr>
          <p:cNvSpPr>
            <a:spLocks noGrp="1"/>
          </p:cNvSpPr>
          <p:nvPr>
            <p:ph type="pic" sz="quarter" idx="71" hasCustomPrompt="1"/>
          </p:nvPr>
        </p:nvSpPr>
        <p:spPr>
          <a:xfrm>
            <a:off x="6167438" y="3790587"/>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22" name="Text Placeholder 12">
            <a:extLst>
              <a:ext uri="{FF2B5EF4-FFF2-40B4-BE49-F238E27FC236}">
                <a16:creationId xmlns:a16="http://schemas.microsoft.com/office/drawing/2014/main" id="{E80292A4-F3B1-05FF-D679-13BCF59C7C94}"/>
              </a:ext>
            </a:extLst>
          </p:cNvPr>
          <p:cNvSpPr>
            <a:spLocks noGrp="1"/>
          </p:cNvSpPr>
          <p:nvPr>
            <p:ph type="body" sz="quarter" idx="72"/>
          </p:nvPr>
        </p:nvSpPr>
        <p:spPr>
          <a:xfrm>
            <a:off x="6167438"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23" name="Text Placeholder 12">
            <a:extLst>
              <a:ext uri="{FF2B5EF4-FFF2-40B4-BE49-F238E27FC236}">
                <a16:creationId xmlns:a16="http://schemas.microsoft.com/office/drawing/2014/main" id="{9AB4C234-EBBC-75A7-2F01-97E082284DFF}"/>
              </a:ext>
            </a:extLst>
          </p:cNvPr>
          <p:cNvSpPr>
            <a:spLocks noGrp="1"/>
          </p:cNvSpPr>
          <p:nvPr>
            <p:ph type="body" sz="quarter" idx="73" hasCustomPrompt="1"/>
          </p:nvPr>
        </p:nvSpPr>
        <p:spPr>
          <a:xfrm>
            <a:off x="6167438" y="4832349"/>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24" name="Picture Placeholder 15">
            <a:extLst>
              <a:ext uri="{FF2B5EF4-FFF2-40B4-BE49-F238E27FC236}">
                <a16:creationId xmlns:a16="http://schemas.microsoft.com/office/drawing/2014/main" id="{D7DCA51C-09C7-C83C-64D8-CE36012B9682}"/>
              </a:ext>
            </a:extLst>
          </p:cNvPr>
          <p:cNvSpPr>
            <a:spLocks noGrp="1"/>
          </p:cNvSpPr>
          <p:nvPr>
            <p:ph type="pic" sz="quarter" idx="74" hasCustomPrompt="1"/>
          </p:nvPr>
        </p:nvSpPr>
        <p:spPr>
          <a:xfrm>
            <a:off x="8982703" y="3790587"/>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25" name="Text Placeholder 12">
            <a:extLst>
              <a:ext uri="{FF2B5EF4-FFF2-40B4-BE49-F238E27FC236}">
                <a16:creationId xmlns:a16="http://schemas.microsoft.com/office/drawing/2014/main" id="{28E7888C-B313-A876-D19E-25E7127C1E4E}"/>
              </a:ext>
            </a:extLst>
          </p:cNvPr>
          <p:cNvSpPr>
            <a:spLocks noGrp="1"/>
          </p:cNvSpPr>
          <p:nvPr>
            <p:ph type="body" sz="quarter" idx="75"/>
          </p:nvPr>
        </p:nvSpPr>
        <p:spPr>
          <a:xfrm>
            <a:off x="8982703"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26" name="Text Placeholder 12">
            <a:extLst>
              <a:ext uri="{FF2B5EF4-FFF2-40B4-BE49-F238E27FC236}">
                <a16:creationId xmlns:a16="http://schemas.microsoft.com/office/drawing/2014/main" id="{A7460C6C-C808-196C-F5E0-454921820765}"/>
              </a:ext>
            </a:extLst>
          </p:cNvPr>
          <p:cNvSpPr>
            <a:spLocks noGrp="1"/>
          </p:cNvSpPr>
          <p:nvPr>
            <p:ph type="body" sz="quarter" idx="76" hasCustomPrompt="1"/>
          </p:nvPr>
        </p:nvSpPr>
        <p:spPr>
          <a:xfrm>
            <a:off x="8982703" y="4832349"/>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42" name="Text Placeholder 12">
            <a:extLst>
              <a:ext uri="{FF2B5EF4-FFF2-40B4-BE49-F238E27FC236}">
                <a16:creationId xmlns:a16="http://schemas.microsoft.com/office/drawing/2014/main" id="{B770DFBB-C159-C249-725B-DC15A247A240}"/>
              </a:ext>
            </a:extLst>
          </p:cNvPr>
          <p:cNvSpPr>
            <a:spLocks noGrp="1"/>
          </p:cNvSpPr>
          <p:nvPr>
            <p:ph type="body" sz="quarter" idx="77" hasCustomPrompt="1"/>
          </p:nvPr>
        </p:nvSpPr>
        <p:spPr>
          <a:xfrm>
            <a:off x="6167438" y="2642734"/>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43" name="Text Placeholder 12">
            <a:extLst>
              <a:ext uri="{FF2B5EF4-FFF2-40B4-BE49-F238E27FC236}">
                <a16:creationId xmlns:a16="http://schemas.microsoft.com/office/drawing/2014/main" id="{10A5C412-5937-A2B1-0F24-356981AA64A4}"/>
              </a:ext>
            </a:extLst>
          </p:cNvPr>
          <p:cNvSpPr>
            <a:spLocks noGrp="1"/>
          </p:cNvSpPr>
          <p:nvPr>
            <p:ph type="body" sz="quarter" idx="78" hasCustomPrompt="1"/>
          </p:nvPr>
        </p:nvSpPr>
        <p:spPr>
          <a:xfrm>
            <a:off x="8982703" y="2642734"/>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44" name="Text Placeholder 12">
            <a:extLst>
              <a:ext uri="{FF2B5EF4-FFF2-40B4-BE49-F238E27FC236}">
                <a16:creationId xmlns:a16="http://schemas.microsoft.com/office/drawing/2014/main" id="{B47DFAEF-1925-0117-D75F-D223750DD5F5}"/>
              </a:ext>
            </a:extLst>
          </p:cNvPr>
          <p:cNvSpPr>
            <a:spLocks noGrp="1"/>
          </p:cNvSpPr>
          <p:nvPr>
            <p:ph type="body" sz="quarter" idx="79" hasCustomPrompt="1"/>
          </p:nvPr>
        </p:nvSpPr>
        <p:spPr>
          <a:xfrm>
            <a:off x="6167438" y="5163320"/>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45" name="Text Placeholder 12">
            <a:extLst>
              <a:ext uri="{FF2B5EF4-FFF2-40B4-BE49-F238E27FC236}">
                <a16:creationId xmlns:a16="http://schemas.microsoft.com/office/drawing/2014/main" id="{89BF951E-99C3-2209-D30F-3BEFE1C9319C}"/>
              </a:ext>
            </a:extLst>
          </p:cNvPr>
          <p:cNvSpPr>
            <a:spLocks noGrp="1"/>
          </p:cNvSpPr>
          <p:nvPr>
            <p:ph type="body" sz="quarter" idx="80" hasCustomPrompt="1"/>
          </p:nvPr>
        </p:nvSpPr>
        <p:spPr>
          <a:xfrm>
            <a:off x="8982703" y="5163320"/>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Tree>
    <p:extLst>
      <p:ext uri="{BB962C8B-B14F-4D97-AF65-F5344CB8AC3E}">
        <p14:creationId xmlns:p14="http://schemas.microsoft.com/office/powerpoint/2010/main" val="62987770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spTree>
    <p:extLst>
      <p:ext uri="{BB962C8B-B14F-4D97-AF65-F5344CB8AC3E}">
        <p14:creationId xmlns:p14="http://schemas.microsoft.com/office/powerpoint/2010/main" val="54280240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5E33BF"/>
          </a:solidFill>
          <a:ln w="9525" cap="rnd" cmpd="sng" algn="ctr">
            <a:solidFill>
              <a:srgbClr val="5E33B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p>
        </p:txBody>
      </p:sp>
      <p:sp>
        <p:nvSpPr>
          <p:cNvPr id="8" name="Title 7"/>
          <p:cNvSpPr>
            <a:spLocks noGrp="1"/>
          </p:cNvSpPr>
          <p:nvPr>
            <p:ph type="title" hasCustomPrompt="1"/>
          </p:nvPr>
        </p:nvSpPr>
        <p:spPr>
          <a:xfrm>
            <a:off x="571824" y="816951"/>
            <a:ext cx="11048352" cy="332399"/>
          </a:xfrm>
        </p:spPr>
        <p:txBody>
          <a:bodyPr/>
          <a:lstStyle>
            <a:lvl1pPr>
              <a:defRPr>
                <a:solidFill>
                  <a:schemeClr val="tx1">
                    <a:lumMod val="100000"/>
                  </a:schemeClr>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9762014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Copy x1 White_With breadcrumb and title">
    <p:bg>
      <p:bgPr>
        <a:solidFill>
          <a:schemeClr val="bg1"/>
        </a:solidFill>
        <a:effectLst/>
      </p:bgPr>
    </p:bg>
    <p:spTree>
      <p:nvGrpSpPr>
        <p:cNvPr id="1" name=""/>
        <p:cNvGrpSpPr/>
        <p:nvPr/>
      </p:nvGrpSpPr>
      <p:grpSpPr>
        <a:xfrm>
          <a:off x="0" y="0"/>
          <a:ext cx="0" cy="0"/>
          <a:chOff x="0" y="0"/>
          <a:chExt cx="0" cy="0"/>
        </a:xfrm>
      </p:grpSpPr>
      <p:sp>
        <p:nvSpPr>
          <p:cNvPr id="20" name="Text Placeholder 2">
            <a:extLst>
              <a:ext uri="{FF2B5EF4-FFF2-40B4-BE49-F238E27FC236}">
                <a16:creationId xmlns:a16="http://schemas.microsoft.com/office/drawing/2014/main" id="{C24283BC-21FE-1A4C-BA6F-BD28C121AFD5}"/>
              </a:ext>
            </a:extLst>
          </p:cNvPr>
          <p:cNvSpPr>
            <a:spLocks noGrp="1"/>
          </p:cNvSpPr>
          <p:nvPr>
            <p:ph type="body" sz="quarter" idx="16" hasCustomPrompt="1"/>
          </p:nvPr>
        </p:nvSpPr>
        <p:spPr>
          <a:xfrm>
            <a:off x="633599" y="442800"/>
            <a:ext cx="7226113"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5" name="Slide Number Placeholder 2">
            <a:extLst>
              <a:ext uri="{FF2B5EF4-FFF2-40B4-BE49-F238E27FC236}">
                <a16:creationId xmlns:a16="http://schemas.microsoft.com/office/drawing/2014/main" id="{48EF2479-4BEB-8040-A915-6675C15184B9}"/>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 name="Footer Placeholder 1">
            <a:extLst>
              <a:ext uri="{FF2B5EF4-FFF2-40B4-BE49-F238E27FC236}">
                <a16:creationId xmlns:a16="http://schemas.microsoft.com/office/drawing/2014/main" id="{74F75B34-1820-344A-9E82-130ACF8E14B9}"/>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0000"/>
                </a:solidFill>
                <a:effectLst/>
                <a:uLnTx/>
                <a:uFillTx/>
                <a:latin typeface="Calibri" panose="020F0502020204030204"/>
                <a:ea typeface="+mn-ea"/>
                <a:cs typeface="+mn-cs"/>
              </a:rPr>
              <a:t>© 2023 Clarivate</a:t>
            </a:r>
          </a:p>
        </p:txBody>
      </p:sp>
      <p:sp>
        <p:nvSpPr>
          <p:cNvPr id="11" name="Text Placeholder 2">
            <a:extLst>
              <a:ext uri="{FF2B5EF4-FFF2-40B4-BE49-F238E27FC236}">
                <a16:creationId xmlns:a16="http://schemas.microsoft.com/office/drawing/2014/main" id="{8670F834-9476-4F4C-85E6-B5071A67EBC0}"/>
              </a:ext>
            </a:extLst>
          </p:cNvPr>
          <p:cNvSpPr>
            <a:spLocks noGrp="1"/>
          </p:cNvSpPr>
          <p:nvPr>
            <p:ph type="body" sz="quarter" idx="40" hasCustomPrompt="1"/>
          </p:nvPr>
        </p:nvSpPr>
        <p:spPr>
          <a:xfrm>
            <a:off x="633600" y="630000"/>
            <a:ext cx="7226113" cy="738664"/>
          </a:xfrm>
          <a:prstGeom prst="rect">
            <a:avLst/>
          </a:prstGeom>
        </p:spPr>
        <p:txBody>
          <a:bodyPr wrap="square">
            <a:sp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r>
              <a:rPr lang="en-US"/>
              <a:t> </a:t>
            </a:r>
            <a:r>
              <a:rPr lang="en-US" err="1"/>
              <a:t>elit</a:t>
            </a:r>
            <a:endParaRPr lang="en-US"/>
          </a:p>
        </p:txBody>
      </p:sp>
      <p:sp>
        <p:nvSpPr>
          <p:cNvPr id="4" name="Text Placeholder 4">
            <a:extLst>
              <a:ext uri="{FF2B5EF4-FFF2-40B4-BE49-F238E27FC236}">
                <a16:creationId xmlns:a16="http://schemas.microsoft.com/office/drawing/2014/main" id="{97BE5009-BE35-4948-AD3C-47A40D27215C}"/>
              </a:ext>
            </a:extLst>
          </p:cNvPr>
          <p:cNvSpPr>
            <a:spLocks noGrp="1"/>
          </p:cNvSpPr>
          <p:nvPr>
            <p:ph type="body" sz="quarter" idx="53" hasCustomPrompt="1"/>
          </p:nvPr>
        </p:nvSpPr>
        <p:spPr>
          <a:xfrm>
            <a:off x="633600" y="1994105"/>
            <a:ext cx="7226113" cy="72008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 dolore</a:t>
            </a:r>
            <a:endParaRPr lang="en-US"/>
          </a:p>
        </p:txBody>
      </p:sp>
      <p:sp>
        <p:nvSpPr>
          <p:cNvPr id="2" name="Text Placeholder 2">
            <a:extLst>
              <a:ext uri="{FF2B5EF4-FFF2-40B4-BE49-F238E27FC236}">
                <a16:creationId xmlns:a16="http://schemas.microsoft.com/office/drawing/2014/main" id="{502E5EA8-2E5A-43A7-7CD2-12D08CEF75F9}"/>
              </a:ext>
            </a:extLst>
          </p:cNvPr>
          <p:cNvSpPr>
            <a:spLocks noGrp="1"/>
          </p:cNvSpPr>
          <p:nvPr>
            <p:ph type="body" sz="quarter" idx="46"/>
          </p:nvPr>
        </p:nvSpPr>
        <p:spPr>
          <a:xfrm>
            <a:off x="633600" y="2733641"/>
            <a:ext cx="7226112" cy="3341722"/>
          </a:xfrm>
        </p:spPr>
        <p:txBody>
          <a:bodyPr wrap="square"/>
          <a:lstStyle>
            <a:lvl1pPr marL="180000" indent="-180000">
              <a:spcBef>
                <a:spcPts val="600"/>
              </a:spcBef>
              <a:spcAft>
                <a:spcPts val="0"/>
              </a:spcAft>
              <a:buFont typeface="Arial" panose="020B0604020202020204" pitchFamily="34" charset="0"/>
              <a:buChar char="•"/>
              <a:defRPr sz="1800"/>
            </a:lvl1pPr>
            <a:lvl2pPr marL="360000" indent="-180000">
              <a:spcBef>
                <a:spcPts val="600"/>
              </a:spcBef>
              <a:spcAft>
                <a:spcPts val="0"/>
              </a:spcAft>
              <a:buClr>
                <a:schemeClr val="accent1"/>
              </a:buClr>
              <a:buFont typeface="Arial" panose="020B0604020202020204" pitchFamily="34" charset="0"/>
              <a:buChar char="-"/>
              <a:defRPr sz="1800"/>
            </a:lvl2pPr>
            <a:lvl3pPr marL="540000" indent="-180000">
              <a:spcBef>
                <a:spcPts val="600"/>
              </a:spcBef>
              <a:spcAft>
                <a:spcPts val="0"/>
              </a:spcAft>
              <a:buFont typeface="Arial" panose="020B0604020202020204" pitchFamily="34" charset="0"/>
              <a:buChar char="-"/>
              <a:defRPr sz="1800"/>
            </a:lvl3pPr>
            <a:lvl4pPr marL="0" indent="-180000">
              <a:spcBef>
                <a:spcPts val="600"/>
              </a:spcBef>
              <a:spcAft>
                <a:spcPts val="0"/>
              </a:spcAft>
              <a:buClr>
                <a:schemeClr val="accent1"/>
              </a:buClr>
              <a:buFont typeface="Arial" panose="020B0604020202020204" pitchFamily="34" charset="0"/>
              <a:buChar char="•"/>
              <a:defRPr sz="1800"/>
            </a:lvl4pPr>
            <a:lvl5pPr marL="360000" indent="-180000">
              <a:spcBef>
                <a:spcPts val="600"/>
              </a:spcBef>
              <a:spcAft>
                <a:spcPts val="0"/>
              </a:spcAft>
              <a:buFont typeface="Arial" panose="020B0604020202020204" pitchFamily="34" charset="0"/>
              <a:buChar char="-"/>
              <a:defRPr sz="1800"/>
            </a:lvl5pPr>
            <a:lvl6pPr marL="540000" indent="-180000">
              <a:spcBef>
                <a:spcPts val="600"/>
              </a:spcBef>
              <a:buClr>
                <a:schemeClr val="accent1"/>
              </a:buClr>
              <a:buFont typeface="Arial" panose="020B0604020202020204" pitchFamily="34" charset="0"/>
              <a:buChar char="-"/>
              <a:defRPr>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pic>
        <p:nvPicPr>
          <p:cNvPr id="3" name="Picture Placeholder 13">
            <a:extLst>
              <a:ext uri="{FF2B5EF4-FFF2-40B4-BE49-F238E27FC236}">
                <a16:creationId xmlns:a16="http://schemas.microsoft.com/office/drawing/2014/main" id="{FFCEE173-0A5F-EA05-DE6F-B1583AD61812}"/>
              </a:ext>
            </a:extLst>
          </p:cNvPr>
          <p:cNvPicPr>
            <a:picLocks noChangeAspect="1"/>
          </p:cNvPicPr>
          <p:nvPr userDrawn="1"/>
        </p:nvPicPr>
        <p:blipFill>
          <a:blip r:embed="rId2">
            <a:extLst>
              <a:ext uri="{96DAC541-7B7A-43D3-8B79-37D633B846F1}">
                <asvg:svgBlip xmlns:asvg="http://schemas.microsoft.com/office/drawing/2016/SVG/main" r:embed="rId3"/>
              </a:ext>
            </a:extLst>
          </a:blip>
          <a:srcRect l="50" r="50"/>
          <a:stretch>
            <a:fillRect/>
          </a:stretch>
        </p:blipFill>
        <p:spPr>
          <a:xfrm>
            <a:off x="523038" y="6354000"/>
            <a:ext cx="1371600" cy="406400"/>
          </a:xfrm>
          <a:prstGeom prst="rect">
            <a:avLst/>
          </a:prstGeom>
        </p:spPr>
      </p:pic>
    </p:spTree>
    <p:extLst>
      <p:ext uri="{BB962C8B-B14F-4D97-AF65-F5344CB8AC3E}">
        <p14:creationId xmlns:p14="http://schemas.microsoft.com/office/powerpoint/2010/main" val="1566762701"/>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x Column - Blue / Purple Lef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DAD0FDE-F3B7-E9ED-8FBE-820CEDD9BD52}"/>
              </a:ext>
              <a:ext uri="{C183D7F6-B498-43B3-948B-1728B52AA6E4}">
                <adec:decorative xmlns:adec="http://schemas.microsoft.com/office/drawing/2017/decorative" val="1"/>
              </a:ext>
            </a:extLst>
          </p:cNvPr>
          <p:cNvSpPr/>
          <p:nvPr userDrawn="1"/>
        </p:nvSpPr>
        <p:spPr>
          <a:xfrm rot="10800000">
            <a:off x="0" y="0"/>
            <a:ext cx="4151311" cy="6858000"/>
          </a:xfrm>
          <a:prstGeom prst="rect">
            <a:avLst/>
          </a:prstGeom>
          <a:gradFill>
            <a:gsLst>
              <a:gs pos="85000">
                <a:srgbClr val="3595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5" y="368828"/>
            <a:ext cx="3204000" cy="251885"/>
          </a:xfrm>
        </p:spPr>
        <p:txBody>
          <a:bodyPr/>
          <a:lstStyle>
            <a:lvl1pPr>
              <a:defRPr>
                <a:solidFill>
                  <a:schemeClr val="bg1"/>
                </a:solidFill>
              </a:defRPr>
            </a:lvl1pPr>
          </a:lstStyle>
          <a:p>
            <a:r>
              <a:rPr lang="en-US"/>
              <a:t>Header avenir demi</a:t>
            </a:r>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5" y="752052"/>
            <a:ext cx="3204000" cy="336973"/>
          </a:xfrm>
          <a:prstGeom prst="rect">
            <a:avLst/>
          </a:prstGeom>
        </p:spPr>
        <p:txBody>
          <a:bodyPr lIns="0" tIns="0" rIns="0" bIns="0">
            <a:noAutofit/>
          </a:bodyPr>
          <a:lstStyle>
            <a:lvl1pPr marL="0" indent="0">
              <a:lnSpc>
                <a:spcPct val="90000"/>
              </a:lnSpc>
              <a:buNone/>
              <a:defRPr sz="2000">
                <a:solidFill>
                  <a:schemeClr val="bg1"/>
                </a:solidFill>
              </a:defRPr>
            </a:lvl1pPr>
          </a:lstStyle>
          <a:p>
            <a:pPr lvl="0"/>
            <a:r>
              <a:rPr lang="en-US"/>
              <a:t>Subhead avenir pro 20pt</a:t>
            </a:r>
            <a:endParaRPr lang="en-GB"/>
          </a:p>
        </p:txBody>
      </p:sp>
      <p:sp>
        <p:nvSpPr>
          <p:cNvPr id="11" name="Text Placeholder 12">
            <a:extLst>
              <a:ext uri="{FF2B5EF4-FFF2-40B4-BE49-F238E27FC236}">
                <a16:creationId xmlns:a16="http://schemas.microsoft.com/office/drawing/2014/main" id="{CBD94631-F21A-E9A8-E18B-36A8C2123E83}"/>
              </a:ext>
            </a:extLst>
          </p:cNvPr>
          <p:cNvSpPr>
            <a:spLocks noGrp="1"/>
          </p:cNvSpPr>
          <p:nvPr>
            <p:ph type="body" sz="quarter" idx="14"/>
          </p:nvPr>
        </p:nvSpPr>
        <p:spPr>
          <a:xfrm>
            <a:off x="550864" y="1811338"/>
            <a:ext cx="3204000" cy="432117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pic>
        <p:nvPicPr>
          <p:cNvPr id="6" name="Graphic 5">
            <a:extLst>
              <a:ext uri="{FF2B5EF4-FFF2-40B4-BE49-F238E27FC236}">
                <a16:creationId xmlns:a16="http://schemas.microsoft.com/office/drawing/2014/main" id="{C6EC22AA-EB71-1C63-2A47-66FF10DFA538}"/>
              </a:ext>
            </a:extLst>
          </p:cNvPr>
          <p:cNvPicPr>
            <a:picLocks noChangeAspect="1"/>
          </p:cNvPicPr>
          <p:nvPr userDrawn="1"/>
        </p:nvPicPr>
        <p:blipFill>
          <a:blip r:embed="rId2">
            <a:extLst>
              <a:ext uri="{96DAC541-7B7A-43D3-8B79-37D633B846F1}">
                <asvg:svgBlip xmlns:asvg="http://schemas.microsoft.com/office/drawing/2016/SVG/main" r:embed="rId3"/>
              </a:ext>
            </a:extLst>
          </a:blip>
          <a:srcRect l="9263" t="23870" r="9262" b="23680"/>
          <a:stretch/>
        </p:blipFill>
        <p:spPr>
          <a:xfrm>
            <a:off x="550863" y="6329363"/>
            <a:ext cx="1296000" cy="254793"/>
          </a:xfrm>
          <a:prstGeom prst="rect">
            <a:avLst/>
          </a:prstGeom>
        </p:spPr>
      </p:pic>
    </p:spTree>
    <p:extLst>
      <p:ext uri="{BB962C8B-B14F-4D97-AF65-F5344CB8AC3E}">
        <p14:creationId xmlns:p14="http://schemas.microsoft.com/office/powerpoint/2010/main" val="682393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11090274" cy="332399"/>
          </a:xfrm>
        </p:spPr>
        <p:txBody>
          <a:bodyPr>
            <a:spAutoFit/>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Tree>
    <p:extLst>
      <p:ext uri="{BB962C8B-B14F-4D97-AF65-F5344CB8AC3E}">
        <p14:creationId xmlns:p14="http://schemas.microsoft.com/office/powerpoint/2010/main" val="363810854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xt / Chart / Table_Light - 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8281986" cy="251885"/>
          </a:xfrm>
        </p:spPr>
        <p:txBody>
          <a:bodyPr/>
          <a:lstStyle>
            <a:lvl1pPr>
              <a:defRPr/>
            </a:lvl1pPr>
          </a:lstStyle>
          <a:p>
            <a:r>
              <a:rPr lang="en-US"/>
              <a:t>Header avenir demi 24pt</a:t>
            </a:r>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8281986"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Tree>
    <p:extLst>
      <p:ext uri="{BB962C8B-B14F-4D97-AF65-F5344CB8AC3E}">
        <p14:creationId xmlns:p14="http://schemas.microsoft.com/office/powerpoint/2010/main" val="343160582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ingle Textbo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8281986" cy="251885"/>
          </a:xfrm>
        </p:spPr>
        <p:txBody>
          <a:bodyPr/>
          <a:lstStyle>
            <a:lvl1pPr>
              <a:defRPr/>
            </a:lvl1pPr>
          </a:lstStyle>
          <a:p>
            <a:r>
              <a:rPr lang="en-US"/>
              <a:t>Header avenir demi 24pt</a:t>
            </a:r>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8281986"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8281986"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Tree>
    <p:extLst>
      <p:ext uri="{BB962C8B-B14F-4D97-AF65-F5344CB8AC3E}">
        <p14:creationId xmlns:p14="http://schemas.microsoft.com/office/powerpoint/2010/main" val="384856256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ingle Textbox - Three Line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8281986" cy="251885"/>
          </a:xfrm>
        </p:spPr>
        <p:txBody>
          <a:bodyPr/>
          <a:lstStyle>
            <a:lvl1pPr>
              <a:defRPr>
                <a:solidFill>
                  <a:schemeClr val="tx1"/>
                </a:solidFill>
              </a:defRPr>
            </a:lvl1pPr>
          </a:lstStyle>
          <a:p>
            <a:r>
              <a:rPr lang="en-US"/>
              <a:t>Header avenir demi 24pt</a:t>
            </a:r>
            <a:br>
              <a:rPr lang="en-US"/>
            </a:br>
            <a:r>
              <a:rPr lang="en-US"/>
              <a:t>Optional second line</a:t>
            </a:r>
            <a:br>
              <a:rPr lang="en-US"/>
            </a:br>
            <a:r>
              <a:rPr lang="en-US"/>
              <a:t>Third line</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8281986"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Tree>
    <p:extLst>
      <p:ext uri="{BB962C8B-B14F-4D97-AF65-F5344CB8AC3E}">
        <p14:creationId xmlns:p14="http://schemas.microsoft.com/office/powerpoint/2010/main" val="409600372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x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10692574" cy="251885"/>
          </a:xfrm>
        </p:spPr>
        <p:txBody>
          <a:bodyPr/>
          <a:lstStyle>
            <a:lvl1pPr>
              <a:defRPr/>
            </a:lvl1pPr>
          </a:lstStyle>
          <a:p>
            <a:r>
              <a:rPr lang="en-US"/>
              <a:t>Header avenir demi 24pt</a:t>
            </a:r>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10692574"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5076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5" name="Text Placeholder 12">
            <a:extLst>
              <a:ext uri="{FF2B5EF4-FFF2-40B4-BE49-F238E27FC236}">
                <a16:creationId xmlns:a16="http://schemas.microsoft.com/office/drawing/2014/main" id="{5B8B4328-59C1-D6A0-2D23-526CB791C2DF}"/>
              </a:ext>
            </a:extLst>
          </p:cNvPr>
          <p:cNvSpPr>
            <a:spLocks noGrp="1"/>
          </p:cNvSpPr>
          <p:nvPr>
            <p:ph type="body" sz="quarter" idx="15"/>
          </p:nvPr>
        </p:nvSpPr>
        <p:spPr>
          <a:xfrm>
            <a:off x="6167438" y="1808163"/>
            <a:ext cx="5076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Tree>
    <p:extLst>
      <p:ext uri="{BB962C8B-B14F-4D97-AF65-F5344CB8AC3E}">
        <p14:creationId xmlns:p14="http://schemas.microsoft.com/office/powerpoint/2010/main" val="221057270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3x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10692574" cy="251885"/>
          </a:xfrm>
        </p:spPr>
        <p:txBody>
          <a:bodyPr/>
          <a:lstStyle>
            <a:lvl1pPr>
              <a:defRPr/>
            </a:lvl1pPr>
          </a:lstStyle>
          <a:p>
            <a:r>
              <a:rPr lang="en-US"/>
              <a:t>Header avenir demi 24pt</a:t>
            </a:r>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10692574"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6" name="Text Placeholder 12">
            <a:extLst>
              <a:ext uri="{FF2B5EF4-FFF2-40B4-BE49-F238E27FC236}">
                <a16:creationId xmlns:a16="http://schemas.microsoft.com/office/drawing/2014/main" id="{E79289D7-5C2E-68CE-3B90-A9A8960FA82B}"/>
              </a:ext>
            </a:extLst>
          </p:cNvPr>
          <p:cNvSpPr>
            <a:spLocks noGrp="1"/>
          </p:cNvSpPr>
          <p:nvPr>
            <p:ph type="body" sz="quarter" idx="16"/>
          </p:nvPr>
        </p:nvSpPr>
        <p:spPr>
          <a:xfrm>
            <a:off x="4295151"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8" name="Text Placeholder 12">
            <a:extLst>
              <a:ext uri="{FF2B5EF4-FFF2-40B4-BE49-F238E27FC236}">
                <a16:creationId xmlns:a16="http://schemas.microsoft.com/office/drawing/2014/main" id="{49E19914-A73D-36ED-F704-267D2EE80CB7}"/>
              </a:ext>
            </a:extLst>
          </p:cNvPr>
          <p:cNvSpPr>
            <a:spLocks noGrp="1"/>
          </p:cNvSpPr>
          <p:nvPr>
            <p:ph type="body" sz="quarter" idx="17"/>
          </p:nvPr>
        </p:nvSpPr>
        <p:spPr>
          <a:xfrm>
            <a:off x="8039438"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Tree>
    <p:extLst>
      <p:ext uri="{BB962C8B-B14F-4D97-AF65-F5344CB8AC3E}">
        <p14:creationId xmlns:p14="http://schemas.microsoft.com/office/powerpoint/2010/main" val="165832786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6x Icon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5" y="368828"/>
            <a:ext cx="10693822" cy="251885"/>
          </a:xfrm>
        </p:spPr>
        <p:txBody>
          <a:bodyPr/>
          <a:lstStyle>
            <a:lvl1pPr>
              <a:defRPr/>
            </a:lvl1pPr>
          </a:lstStyle>
          <a:p>
            <a:r>
              <a:rPr lang="en-US"/>
              <a:t>Header avenir demi 24pt</a:t>
            </a:r>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5" y="752052"/>
            <a:ext cx="10693822"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6" name="Picture Placeholder 15">
            <a:extLst>
              <a:ext uri="{FF2B5EF4-FFF2-40B4-BE49-F238E27FC236}">
                <a16:creationId xmlns:a16="http://schemas.microsoft.com/office/drawing/2014/main" id="{5EA0C833-46C2-988C-0074-D6A83249C216}"/>
              </a:ext>
              <a:ext uri="{C183D7F6-B498-43B3-948B-1728B52AA6E4}">
                <adec:decorative xmlns:adec="http://schemas.microsoft.com/office/drawing/2017/decorative" val="0"/>
              </a:ext>
            </a:extLst>
          </p:cNvPr>
          <p:cNvSpPr>
            <a:spLocks noGrp="1"/>
          </p:cNvSpPr>
          <p:nvPr>
            <p:ph type="pic" sz="quarter" idx="20" hasCustomPrompt="1"/>
          </p:nvPr>
        </p:nvSpPr>
        <p:spPr>
          <a:xfrm>
            <a:off x="550863" y="1815305"/>
            <a:ext cx="360362" cy="360362"/>
          </a:xfrm>
          <a:noFill/>
        </p:spPr>
        <p:txBody>
          <a:bodyPr anchor="ctr" anchorCtr="0"/>
          <a:lstStyle>
            <a:lvl1pPr marL="0" indent="0" algn="ctr">
              <a:buNone/>
              <a:defRPr sz="1000">
                <a:solidFill>
                  <a:schemeClr val="accent2"/>
                </a:solidFill>
                <a:latin typeface="+mn-lt"/>
              </a:defRPr>
            </a:lvl1pPr>
          </a:lstStyle>
          <a:p>
            <a:pPr lvl="0"/>
            <a:r>
              <a:rPr lang="en-GB"/>
              <a:t>icon</a:t>
            </a:r>
          </a:p>
        </p:txBody>
      </p:sp>
      <p:sp>
        <p:nvSpPr>
          <p:cNvPr id="5" name="Text Placeholder 12">
            <a:extLst>
              <a:ext uri="{FF2B5EF4-FFF2-40B4-BE49-F238E27FC236}">
                <a16:creationId xmlns:a16="http://schemas.microsoft.com/office/drawing/2014/main" id="{9A6FB466-17DF-825B-8CFE-D36B7DFFAAC9}"/>
              </a:ext>
            </a:extLst>
          </p:cNvPr>
          <p:cNvSpPr>
            <a:spLocks noGrp="1"/>
          </p:cNvSpPr>
          <p:nvPr>
            <p:ph type="body" sz="quarter" idx="41" hasCustomPrompt="1"/>
          </p:nvPr>
        </p:nvSpPr>
        <p:spPr>
          <a:xfrm>
            <a:off x="550864" y="2354265"/>
            <a:ext cx="3204000"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One</a:t>
            </a:r>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3" y="2716212"/>
            <a:ext cx="3204000" cy="1079500"/>
          </a:xfrm>
        </p:spPr>
        <p:txBody>
          <a:bodyPr/>
          <a:lstStyle/>
          <a:p>
            <a:pPr lvl="0"/>
            <a:r>
              <a:rPr lang="en-US"/>
              <a:t>Click to edit Master text styles</a:t>
            </a:r>
          </a:p>
          <a:p>
            <a:pPr lvl="1"/>
            <a:r>
              <a:rPr lang="en-US"/>
              <a:t>Second level</a:t>
            </a:r>
          </a:p>
          <a:p>
            <a:pPr lvl="2"/>
            <a:r>
              <a:rPr lang="en-US"/>
              <a:t>Third level</a:t>
            </a:r>
          </a:p>
        </p:txBody>
      </p:sp>
      <p:sp>
        <p:nvSpPr>
          <p:cNvPr id="17" name="Picture Placeholder 15">
            <a:extLst>
              <a:ext uri="{FF2B5EF4-FFF2-40B4-BE49-F238E27FC236}">
                <a16:creationId xmlns:a16="http://schemas.microsoft.com/office/drawing/2014/main" id="{CD8935F0-FF95-E453-E9F6-68893F7A504D}"/>
              </a:ext>
            </a:extLst>
          </p:cNvPr>
          <p:cNvSpPr>
            <a:spLocks noGrp="1"/>
          </p:cNvSpPr>
          <p:nvPr>
            <p:ph type="pic" sz="quarter" idx="21" hasCustomPrompt="1"/>
          </p:nvPr>
        </p:nvSpPr>
        <p:spPr>
          <a:xfrm>
            <a:off x="4295776" y="1815305"/>
            <a:ext cx="360362" cy="360362"/>
          </a:xfrm>
          <a:noFill/>
        </p:spPr>
        <p:txBody>
          <a:bodyPr anchor="ctr" anchorCtr="0"/>
          <a:lstStyle>
            <a:lvl1pPr marL="0" indent="0" algn="ctr">
              <a:buNone/>
              <a:defRPr sz="1000">
                <a:solidFill>
                  <a:schemeClr val="accent2"/>
                </a:solidFill>
                <a:latin typeface="+mn-lt"/>
              </a:defRPr>
            </a:lvl1pPr>
          </a:lstStyle>
          <a:p>
            <a:pPr lvl="0"/>
            <a:r>
              <a:rPr lang="en-GB"/>
              <a:t>icon</a:t>
            </a:r>
          </a:p>
        </p:txBody>
      </p:sp>
      <p:sp>
        <p:nvSpPr>
          <p:cNvPr id="9" name="Text Placeholder 12">
            <a:extLst>
              <a:ext uri="{FF2B5EF4-FFF2-40B4-BE49-F238E27FC236}">
                <a16:creationId xmlns:a16="http://schemas.microsoft.com/office/drawing/2014/main" id="{EBA31540-DD60-C1FE-84D9-AB3B913DE24E}"/>
              </a:ext>
            </a:extLst>
          </p:cNvPr>
          <p:cNvSpPr>
            <a:spLocks noGrp="1"/>
          </p:cNvSpPr>
          <p:nvPr>
            <p:ph type="body" sz="quarter" idx="45" hasCustomPrompt="1"/>
          </p:nvPr>
        </p:nvSpPr>
        <p:spPr>
          <a:xfrm>
            <a:off x="4301240" y="2354265"/>
            <a:ext cx="3204000"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wo</a:t>
            </a:r>
          </a:p>
        </p:txBody>
      </p:sp>
      <p:sp>
        <p:nvSpPr>
          <p:cNvPr id="6" name="Text Placeholder 12">
            <a:extLst>
              <a:ext uri="{FF2B5EF4-FFF2-40B4-BE49-F238E27FC236}">
                <a16:creationId xmlns:a16="http://schemas.microsoft.com/office/drawing/2014/main" id="{41114B1E-A563-1101-CB97-0755E7E651D0}"/>
              </a:ext>
            </a:extLst>
          </p:cNvPr>
          <p:cNvSpPr>
            <a:spLocks noGrp="1"/>
          </p:cNvSpPr>
          <p:nvPr>
            <p:ph type="body" sz="quarter" idx="15"/>
          </p:nvPr>
        </p:nvSpPr>
        <p:spPr>
          <a:xfrm>
            <a:off x="4295776" y="2716213"/>
            <a:ext cx="3204000" cy="1079500"/>
          </a:xfrm>
        </p:spPr>
        <p:txBody>
          <a:bodyPr/>
          <a:lstStyle/>
          <a:p>
            <a:pPr lvl="0"/>
            <a:r>
              <a:rPr lang="en-US"/>
              <a:t>Click to edit Master text styles</a:t>
            </a:r>
          </a:p>
          <a:p>
            <a:pPr lvl="1"/>
            <a:r>
              <a:rPr lang="en-US"/>
              <a:t>Second level</a:t>
            </a:r>
          </a:p>
          <a:p>
            <a:pPr lvl="2"/>
            <a:r>
              <a:rPr lang="en-US"/>
              <a:t>Third level</a:t>
            </a:r>
            <a:endParaRPr lang="en-GB"/>
          </a:p>
        </p:txBody>
      </p:sp>
      <p:sp>
        <p:nvSpPr>
          <p:cNvPr id="18" name="Picture Placeholder 15">
            <a:extLst>
              <a:ext uri="{FF2B5EF4-FFF2-40B4-BE49-F238E27FC236}">
                <a16:creationId xmlns:a16="http://schemas.microsoft.com/office/drawing/2014/main" id="{222353BC-D3DC-BA3E-0558-E3C87FF2BDCC}"/>
              </a:ext>
            </a:extLst>
          </p:cNvPr>
          <p:cNvSpPr>
            <a:spLocks noGrp="1"/>
          </p:cNvSpPr>
          <p:nvPr>
            <p:ph type="pic" sz="quarter" idx="22" hasCustomPrompt="1"/>
          </p:nvPr>
        </p:nvSpPr>
        <p:spPr>
          <a:xfrm>
            <a:off x="8040687" y="1815305"/>
            <a:ext cx="360362" cy="360362"/>
          </a:xfrm>
          <a:noFill/>
        </p:spPr>
        <p:txBody>
          <a:bodyPr anchor="ctr" anchorCtr="0"/>
          <a:lstStyle>
            <a:lvl1pPr marL="0" indent="0" algn="ctr">
              <a:buNone/>
              <a:defRPr sz="1000">
                <a:solidFill>
                  <a:schemeClr val="accent2"/>
                </a:solidFill>
                <a:latin typeface="+mn-lt"/>
              </a:defRPr>
            </a:lvl1pPr>
          </a:lstStyle>
          <a:p>
            <a:pPr lvl="0"/>
            <a:r>
              <a:rPr lang="en-GB"/>
              <a:t>icon</a:t>
            </a:r>
          </a:p>
        </p:txBody>
      </p:sp>
      <p:sp>
        <p:nvSpPr>
          <p:cNvPr id="15" name="Text Placeholder 12">
            <a:extLst>
              <a:ext uri="{FF2B5EF4-FFF2-40B4-BE49-F238E27FC236}">
                <a16:creationId xmlns:a16="http://schemas.microsoft.com/office/drawing/2014/main" id="{47A08AD4-EF40-3EEE-D086-FAFE12BF8572}"/>
              </a:ext>
            </a:extLst>
          </p:cNvPr>
          <p:cNvSpPr>
            <a:spLocks noGrp="1"/>
          </p:cNvSpPr>
          <p:nvPr>
            <p:ph type="body" sz="quarter" idx="67" hasCustomPrompt="1"/>
          </p:nvPr>
        </p:nvSpPr>
        <p:spPr>
          <a:xfrm>
            <a:off x="8039099" y="2354265"/>
            <a:ext cx="3204000"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hree</a:t>
            </a:r>
          </a:p>
        </p:txBody>
      </p:sp>
      <p:sp>
        <p:nvSpPr>
          <p:cNvPr id="7" name="Text Placeholder 12">
            <a:extLst>
              <a:ext uri="{FF2B5EF4-FFF2-40B4-BE49-F238E27FC236}">
                <a16:creationId xmlns:a16="http://schemas.microsoft.com/office/drawing/2014/main" id="{399FA75D-803B-3E4B-7183-E3994966E24B}"/>
              </a:ext>
            </a:extLst>
          </p:cNvPr>
          <p:cNvSpPr>
            <a:spLocks noGrp="1"/>
          </p:cNvSpPr>
          <p:nvPr>
            <p:ph type="body" sz="quarter" idx="16"/>
          </p:nvPr>
        </p:nvSpPr>
        <p:spPr>
          <a:xfrm>
            <a:off x="8040687" y="2716213"/>
            <a:ext cx="3204000" cy="1079500"/>
          </a:xfrm>
        </p:spPr>
        <p:txBody>
          <a:bodyPr/>
          <a:lstStyle/>
          <a:p>
            <a:pPr lvl="0"/>
            <a:r>
              <a:rPr lang="en-US"/>
              <a:t>Click to edit Master text styles</a:t>
            </a:r>
          </a:p>
          <a:p>
            <a:pPr lvl="1"/>
            <a:r>
              <a:rPr lang="en-US"/>
              <a:t>Second level</a:t>
            </a:r>
          </a:p>
          <a:p>
            <a:pPr lvl="2"/>
            <a:r>
              <a:rPr lang="en-US"/>
              <a:t>Third level</a:t>
            </a:r>
            <a:endParaRPr lang="en-GB"/>
          </a:p>
        </p:txBody>
      </p:sp>
      <p:sp>
        <p:nvSpPr>
          <p:cNvPr id="19" name="Picture Placeholder 15">
            <a:extLst>
              <a:ext uri="{FF2B5EF4-FFF2-40B4-BE49-F238E27FC236}">
                <a16:creationId xmlns:a16="http://schemas.microsoft.com/office/drawing/2014/main" id="{470F1949-6467-FE3B-E626-1F303399B974}"/>
              </a:ext>
            </a:extLst>
          </p:cNvPr>
          <p:cNvSpPr>
            <a:spLocks noGrp="1"/>
          </p:cNvSpPr>
          <p:nvPr>
            <p:ph type="pic" sz="quarter" idx="23" hasCustomPrompt="1"/>
          </p:nvPr>
        </p:nvSpPr>
        <p:spPr>
          <a:xfrm>
            <a:off x="550863" y="3975101"/>
            <a:ext cx="360362" cy="360362"/>
          </a:xfrm>
          <a:noFill/>
        </p:spPr>
        <p:txBody>
          <a:bodyPr anchor="ctr" anchorCtr="0"/>
          <a:lstStyle>
            <a:lvl1pPr marL="0" indent="0" algn="ctr">
              <a:buNone/>
              <a:defRPr sz="1000">
                <a:solidFill>
                  <a:schemeClr val="accent2"/>
                </a:solidFill>
                <a:latin typeface="+mn-lt"/>
              </a:defRPr>
            </a:lvl1pPr>
          </a:lstStyle>
          <a:p>
            <a:pPr lvl="0"/>
            <a:r>
              <a:rPr lang="en-GB"/>
              <a:t>icon</a:t>
            </a:r>
          </a:p>
        </p:txBody>
      </p:sp>
      <p:sp>
        <p:nvSpPr>
          <p:cNvPr id="22" name="Text Placeholder 12">
            <a:extLst>
              <a:ext uri="{FF2B5EF4-FFF2-40B4-BE49-F238E27FC236}">
                <a16:creationId xmlns:a16="http://schemas.microsoft.com/office/drawing/2014/main" id="{488A00D0-DFE0-4018-7DEA-DB963BB63359}"/>
              </a:ext>
            </a:extLst>
          </p:cNvPr>
          <p:cNvSpPr>
            <a:spLocks noGrp="1"/>
          </p:cNvSpPr>
          <p:nvPr>
            <p:ph type="body" sz="quarter" idx="68" hasCustomPrompt="1"/>
          </p:nvPr>
        </p:nvSpPr>
        <p:spPr>
          <a:xfrm>
            <a:off x="550864" y="4514851"/>
            <a:ext cx="3204000"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Four</a:t>
            </a:r>
          </a:p>
        </p:txBody>
      </p:sp>
      <p:sp>
        <p:nvSpPr>
          <p:cNvPr id="11" name="Text Placeholder 12">
            <a:extLst>
              <a:ext uri="{FF2B5EF4-FFF2-40B4-BE49-F238E27FC236}">
                <a16:creationId xmlns:a16="http://schemas.microsoft.com/office/drawing/2014/main" id="{956E8744-4447-9B41-C4EF-92000E2207C8}"/>
              </a:ext>
            </a:extLst>
          </p:cNvPr>
          <p:cNvSpPr>
            <a:spLocks noGrp="1"/>
          </p:cNvSpPr>
          <p:nvPr>
            <p:ph type="body" sz="quarter" idx="17"/>
          </p:nvPr>
        </p:nvSpPr>
        <p:spPr>
          <a:xfrm>
            <a:off x="550863" y="4883149"/>
            <a:ext cx="3204000" cy="1079500"/>
          </a:xfrm>
        </p:spPr>
        <p:txBody>
          <a:bodyPr/>
          <a:lstStyle/>
          <a:p>
            <a:pPr lvl="0"/>
            <a:r>
              <a:rPr lang="en-US"/>
              <a:t>Click to edit Master text styles</a:t>
            </a:r>
          </a:p>
          <a:p>
            <a:pPr lvl="1"/>
            <a:r>
              <a:rPr lang="en-US"/>
              <a:t>Second level</a:t>
            </a:r>
          </a:p>
          <a:p>
            <a:pPr lvl="2"/>
            <a:r>
              <a:rPr lang="en-US"/>
              <a:t>Third level</a:t>
            </a:r>
          </a:p>
        </p:txBody>
      </p:sp>
      <p:sp>
        <p:nvSpPr>
          <p:cNvPr id="20" name="Picture Placeholder 15">
            <a:extLst>
              <a:ext uri="{FF2B5EF4-FFF2-40B4-BE49-F238E27FC236}">
                <a16:creationId xmlns:a16="http://schemas.microsoft.com/office/drawing/2014/main" id="{ED0BCDCE-72FA-F3E6-C968-84566E1BEF5B}"/>
              </a:ext>
            </a:extLst>
          </p:cNvPr>
          <p:cNvSpPr>
            <a:spLocks noGrp="1"/>
          </p:cNvSpPr>
          <p:nvPr>
            <p:ph type="pic" sz="quarter" idx="24" hasCustomPrompt="1"/>
          </p:nvPr>
        </p:nvSpPr>
        <p:spPr>
          <a:xfrm>
            <a:off x="4295776" y="3975101"/>
            <a:ext cx="360362" cy="360362"/>
          </a:xfrm>
          <a:noFill/>
        </p:spPr>
        <p:txBody>
          <a:bodyPr anchor="ctr" anchorCtr="0"/>
          <a:lstStyle>
            <a:lvl1pPr marL="0" indent="0" algn="ctr">
              <a:buNone/>
              <a:defRPr sz="1000">
                <a:solidFill>
                  <a:schemeClr val="accent2"/>
                </a:solidFill>
                <a:latin typeface="+mn-lt"/>
              </a:defRPr>
            </a:lvl1pPr>
          </a:lstStyle>
          <a:p>
            <a:pPr lvl="0"/>
            <a:r>
              <a:rPr lang="en-GB"/>
              <a:t>icon</a:t>
            </a:r>
          </a:p>
        </p:txBody>
      </p:sp>
      <p:sp>
        <p:nvSpPr>
          <p:cNvPr id="23" name="Text Placeholder 12">
            <a:extLst>
              <a:ext uri="{FF2B5EF4-FFF2-40B4-BE49-F238E27FC236}">
                <a16:creationId xmlns:a16="http://schemas.microsoft.com/office/drawing/2014/main" id="{35021A18-46DC-3008-76D5-10DA7AF4F84A}"/>
              </a:ext>
            </a:extLst>
          </p:cNvPr>
          <p:cNvSpPr>
            <a:spLocks noGrp="1"/>
          </p:cNvSpPr>
          <p:nvPr>
            <p:ph type="body" sz="quarter" idx="69" hasCustomPrompt="1"/>
          </p:nvPr>
        </p:nvSpPr>
        <p:spPr>
          <a:xfrm>
            <a:off x="4301240" y="4514851"/>
            <a:ext cx="3204000"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Five</a:t>
            </a:r>
          </a:p>
        </p:txBody>
      </p:sp>
      <p:sp>
        <p:nvSpPr>
          <p:cNvPr id="12" name="Text Placeholder 12">
            <a:extLst>
              <a:ext uri="{FF2B5EF4-FFF2-40B4-BE49-F238E27FC236}">
                <a16:creationId xmlns:a16="http://schemas.microsoft.com/office/drawing/2014/main" id="{92D22F55-B345-13EA-70B9-B62C67DD2FB7}"/>
              </a:ext>
            </a:extLst>
          </p:cNvPr>
          <p:cNvSpPr>
            <a:spLocks noGrp="1"/>
          </p:cNvSpPr>
          <p:nvPr>
            <p:ph type="body" sz="quarter" idx="18"/>
          </p:nvPr>
        </p:nvSpPr>
        <p:spPr>
          <a:xfrm>
            <a:off x="4295776" y="4883150"/>
            <a:ext cx="3204000" cy="1079500"/>
          </a:xfrm>
        </p:spPr>
        <p:txBody>
          <a:bodyPr/>
          <a:lstStyle/>
          <a:p>
            <a:pPr lvl="0"/>
            <a:r>
              <a:rPr lang="en-US"/>
              <a:t>Click to edit Master text styles</a:t>
            </a:r>
          </a:p>
          <a:p>
            <a:pPr lvl="1"/>
            <a:r>
              <a:rPr lang="en-US"/>
              <a:t>Second level</a:t>
            </a:r>
          </a:p>
          <a:p>
            <a:pPr lvl="2"/>
            <a:r>
              <a:rPr lang="en-US"/>
              <a:t>Third level</a:t>
            </a:r>
            <a:endParaRPr lang="en-GB"/>
          </a:p>
        </p:txBody>
      </p:sp>
      <p:sp>
        <p:nvSpPr>
          <p:cNvPr id="21" name="Picture Placeholder 15">
            <a:extLst>
              <a:ext uri="{FF2B5EF4-FFF2-40B4-BE49-F238E27FC236}">
                <a16:creationId xmlns:a16="http://schemas.microsoft.com/office/drawing/2014/main" id="{95AC45EB-6812-379E-D631-F1DE40638311}"/>
              </a:ext>
            </a:extLst>
          </p:cNvPr>
          <p:cNvSpPr>
            <a:spLocks noGrp="1"/>
          </p:cNvSpPr>
          <p:nvPr>
            <p:ph type="pic" sz="quarter" idx="25" hasCustomPrompt="1"/>
          </p:nvPr>
        </p:nvSpPr>
        <p:spPr>
          <a:xfrm>
            <a:off x="8040687" y="3975101"/>
            <a:ext cx="360362" cy="360362"/>
          </a:xfrm>
          <a:noFill/>
        </p:spPr>
        <p:txBody>
          <a:bodyPr anchor="ctr" anchorCtr="0"/>
          <a:lstStyle>
            <a:lvl1pPr marL="0" indent="0" algn="ctr">
              <a:buNone/>
              <a:defRPr sz="1000">
                <a:solidFill>
                  <a:schemeClr val="accent2"/>
                </a:solidFill>
                <a:latin typeface="+mn-lt"/>
              </a:defRPr>
            </a:lvl1pPr>
          </a:lstStyle>
          <a:p>
            <a:pPr lvl="0"/>
            <a:r>
              <a:rPr lang="en-GB"/>
              <a:t>icon</a:t>
            </a:r>
          </a:p>
        </p:txBody>
      </p:sp>
      <p:sp>
        <p:nvSpPr>
          <p:cNvPr id="24" name="Text Placeholder 12">
            <a:extLst>
              <a:ext uri="{FF2B5EF4-FFF2-40B4-BE49-F238E27FC236}">
                <a16:creationId xmlns:a16="http://schemas.microsoft.com/office/drawing/2014/main" id="{69000ADE-09E6-91EC-6A61-155867714C5E}"/>
              </a:ext>
            </a:extLst>
          </p:cNvPr>
          <p:cNvSpPr>
            <a:spLocks noGrp="1"/>
          </p:cNvSpPr>
          <p:nvPr>
            <p:ph type="body" sz="quarter" idx="70" hasCustomPrompt="1"/>
          </p:nvPr>
        </p:nvSpPr>
        <p:spPr>
          <a:xfrm>
            <a:off x="8039099" y="4514851"/>
            <a:ext cx="3204000"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Six</a:t>
            </a:r>
          </a:p>
        </p:txBody>
      </p:sp>
      <p:sp>
        <p:nvSpPr>
          <p:cNvPr id="14" name="Text Placeholder 12">
            <a:extLst>
              <a:ext uri="{FF2B5EF4-FFF2-40B4-BE49-F238E27FC236}">
                <a16:creationId xmlns:a16="http://schemas.microsoft.com/office/drawing/2014/main" id="{0876B04D-418A-408D-4B86-1F152EA3B9AC}"/>
              </a:ext>
            </a:extLst>
          </p:cNvPr>
          <p:cNvSpPr>
            <a:spLocks noGrp="1"/>
          </p:cNvSpPr>
          <p:nvPr>
            <p:ph type="body" sz="quarter" idx="19"/>
          </p:nvPr>
        </p:nvSpPr>
        <p:spPr>
          <a:xfrm>
            <a:off x="8040687" y="4883150"/>
            <a:ext cx="3204000" cy="1079500"/>
          </a:xfrm>
        </p:spPr>
        <p:txBody>
          <a:bodyPr/>
          <a:lstStyle/>
          <a:p>
            <a:pPr lvl="0"/>
            <a:r>
              <a:rPr lang="en-US"/>
              <a:t>Click to edit Master text styles</a:t>
            </a:r>
          </a:p>
          <a:p>
            <a:pPr lvl="1"/>
            <a:r>
              <a:rPr lang="en-US"/>
              <a:t>Second level</a:t>
            </a:r>
          </a:p>
          <a:p>
            <a:pPr lvl="2"/>
            <a:r>
              <a:rPr lang="en-US"/>
              <a:t>Third level</a:t>
            </a:r>
            <a:endParaRPr lang="en-GB"/>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Tree>
    <p:extLst>
      <p:ext uri="{BB962C8B-B14F-4D97-AF65-F5344CB8AC3E}">
        <p14:creationId xmlns:p14="http://schemas.microsoft.com/office/powerpoint/2010/main" val="215435617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x Pictogram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5" y="368828"/>
            <a:ext cx="10692860" cy="251885"/>
          </a:xfrm>
        </p:spPr>
        <p:txBody>
          <a:bodyPr/>
          <a:lstStyle>
            <a:lvl1pPr>
              <a:defRPr/>
            </a:lvl1pPr>
          </a:lstStyle>
          <a:p>
            <a:r>
              <a:rPr lang="en-US"/>
              <a:t>Header avenir demi 24pt</a:t>
            </a:r>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5" y="752052"/>
            <a:ext cx="10692860"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6" name="Picture Placeholder 15">
            <a:extLst>
              <a:ext uri="{FF2B5EF4-FFF2-40B4-BE49-F238E27FC236}">
                <a16:creationId xmlns:a16="http://schemas.microsoft.com/office/drawing/2014/main" id="{5EA0C833-46C2-988C-0074-D6A83249C216}"/>
              </a:ext>
            </a:extLst>
          </p:cNvPr>
          <p:cNvSpPr>
            <a:spLocks noGrp="1"/>
          </p:cNvSpPr>
          <p:nvPr>
            <p:ph type="pic" sz="quarter" idx="20" hasCustomPrompt="1"/>
          </p:nvPr>
        </p:nvSpPr>
        <p:spPr>
          <a:xfrm>
            <a:off x="551231" y="1815305"/>
            <a:ext cx="936257" cy="892971"/>
          </a:xfrm>
          <a:noFill/>
        </p:spPr>
        <p:txBody>
          <a:bodyPr anchor="ctr" anchorCtr="0"/>
          <a:lstStyle>
            <a:lvl1pPr marL="0" indent="0" algn="ctr">
              <a:spcBef>
                <a:spcPts val="0"/>
              </a:spcBef>
              <a:buNone/>
              <a:defRPr sz="1050">
                <a:solidFill>
                  <a:schemeClr val="accent2"/>
                </a:solidFill>
                <a:latin typeface="+mn-lt"/>
              </a:defRPr>
            </a:lvl1pPr>
          </a:lstStyle>
          <a:p>
            <a:pPr lvl="0"/>
            <a:r>
              <a:rPr lang="en-GB"/>
              <a:t>click or drag </a:t>
            </a:r>
            <a:br>
              <a:rPr lang="en-GB"/>
            </a:br>
            <a:r>
              <a:rPr lang="en-GB"/>
              <a:t>to insert  pictogram</a:t>
            </a:r>
          </a:p>
        </p:txBody>
      </p:sp>
      <p:sp>
        <p:nvSpPr>
          <p:cNvPr id="5" name="Text Placeholder 12">
            <a:extLst>
              <a:ext uri="{FF2B5EF4-FFF2-40B4-BE49-F238E27FC236}">
                <a16:creationId xmlns:a16="http://schemas.microsoft.com/office/drawing/2014/main" id="{B2482E55-CD47-6253-53E5-42929A12AC26}"/>
              </a:ext>
            </a:extLst>
          </p:cNvPr>
          <p:cNvSpPr>
            <a:spLocks noGrp="1"/>
          </p:cNvSpPr>
          <p:nvPr>
            <p:ph type="body" sz="quarter" idx="41" hasCustomPrompt="1"/>
          </p:nvPr>
        </p:nvSpPr>
        <p:spPr>
          <a:xfrm>
            <a:off x="550864" y="3068637"/>
            <a:ext cx="3204000"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One</a:t>
            </a:r>
          </a:p>
        </p:txBody>
      </p:sp>
      <p:sp>
        <p:nvSpPr>
          <p:cNvPr id="15" name="Text Placeholder 12">
            <a:extLst>
              <a:ext uri="{FF2B5EF4-FFF2-40B4-BE49-F238E27FC236}">
                <a16:creationId xmlns:a16="http://schemas.microsoft.com/office/drawing/2014/main" id="{7E826685-2A04-0F68-4915-A118119AB364}"/>
              </a:ext>
            </a:extLst>
          </p:cNvPr>
          <p:cNvSpPr>
            <a:spLocks noGrp="1"/>
          </p:cNvSpPr>
          <p:nvPr>
            <p:ph type="body" sz="quarter" idx="26"/>
          </p:nvPr>
        </p:nvSpPr>
        <p:spPr>
          <a:xfrm>
            <a:off x="563381" y="3435900"/>
            <a:ext cx="3204000" cy="1979613"/>
          </a:xfrm>
        </p:spPr>
        <p:txBody>
          <a:bodyPr/>
          <a:lstStyle/>
          <a:p>
            <a:pPr lvl="0"/>
            <a:r>
              <a:rPr lang="en-US"/>
              <a:t>Click to edit Master text styles</a:t>
            </a:r>
          </a:p>
          <a:p>
            <a:pPr lvl="1"/>
            <a:r>
              <a:rPr lang="en-US"/>
              <a:t>Second level</a:t>
            </a:r>
          </a:p>
          <a:p>
            <a:pPr lvl="2"/>
            <a:r>
              <a:rPr lang="en-US"/>
              <a:t>Third level</a:t>
            </a:r>
          </a:p>
        </p:txBody>
      </p:sp>
      <p:sp>
        <p:nvSpPr>
          <p:cNvPr id="22" name="Picture Placeholder 15">
            <a:extLst>
              <a:ext uri="{FF2B5EF4-FFF2-40B4-BE49-F238E27FC236}">
                <a16:creationId xmlns:a16="http://schemas.microsoft.com/office/drawing/2014/main" id="{164A5E75-1C3A-DC3D-81BD-E0B3A4964763}"/>
              </a:ext>
            </a:extLst>
          </p:cNvPr>
          <p:cNvSpPr>
            <a:spLocks noGrp="1"/>
          </p:cNvSpPr>
          <p:nvPr>
            <p:ph type="pic" sz="quarter" idx="27" hasCustomPrompt="1"/>
          </p:nvPr>
        </p:nvSpPr>
        <p:spPr>
          <a:xfrm>
            <a:off x="6173271" y="1816649"/>
            <a:ext cx="930792" cy="892971"/>
          </a:xfrm>
          <a:noFill/>
        </p:spPr>
        <p:txBody>
          <a:bodyPr anchor="ctr" anchorCtr="0"/>
          <a:lstStyle>
            <a:lvl1pPr marL="0" indent="0" algn="ctr">
              <a:spcBef>
                <a:spcPts val="0"/>
              </a:spcBef>
              <a:buNone/>
              <a:defRPr sz="1050">
                <a:solidFill>
                  <a:schemeClr val="accent2"/>
                </a:solidFill>
                <a:latin typeface="+mn-lt"/>
              </a:defRPr>
            </a:lvl1pPr>
          </a:lstStyle>
          <a:p>
            <a:pPr lvl="0"/>
            <a:r>
              <a:rPr lang="en-GB"/>
              <a:t>click or drag </a:t>
            </a:r>
            <a:br>
              <a:rPr lang="en-GB"/>
            </a:br>
            <a:r>
              <a:rPr lang="en-GB"/>
              <a:t>to insert  pictogram</a:t>
            </a:r>
          </a:p>
        </p:txBody>
      </p:sp>
      <p:sp>
        <p:nvSpPr>
          <p:cNvPr id="6" name="Text Placeholder 12">
            <a:extLst>
              <a:ext uri="{FF2B5EF4-FFF2-40B4-BE49-F238E27FC236}">
                <a16:creationId xmlns:a16="http://schemas.microsoft.com/office/drawing/2014/main" id="{78A5A533-705A-55BF-9640-A52E87924F43}"/>
              </a:ext>
            </a:extLst>
          </p:cNvPr>
          <p:cNvSpPr>
            <a:spLocks noGrp="1"/>
          </p:cNvSpPr>
          <p:nvPr>
            <p:ph type="body" sz="quarter" idx="45" hasCustomPrompt="1"/>
          </p:nvPr>
        </p:nvSpPr>
        <p:spPr>
          <a:xfrm>
            <a:off x="6172903" y="3068637"/>
            <a:ext cx="3204000"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wo</a:t>
            </a:r>
          </a:p>
        </p:txBody>
      </p:sp>
      <p:sp>
        <p:nvSpPr>
          <p:cNvPr id="23" name="Text Placeholder 12">
            <a:extLst>
              <a:ext uri="{FF2B5EF4-FFF2-40B4-BE49-F238E27FC236}">
                <a16:creationId xmlns:a16="http://schemas.microsoft.com/office/drawing/2014/main" id="{5371896C-3F0D-4AC8-A11F-BDE72D75131C}"/>
              </a:ext>
            </a:extLst>
          </p:cNvPr>
          <p:cNvSpPr>
            <a:spLocks noGrp="1"/>
          </p:cNvSpPr>
          <p:nvPr>
            <p:ph type="body" sz="quarter" idx="28"/>
          </p:nvPr>
        </p:nvSpPr>
        <p:spPr>
          <a:xfrm>
            <a:off x="6172903" y="3437244"/>
            <a:ext cx="3204000" cy="1979613"/>
          </a:xfrm>
        </p:spPr>
        <p:txBody>
          <a:body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Tree>
    <p:extLst>
      <p:ext uri="{BB962C8B-B14F-4D97-AF65-F5344CB8AC3E}">
        <p14:creationId xmlns:p14="http://schemas.microsoft.com/office/powerpoint/2010/main" val="161026677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3x Pictogram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5" y="368828"/>
            <a:ext cx="10692860" cy="251885"/>
          </a:xfrm>
        </p:spPr>
        <p:txBody>
          <a:bodyPr/>
          <a:lstStyle>
            <a:lvl1pPr>
              <a:defRPr/>
            </a:lvl1pPr>
          </a:lstStyle>
          <a:p>
            <a:r>
              <a:rPr lang="en-US"/>
              <a:t>Header avenir demi 24pt</a:t>
            </a:r>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5" y="752052"/>
            <a:ext cx="10692860"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6" name="Picture Placeholder 15">
            <a:extLst>
              <a:ext uri="{FF2B5EF4-FFF2-40B4-BE49-F238E27FC236}">
                <a16:creationId xmlns:a16="http://schemas.microsoft.com/office/drawing/2014/main" id="{5EA0C833-46C2-988C-0074-D6A83249C216}"/>
              </a:ext>
            </a:extLst>
          </p:cNvPr>
          <p:cNvSpPr>
            <a:spLocks noGrp="1"/>
          </p:cNvSpPr>
          <p:nvPr>
            <p:ph type="pic" sz="quarter" idx="20" hasCustomPrompt="1"/>
          </p:nvPr>
        </p:nvSpPr>
        <p:spPr>
          <a:xfrm>
            <a:off x="551231" y="1815305"/>
            <a:ext cx="936257" cy="892971"/>
          </a:xfrm>
          <a:noFill/>
        </p:spPr>
        <p:txBody>
          <a:bodyPr anchor="ctr" anchorCtr="0"/>
          <a:lstStyle>
            <a:lvl1pPr marL="0" indent="0" algn="ctr">
              <a:spcBef>
                <a:spcPts val="0"/>
              </a:spcBef>
              <a:buNone/>
              <a:defRPr sz="1050">
                <a:solidFill>
                  <a:schemeClr val="accent2"/>
                </a:solidFill>
                <a:latin typeface="+mn-lt"/>
              </a:defRPr>
            </a:lvl1pPr>
          </a:lstStyle>
          <a:p>
            <a:pPr lvl="0"/>
            <a:r>
              <a:rPr lang="en-GB"/>
              <a:t>click or drag </a:t>
            </a:r>
            <a:br>
              <a:rPr lang="en-GB"/>
            </a:br>
            <a:r>
              <a:rPr lang="en-GB"/>
              <a:t>to insert  pictogram</a:t>
            </a:r>
          </a:p>
        </p:txBody>
      </p:sp>
      <p:sp>
        <p:nvSpPr>
          <p:cNvPr id="5" name="Text Placeholder 12">
            <a:extLst>
              <a:ext uri="{FF2B5EF4-FFF2-40B4-BE49-F238E27FC236}">
                <a16:creationId xmlns:a16="http://schemas.microsoft.com/office/drawing/2014/main" id="{B2482E55-CD47-6253-53E5-42929A12AC26}"/>
              </a:ext>
            </a:extLst>
          </p:cNvPr>
          <p:cNvSpPr>
            <a:spLocks noGrp="1"/>
          </p:cNvSpPr>
          <p:nvPr>
            <p:ph type="body" sz="quarter" idx="41" hasCustomPrompt="1"/>
          </p:nvPr>
        </p:nvSpPr>
        <p:spPr>
          <a:xfrm>
            <a:off x="550864" y="3068637"/>
            <a:ext cx="3204000"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One</a:t>
            </a:r>
          </a:p>
        </p:txBody>
      </p:sp>
      <p:sp>
        <p:nvSpPr>
          <p:cNvPr id="15" name="Text Placeholder 12">
            <a:extLst>
              <a:ext uri="{FF2B5EF4-FFF2-40B4-BE49-F238E27FC236}">
                <a16:creationId xmlns:a16="http://schemas.microsoft.com/office/drawing/2014/main" id="{7E826685-2A04-0F68-4915-A118119AB364}"/>
              </a:ext>
            </a:extLst>
          </p:cNvPr>
          <p:cNvSpPr>
            <a:spLocks noGrp="1"/>
          </p:cNvSpPr>
          <p:nvPr>
            <p:ph type="body" sz="quarter" idx="26"/>
          </p:nvPr>
        </p:nvSpPr>
        <p:spPr>
          <a:xfrm>
            <a:off x="563381" y="3435900"/>
            <a:ext cx="3204000" cy="1979613"/>
          </a:xfrm>
        </p:spPr>
        <p:txBody>
          <a:bodyPr/>
          <a:lstStyle/>
          <a:p>
            <a:pPr lvl="0"/>
            <a:r>
              <a:rPr lang="en-US"/>
              <a:t>Click to edit Master text styles</a:t>
            </a:r>
          </a:p>
          <a:p>
            <a:pPr lvl="1"/>
            <a:r>
              <a:rPr lang="en-US"/>
              <a:t>Second level</a:t>
            </a:r>
          </a:p>
          <a:p>
            <a:pPr lvl="2"/>
            <a:r>
              <a:rPr lang="en-US"/>
              <a:t>Third level</a:t>
            </a:r>
          </a:p>
        </p:txBody>
      </p:sp>
      <p:sp>
        <p:nvSpPr>
          <p:cNvPr id="22" name="Picture Placeholder 15">
            <a:extLst>
              <a:ext uri="{FF2B5EF4-FFF2-40B4-BE49-F238E27FC236}">
                <a16:creationId xmlns:a16="http://schemas.microsoft.com/office/drawing/2014/main" id="{164A5E75-1C3A-DC3D-81BD-E0B3A4964763}"/>
              </a:ext>
            </a:extLst>
          </p:cNvPr>
          <p:cNvSpPr>
            <a:spLocks noGrp="1"/>
          </p:cNvSpPr>
          <p:nvPr>
            <p:ph type="pic" sz="quarter" idx="27" hasCustomPrompt="1"/>
          </p:nvPr>
        </p:nvSpPr>
        <p:spPr>
          <a:xfrm>
            <a:off x="4301608" y="1816649"/>
            <a:ext cx="930792" cy="892971"/>
          </a:xfrm>
          <a:noFill/>
        </p:spPr>
        <p:txBody>
          <a:bodyPr anchor="ctr" anchorCtr="0"/>
          <a:lstStyle>
            <a:lvl1pPr marL="0" indent="0" algn="ctr">
              <a:spcBef>
                <a:spcPts val="0"/>
              </a:spcBef>
              <a:buNone/>
              <a:defRPr sz="1050">
                <a:solidFill>
                  <a:schemeClr val="accent2"/>
                </a:solidFill>
                <a:latin typeface="+mn-lt"/>
              </a:defRPr>
            </a:lvl1pPr>
          </a:lstStyle>
          <a:p>
            <a:pPr lvl="0"/>
            <a:r>
              <a:rPr lang="en-GB"/>
              <a:t>click or drag </a:t>
            </a:r>
            <a:br>
              <a:rPr lang="en-GB"/>
            </a:br>
            <a:r>
              <a:rPr lang="en-GB"/>
              <a:t>to insert  pictogram</a:t>
            </a:r>
          </a:p>
        </p:txBody>
      </p:sp>
      <p:sp>
        <p:nvSpPr>
          <p:cNvPr id="6" name="Text Placeholder 12">
            <a:extLst>
              <a:ext uri="{FF2B5EF4-FFF2-40B4-BE49-F238E27FC236}">
                <a16:creationId xmlns:a16="http://schemas.microsoft.com/office/drawing/2014/main" id="{78A5A533-705A-55BF-9640-A52E87924F43}"/>
              </a:ext>
            </a:extLst>
          </p:cNvPr>
          <p:cNvSpPr>
            <a:spLocks noGrp="1"/>
          </p:cNvSpPr>
          <p:nvPr>
            <p:ph type="body" sz="quarter" idx="45" hasCustomPrompt="1"/>
          </p:nvPr>
        </p:nvSpPr>
        <p:spPr>
          <a:xfrm>
            <a:off x="4301240" y="3068637"/>
            <a:ext cx="3204000"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wo</a:t>
            </a:r>
          </a:p>
        </p:txBody>
      </p:sp>
      <p:sp>
        <p:nvSpPr>
          <p:cNvPr id="23" name="Text Placeholder 12">
            <a:extLst>
              <a:ext uri="{FF2B5EF4-FFF2-40B4-BE49-F238E27FC236}">
                <a16:creationId xmlns:a16="http://schemas.microsoft.com/office/drawing/2014/main" id="{5371896C-3F0D-4AC8-A11F-BDE72D75131C}"/>
              </a:ext>
            </a:extLst>
          </p:cNvPr>
          <p:cNvSpPr>
            <a:spLocks noGrp="1"/>
          </p:cNvSpPr>
          <p:nvPr>
            <p:ph type="body" sz="quarter" idx="28"/>
          </p:nvPr>
        </p:nvSpPr>
        <p:spPr>
          <a:xfrm>
            <a:off x="4301240" y="3437244"/>
            <a:ext cx="3204000" cy="1979613"/>
          </a:xfrm>
        </p:spPr>
        <p:txBody>
          <a:bodyPr/>
          <a:lstStyle/>
          <a:p>
            <a:pPr lvl="0"/>
            <a:r>
              <a:rPr lang="en-US"/>
              <a:t>Click to edit Master text styles</a:t>
            </a:r>
          </a:p>
          <a:p>
            <a:pPr lvl="1"/>
            <a:r>
              <a:rPr lang="en-US"/>
              <a:t>Second level</a:t>
            </a:r>
          </a:p>
          <a:p>
            <a:pPr lvl="2"/>
            <a:r>
              <a:rPr lang="en-US"/>
              <a:t>Third level</a:t>
            </a:r>
          </a:p>
        </p:txBody>
      </p:sp>
      <p:sp>
        <p:nvSpPr>
          <p:cNvPr id="24" name="Picture Placeholder 15">
            <a:extLst>
              <a:ext uri="{FF2B5EF4-FFF2-40B4-BE49-F238E27FC236}">
                <a16:creationId xmlns:a16="http://schemas.microsoft.com/office/drawing/2014/main" id="{113F9B6D-211A-B9B6-4248-1FACCD47C162}"/>
              </a:ext>
            </a:extLst>
          </p:cNvPr>
          <p:cNvSpPr>
            <a:spLocks noGrp="1"/>
          </p:cNvSpPr>
          <p:nvPr>
            <p:ph type="pic" sz="quarter" idx="29" hasCustomPrompt="1"/>
          </p:nvPr>
        </p:nvSpPr>
        <p:spPr>
          <a:xfrm>
            <a:off x="8039099" y="1816892"/>
            <a:ext cx="936257" cy="892971"/>
          </a:xfrm>
          <a:noFill/>
        </p:spPr>
        <p:txBody>
          <a:bodyPr anchor="ctr" anchorCtr="0"/>
          <a:lstStyle>
            <a:lvl1pPr marL="0" indent="0" algn="ctr">
              <a:spcBef>
                <a:spcPts val="0"/>
              </a:spcBef>
              <a:buNone/>
              <a:defRPr sz="1050">
                <a:solidFill>
                  <a:schemeClr val="accent2"/>
                </a:solidFill>
                <a:latin typeface="+mn-lt"/>
              </a:defRPr>
            </a:lvl1pPr>
          </a:lstStyle>
          <a:p>
            <a:pPr lvl="0"/>
            <a:r>
              <a:rPr lang="en-GB"/>
              <a:t>click or drag </a:t>
            </a:r>
            <a:br>
              <a:rPr lang="en-GB"/>
            </a:br>
            <a:r>
              <a:rPr lang="en-GB"/>
              <a:t>to insert  pictogram</a:t>
            </a:r>
          </a:p>
        </p:txBody>
      </p:sp>
      <p:sp>
        <p:nvSpPr>
          <p:cNvPr id="7" name="Text Placeholder 12">
            <a:extLst>
              <a:ext uri="{FF2B5EF4-FFF2-40B4-BE49-F238E27FC236}">
                <a16:creationId xmlns:a16="http://schemas.microsoft.com/office/drawing/2014/main" id="{6B81F170-703F-7395-84C2-03E6D0796583}"/>
              </a:ext>
            </a:extLst>
          </p:cNvPr>
          <p:cNvSpPr>
            <a:spLocks noGrp="1"/>
          </p:cNvSpPr>
          <p:nvPr>
            <p:ph type="body" sz="quarter" idx="67" hasCustomPrompt="1"/>
          </p:nvPr>
        </p:nvSpPr>
        <p:spPr>
          <a:xfrm>
            <a:off x="8039099" y="3068637"/>
            <a:ext cx="3204000"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hree</a:t>
            </a:r>
          </a:p>
        </p:txBody>
      </p:sp>
      <p:sp>
        <p:nvSpPr>
          <p:cNvPr id="25" name="Text Placeholder 12">
            <a:extLst>
              <a:ext uri="{FF2B5EF4-FFF2-40B4-BE49-F238E27FC236}">
                <a16:creationId xmlns:a16="http://schemas.microsoft.com/office/drawing/2014/main" id="{9319EC4E-4AC2-69F0-186B-251CEA53F4F3}"/>
              </a:ext>
            </a:extLst>
          </p:cNvPr>
          <p:cNvSpPr>
            <a:spLocks noGrp="1"/>
          </p:cNvSpPr>
          <p:nvPr>
            <p:ph type="body" sz="quarter" idx="30"/>
          </p:nvPr>
        </p:nvSpPr>
        <p:spPr>
          <a:xfrm>
            <a:off x="8039099" y="3437487"/>
            <a:ext cx="3204000" cy="1979613"/>
          </a:xfrm>
        </p:spPr>
        <p:txBody>
          <a:body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Tree>
    <p:extLst>
      <p:ext uri="{BB962C8B-B14F-4D97-AF65-F5344CB8AC3E}">
        <p14:creationId xmlns:p14="http://schemas.microsoft.com/office/powerpoint/2010/main" val="350592286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4x Pictogram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10692859" cy="251885"/>
          </a:xfrm>
        </p:spPr>
        <p:txBody>
          <a:bodyPr/>
          <a:lstStyle>
            <a:lvl1pPr>
              <a:defRPr/>
            </a:lvl1pPr>
          </a:lstStyle>
          <a:p>
            <a:r>
              <a:rPr lang="en-US"/>
              <a:t>Header avenir demi 24pt</a:t>
            </a:r>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5" y="752052"/>
            <a:ext cx="10692858"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6" name="Picture Placeholder 15">
            <a:extLst>
              <a:ext uri="{FF2B5EF4-FFF2-40B4-BE49-F238E27FC236}">
                <a16:creationId xmlns:a16="http://schemas.microsoft.com/office/drawing/2014/main" id="{5EA0C833-46C2-988C-0074-D6A83249C216}"/>
              </a:ext>
            </a:extLst>
          </p:cNvPr>
          <p:cNvSpPr>
            <a:spLocks noGrp="1"/>
          </p:cNvSpPr>
          <p:nvPr>
            <p:ph type="pic" sz="quarter" idx="20" hasCustomPrompt="1"/>
          </p:nvPr>
        </p:nvSpPr>
        <p:spPr>
          <a:xfrm>
            <a:off x="551231" y="1815304"/>
            <a:ext cx="936257" cy="892971"/>
          </a:xfrm>
          <a:noFill/>
        </p:spPr>
        <p:txBody>
          <a:bodyPr anchor="ctr" anchorCtr="0"/>
          <a:lstStyle>
            <a:lvl1pPr marL="0" indent="0" algn="ctr">
              <a:spcBef>
                <a:spcPts val="0"/>
              </a:spcBef>
              <a:buNone/>
              <a:defRPr sz="1000">
                <a:solidFill>
                  <a:schemeClr val="accent2"/>
                </a:solidFill>
                <a:latin typeface="+mn-lt"/>
              </a:defRPr>
            </a:lvl1pPr>
          </a:lstStyle>
          <a:p>
            <a:pPr lvl="0"/>
            <a:r>
              <a:rPr lang="en-GB"/>
              <a:t>click or drag </a:t>
            </a:r>
            <a:br>
              <a:rPr lang="en-GB"/>
            </a:br>
            <a:r>
              <a:rPr lang="en-GB"/>
              <a:t>to insert  pictogram</a:t>
            </a:r>
          </a:p>
        </p:txBody>
      </p:sp>
      <p:sp>
        <p:nvSpPr>
          <p:cNvPr id="5" name="Text Placeholder 12">
            <a:extLst>
              <a:ext uri="{FF2B5EF4-FFF2-40B4-BE49-F238E27FC236}">
                <a16:creationId xmlns:a16="http://schemas.microsoft.com/office/drawing/2014/main" id="{169E0A6E-F6FC-97AD-7624-C07FE47220AD}"/>
              </a:ext>
            </a:extLst>
          </p:cNvPr>
          <p:cNvSpPr>
            <a:spLocks noGrp="1"/>
          </p:cNvSpPr>
          <p:nvPr>
            <p:ph type="body" sz="quarter" idx="41" hasCustomPrompt="1"/>
          </p:nvPr>
        </p:nvSpPr>
        <p:spPr>
          <a:xfrm>
            <a:off x="550864" y="3068637"/>
            <a:ext cx="2268000"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One</a:t>
            </a:r>
          </a:p>
        </p:txBody>
      </p:sp>
      <p:sp>
        <p:nvSpPr>
          <p:cNvPr id="15" name="Text Placeholder 12">
            <a:extLst>
              <a:ext uri="{FF2B5EF4-FFF2-40B4-BE49-F238E27FC236}">
                <a16:creationId xmlns:a16="http://schemas.microsoft.com/office/drawing/2014/main" id="{7E826685-2A04-0F68-4915-A118119AB364}"/>
              </a:ext>
            </a:extLst>
          </p:cNvPr>
          <p:cNvSpPr>
            <a:spLocks noGrp="1"/>
          </p:cNvSpPr>
          <p:nvPr>
            <p:ph type="body" sz="quarter" idx="26"/>
          </p:nvPr>
        </p:nvSpPr>
        <p:spPr>
          <a:xfrm>
            <a:off x="550864" y="3429000"/>
            <a:ext cx="2268000" cy="1979613"/>
          </a:xfrm>
        </p:spPr>
        <p:txBody>
          <a:bodyPr/>
          <a:lstStyle/>
          <a:p>
            <a:pPr lvl="0"/>
            <a:r>
              <a:rPr lang="en-US"/>
              <a:t>Click to edit Master text styles</a:t>
            </a:r>
          </a:p>
          <a:p>
            <a:pPr lvl="1"/>
            <a:r>
              <a:rPr lang="en-US"/>
              <a:t>Second level</a:t>
            </a:r>
          </a:p>
          <a:p>
            <a:pPr lvl="2"/>
            <a:r>
              <a:rPr lang="en-US"/>
              <a:t>Third level</a:t>
            </a:r>
          </a:p>
        </p:txBody>
      </p:sp>
      <p:sp>
        <p:nvSpPr>
          <p:cNvPr id="22" name="Picture Placeholder 15">
            <a:extLst>
              <a:ext uri="{FF2B5EF4-FFF2-40B4-BE49-F238E27FC236}">
                <a16:creationId xmlns:a16="http://schemas.microsoft.com/office/drawing/2014/main" id="{164A5E75-1C3A-DC3D-81BD-E0B3A4964763}"/>
              </a:ext>
            </a:extLst>
          </p:cNvPr>
          <p:cNvSpPr>
            <a:spLocks noGrp="1"/>
          </p:cNvSpPr>
          <p:nvPr>
            <p:ph type="pic" sz="quarter" idx="27" hasCustomPrompt="1"/>
          </p:nvPr>
        </p:nvSpPr>
        <p:spPr>
          <a:xfrm>
            <a:off x="3359518" y="1815304"/>
            <a:ext cx="936257" cy="892971"/>
          </a:xfrm>
          <a:noFill/>
        </p:spPr>
        <p:txBody>
          <a:bodyPr anchor="ctr" anchorCtr="0"/>
          <a:lstStyle>
            <a:lvl1pPr marL="0" indent="0" algn="ctr">
              <a:spcBef>
                <a:spcPts val="0"/>
              </a:spcBef>
              <a:buNone/>
              <a:defRPr sz="1000">
                <a:solidFill>
                  <a:schemeClr val="accent2"/>
                </a:solidFill>
                <a:latin typeface="+mn-lt"/>
              </a:defRPr>
            </a:lvl1pPr>
          </a:lstStyle>
          <a:p>
            <a:pPr lvl="0"/>
            <a:r>
              <a:rPr lang="en-GB"/>
              <a:t>click or drag </a:t>
            </a:r>
            <a:br>
              <a:rPr lang="en-GB"/>
            </a:br>
            <a:r>
              <a:rPr lang="en-GB"/>
              <a:t>to insert  pictogram</a:t>
            </a:r>
          </a:p>
        </p:txBody>
      </p:sp>
      <p:sp>
        <p:nvSpPr>
          <p:cNvPr id="6" name="Text Placeholder 12">
            <a:extLst>
              <a:ext uri="{FF2B5EF4-FFF2-40B4-BE49-F238E27FC236}">
                <a16:creationId xmlns:a16="http://schemas.microsoft.com/office/drawing/2014/main" id="{C8EA8597-2A4A-0CD6-F43E-581D734CDCAD}"/>
              </a:ext>
            </a:extLst>
          </p:cNvPr>
          <p:cNvSpPr>
            <a:spLocks noGrp="1"/>
          </p:cNvSpPr>
          <p:nvPr>
            <p:ph type="body" sz="quarter" idx="45" hasCustomPrompt="1"/>
          </p:nvPr>
        </p:nvSpPr>
        <p:spPr>
          <a:xfrm>
            <a:off x="3364873" y="3068637"/>
            <a:ext cx="2268000"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wo</a:t>
            </a:r>
          </a:p>
        </p:txBody>
      </p:sp>
      <p:sp>
        <p:nvSpPr>
          <p:cNvPr id="23" name="Text Placeholder 12">
            <a:extLst>
              <a:ext uri="{FF2B5EF4-FFF2-40B4-BE49-F238E27FC236}">
                <a16:creationId xmlns:a16="http://schemas.microsoft.com/office/drawing/2014/main" id="{5371896C-3F0D-4AC8-A11F-BDE72D75131C}"/>
              </a:ext>
            </a:extLst>
          </p:cNvPr>
          <p:cNvSpPr>
            <a:spLocks noGrp="1"/>
          </p:cNvSpPr>
          <p:nvPr>
            <p:ph type="body" sz="quarter" idx="28"/>
          </p:nvPr>
        </p:nvSpPr>
        <p:spPr>
          <a:xfrm>
            <a:off x="3359151" y="3429000"/>
            <a:ext cx="2268000" cy="1979613"/>
          </a:xfrm>
        </p:spPr>
        <p:txBody>
          <a:bodyPr/>
          <a:lstStyle/>
          <a:p>
            <a:pPr lvl="0"/>
            <a:r>
              <a:rPr lang="en-US"/>
              <a:t>Click to edit Master text styles</a:t>
            </a:r>
          </a:p>
          <a:p>
            <a:pPr lvl="1"/>
            <a:r>
              <a:rPr lang="en-US"/>
              <a:t>Second level</a:t>
            </a:r>
          </a:p>
          <a:p>
            <a:pPr lvl="2"/>
            <a:r>
              <a:rPr lang="en-US"/>
              <a:t>Third level</a:t>
            </a:r>
          </a:p>
        </p:txBody>
      </p:sp>
      <p:sp>
        <p:nvSpPr>
          <p:cNvPr id="24" name="Picture Placeholder 15">
            <a:extLst>
              <a:ext uri="{FF2B5EF4-FFF2-40B4-BE49-F238E27FC236}">
                <a16:creationId xmlns:a16="http://schemas.microsoft.com/office/drawing/2014/main" id="{113F9B6D-211A-B9B6-4248-1FACCD47C162}"/>
              </a:ext>
            </a:extLst>
          </p:cNvPr>
          <p:cNvSpPr>
            <a:spLocks noGrp="1"/>
          </p:cNvSpPr>
          <p:nvPr>
            <p:ph type="pic" sz="quarter" idx="29" hasCustomPrompt="1"/>
          </p:nvPr>
        </p:nvSpPr>
        <p:spPr>
          <a:xfrm>
            <a:off x="6167805" y="1815304"/>
            <a:ext cx="936257" cy="892971"/>
          </a:xfrm>
          <a:noFill/>
        </p:spPr>
        <p:txBody>
          <a:bodyPr anchor="ctr" anchorCtr="0"/>
          <a:lstStyle>
            <a:lvl1pPr marL="0" indent="0" algn="ctr">
              <a:spcBef>
                <a:spcPts val="0"/>
              </a:spcBef>
              <a:buNone/>
              <a:defRPr sz="1000">
                <a:solidFill>
                  <a:schemeClr val="accent2"/>
                </a:solidFill>
                <a:latin typeface="+mn-lt"/>
              </a:defRPr>
            </a:lvl1pPr>
          </a:lstStyle>
          <a:p>
            <a:pPr lvl="0"/>
            <a:r>
              <a:rPr lang="en-GB"/>
              <a:t>click or drag </a:t>
            </a:r>
            <a:br>
              <a:rPr lang="en-GB"/>
            </a:br>
            <a:r>
              <a:rPr lang="en-GB"/>
              <a:t>to insert  pictogram</a:t>
            </a:r>
          </a:p>
        </p:txBody>
      </p:sp>
      <p:sp>
        <p:nvSpPr>
          <p:cNvPr id="7" name="Text Placeholder 12">
            <a:extLst>
              <a:ext uri="{FF2B5EF4-FFF2-40B4-BE49-F238E27FC236}">
                <a16:creationId xmlns:a16="http://schemas.microsoft.com/office/drawing/2014/main" id="{68A568C4-ADFE-5A6C-2391-882D49319A87}"/>
              </a:ext>
            </a:extLst>
          </p:cNvPr>
          <p:cNvSpPr>
            <a:spLocks noGrp="1"/>
          </p:cNvSpPr>
          <p:nvPr>
            <p:ph type="body" sz="quarter" idx="67" hasCustomPrompt="1"/>
          </p:nvPr>
        </p:nvSpPr>
        <p:spPr>
          <a:xfrm>
            <a:off x="6167438" y="3068637"/>
            <a:ext cx="2268000"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hree</a:t>
            </a:r>
          </a:p>
        </p:txBody>
      </p:sp>
      <p:sp>
        <p:nvSpPr>
          <p:cNvPr id="25" name="Text Placeholder 12">
            <a:extLst>
              <a:ext uri="{FF2B5EF4-FFF2-40B4-BE49-F238E27FC236}">
                <a16:creationId xmlns:a16="http://schemas.microsoft.com/office/drawing/2014/main" id="{9319EC4E-4AC2-69F0-186B-251CEA53F4F3}"/>
              </a:ext>
            </a:extLst>
          </p:cNvPr>
          <p:cNvSpPr>
            <a:spLocks noGrp="1"/>
          </p:cNvSpPr>
          <p:nvPr>
            <p:ph type="body" sz="quarter" idx="30"/>
          </p:nvPr>
        </p:nvSpPr>
        <p:spPr>
          <a:xfrm>
            <a:off x="6167438" y="3429000"/>
            <a:ext cx="2268000" cy="1979613"/>
          </a:xfrm>
        </p:spPr>
        <p:txBody>
          <a:bodyPr/>
          <a:lstStyle/>
          <a:p>
            <a:pPr lvl="0"/>
            <a:r>
              <a:rPr lang="en-US"/>
              <a:t>Click to edit Master text styles</a:t>
            </a:r>
          </a:p>
          <a:p>
            <a:pPr lvl="1"/>
            <a:r>
              <a:rPr lang="en-US"/>
              <a:t>Second level</a:t>
            </a:r>
          </a:p>
          <a:p>
            <a:pPr lvl="2"/>
            <a:r>
              <a:rPr lang="en-US"/>
              <a:t>Third level</a:t>
            </a:r>
          </a:p>
        </p:txBody>
      </p:sp>
      <p:sp>
        <p:nvSpPr>
          <p:cNvPr id="26" name="Picture Placeholder 15">
            <a:extLst>
              <a:ext uri="{FF2B5EF4-FFF2-40B4-BE49-F238E27FC236}">
                <a16:creationId xmlns:a16="http://schemas.microsoft.com/office/drawing/2014/main" id="{B2667B7A-D629-4091-56C6-D363D67E793B}"/>
              </a:ext>
            </a:extLst>
          </p:cNvPr>
          <p:cNvSpPr>
            <a:spLocks noGrp="1"/>
          </p:cNvSpPr>
          <p:nvPr>
            <p:ph type="pic" sz="quarter" idx="31" hasCustomPrompt="1"/>
          </p:nvPr>
        </p:nvSpPr>
        <p:spPr>
          <a:xfrm>
            <a:off x="8976091" y="1815304"/>
            <a:ext cx="936257" cy="892971"/>
          </a:xfrm>
          <a:noFill/>
        </p:spPr>
        <p:txBody>
          <a:bodyPr anchor="ctr" anchorCtr="0"/>
          <a:lstStyle>
            <a:lvl1pPr marL="0" indent="0" algn="ctr">
              <a:spcBef>
                <a:spcPts val="0"/>
              </a:spcBef>
              <a:buNone/>
              <a:defRPr sz="1000">
                <a:solidFill>
                  <a:schemeClr val="accent2"/>
                </a:solidFill>
                <a:latin typeface="+mn-lt"/>
              </a:defRPr>
            </a:lvl1pPr>
          </a:lstStyle>
          <a:p>
            <a:pPr lvl="0"/>
            <a:r>
              <a:rPr lang="en-GB"/>
              <a:t>click or drag </a:t>
            </a:r>
            <a:br>
              <a:rPr lang="en-GB"/>
            </a:br>
            <a:r>
              <a:rPr lang="en-GB"/>
              <a:t>to insert  pictogram</a:t>
            </a:r>
          </a:p>
        </p:txBody>
      </p:sp>
      <p:sp>
        <p:nvSpPr>
          <p:cNvPr id="9" name="Text Placeholder 12">
            <a:extLst>
              <a:ext uri="{FF2B5EF4-FFF2-40B4-BE49-F238E27FC236}">
                <a16:creationId xmlns:a16="http://schemas.microsoft.com/office/drawing/2014/main" id="{27AAA7D2-9EA7-4887-CE73-9A4FFE173C8C}"/>
              </a:ext>
            </a:extLst>
          </p:cNvPr>
          <p:cNvSpPr>
            <a:spLocks noGrp="1"/>
          </p:cNvSpPr>
          <p:nvPr>
            <p:ph type="body" sz="quarter" idx="70" hasCustomPrompt="1"/>
          </p:nvPr>
        </p:nvSpPr>
        <p:spPr>
          <a:xfrm>
            <a:off x="8982703" y="3068637"/>
            <a:ext cx="2268000" cy="270168"/>
          </a:xfrm>
        </p:spPr>
        <p:txBody>
          <a:bodyPr anchor="b" anchorCtr="0"/>
          <a:lstStyle>
            <a:lvl1pPr marL="0" indent="0" algn="l">
              <a:lnSpc>
                <a:spcPct val="9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Four</a:t>
            </a:r>
          </a:p>
        </p:txBody>
      </p:sp>
      <p:sp>
        <p:nvSpPr>
          <p:cNvPr id="27" name="Text Placeholder 12">
            <a:extLst>
              <a:ext uri="{FF2B5EF4-FFF2-40B4-BE49-F238E27FC236}">
                <a16:creationId xmlns:a16="http://schemas.microsoft.com/office/drawing/2014/main" id="{CA6B12B2-861A-5081-56F5-2053A7672719}"/>
              </a:ext>
            </a:extLst>
          </p:cNvPr>
          <p:cNvSpPr>
            <a:spLocks noGrp="1"/>
          </p:cNvSpPr>
          <p:nvPr>
            <p:ph type="body" sz="quarter" idx="32"/>
          </p:nvPr>
        </p:nvSpPr>
        <p:spPr>
          <a:xfrm>
            <a:off x="8975724" y="3429000"/>
            <a:ext cx="2268000" cy="1979613"/>
          </a:xfrm>
        </p:spPr>
        <p:txBody>
          <a:body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Tree>
    <p:extLst>
      <p:ext uri="{BB962C8B-B14F-4D97-AF65-F5344CB8AC3E}">
        <p14:creationId xmlns:p14="http://schemas.microsoft.com/office/powerpoint/2010/main" val="96043026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x Columns - Pastel">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1A42F6E-246E-1108-4C12-F80987CC1815}"/>
              </a:ext>
            </a:extLst>
          </p:cNvPr>
          <p:cNvSpPr/>
          <p:nvPr userDrawn="1"/>
        </p:nvSpPr>
        <p:spPr>
          <a:xfrm>
            <a:off x="7896226" y="0"/>
            <a:ext cx="4295774" cy="6858000"/>
          </a:xfrm>
          <a:prstGeom prst="rect">
            <a:avLst/>
          </a:prstGeom>
          <a:solidFill>
            <a:srgbClr val="FAF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8" name="Text Placeholder 12">
            <a:extLst>
              <a:ext uri="{FF2B5EF4-FFF2-40B4-BE49-F238E27FC236}">
                <a16:creationId xmlns:a16="http://schemas.microsoft.com/office/drawing/2014/main" id="{3F44278E-E901-C1DE-92E4-ACA715734969}"/>
              </a:ext>
            </a:extLst>
          </p:cNvPr>
          <p:cNvSpPr>
            <a:spLocks noGrp="1"/>
          </p:cNvSpPr>
          <p:nvPr>
            <p:ph type="body" sz="quarter" idx="14"/>
          </p:nvPr>
        </p:nvSpPr>
        <p:spPr>
          <a:xfrm>
            <a:off x="550864"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9" name="Text Placeholder 12">
            <a:extLst>
              <a:ext uri="{FF2B5EF4-FFF2-40B4-BE49-F238E27FC236}">
                <a16:creationId xmlns:a16="http://schemas.microsoft.com/office/drawing/2014/main" id="{BF118552-E3C1-3540-F57A-9CA2F0C7D623}"/>
              </a:ext>
            </a:extLst>
          </p:cNvPr>
          <p:cNvSpPr>
            <a:spLocks noGrp="1"/>
          </p:cNvSpPr>
          <p:nvPr>
            <p:ph type="body" sz="quarter" idx="17"/>
          </p:nvPr>
        </p:nvSpPr>
        <p:spPr>
          <a:xfrm>
            <a:off x="4295151"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11" name="Text Placeholder 12">
            <a:extLst>
              <a:ext uri="{FF2B5EF4-FFF2-40B4-BE49-F238E27FC236}">
                <a16:creationId xmlns:a16="http://schemas.microsoft.com/office/drawing/2014/main" id="{A9CD24D4-DA21-58A6-D7F7-52F6BB2323FF}"/>
              </a:ext>
            </a:extLst>
          </p:cNvPr>
          <p:cNvSpPr>
            <a:spLocks noGrp="1"/>
          </p:cNvSpPr>
          <p:nvPr>
            <p:ph type="body" sz="quarter" idx="18"/>
          </p:nvPr>
        </p:nvSpPr>
        <p:spPr>
          <a:xfrm>
            <a:off x="8437136"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Tree>
    <p:extLst>
      <p:ext uri="{BB962C8B-B14F-4D97-AF65-F5344CB8AC3E}">
        <p14:creationId xmlns:p14="http://schemas.microsoft.com/office/powerpoint/2010/main" val="26214324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_layou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r>
              <a:rPr lang="en-GB"/>
              <a:t>© 2023 Clarivate</a:t>
            </a:r>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Tree>
    <p:extLst>
      <p:ext uri="{BB962C8B-B14F-4D97-AF65-F5344CB8AC3E}">
        <p14:creationId xmlns:p14="http://schemas.microsoft.com/office/powerpoint/2010/main" val="393033890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x Columns - Pastel">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1A42F6E-246E-1108-4C12-F80987CC1815}"/>
              </a:ext>
            </a:extLst>
          </p:cNvPr>
          <p:cNvSpPr/>
          <p:nvPr userDrawn="1"/>
        </p:nvSpPr>
        <p:spPr>
          <a:xfrm>
            <a:off x="6095997" y="0"/>
            <a:ext cx="6096003" cy="6858000"/>
          </a:xfrm>
          <a:prstGeom prst="rect">
            <a:avLst/>
          </a:prstGeom>
          <a:solidFill>
            <a:srgbClr val="FAF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
        <p:nvSpPr>
          <p:cNvPr id="6" name="Title 1">
            <a:extLst>
              <a:ext uri="{FF2B5EF4-FFF2-40B4-BE49-F238E27FC236}">
                <a16:creationId xmlns:a16="http://schemas.microsoft.com/office/drawing/2014/main" id="{72173C6D-32FE-71CF-2FBB-512DB6CF2C3F}"/>
              </a:ext>
            </a:extLst>
          </p:cNvPr>
          <p:cNvSpPr>
            <a:spLocks noGrp="1"/>
          </p:cNvSpPr>
          <p:nvPr>
            <p:ph type="title" hasCustomPrompt="1"/>
          </p:nvPr>
        </p:nvSpPr>
        <p:spPr>
          <a:xfrm>
            <a:off x="550865" y="368828"/>
            <a:ext cx="5075998" cy="251885"/>
          </a:xfrm>
        </p:spPr>
        <p:txBody>
          <a:bodyPr/>
          <a:lstStyle>
            <a:lvl1pPr>
              <a:defRPr/>
            </a:lvl1pPr>
          </a:lstStyle>
          <a:p>
            <a:r>
              <a:rPr lang="en-US"/>
              <a:t>Header avenir demi 24pt</a:t>
            </a:r>
            <a:endParaRPr lang="en-GB"/>
          </a:p>
        </p:txBody>
      </p:sp>
      <p:sp>
        <p:nvSpPr>
          <p:cNvPr id="7" name="Text Placeholder 9">
            <a:extLst>
              <a:ext uri="{FF2B5EF4-FFF2-40B4-BE49-F238E27FC236}">
                <a16:creationId xmlns:a16="http://schemas.microsoft.com/office/drawing/2014/main" id="{838C0768-BEC5-3152-F12C-35785BA74A8F}"/>
              </a:ext>
            </a:extLst>
          </p:cNvPr>
          <p:cNvSpPr>
            <a:spLocks noGrp="1"/>
          </p:cNvSpPr>
          <p:nvPr>
            <p:ph type="body" sz="quarter" idx="13" hasCustomPrompt="1"/>
          </p:nvPr>
        </p:nvSpPr>
        <p:spPr>
          <a:xfrm>
            <a:off x="550865" y="753852"/>
            <a:ext cx="5075998"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2" name="Text Placeholder 12">
            <a:extLst>
              <a:ext uri="{FF2B5EF4-FFF2-40B4-BE49-F238E27FC236}">
                <a16:creationId xmlns:a16="http://schemas.microsoft.com/office/drawing/2014/main" id="{8105A449-5BAE-DF74-F24B-A818099BCEBA}"/>
              </a:ext>
            </a:extLst>
          </p:cNvPr>
          <p:cNvSpPr>
            <a:spLocks noGrp="1"/>
          </p:cNvSpPr>
          <p:nvPr>
            <p:ph type="body" sz="quarter" idx="14"/>
          </p:nvPr>
        </p:nvSpPr>
        <p:spPr>
          <a:xfrm>
            <a:off x="550864" y="1808163"/>
            <a:ext cx="5076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13" name="Text Placeholder 12">
            <a:extLst>
              <a:ext uri="{FF2B5EF4-FFF2-40B4-BE49-F238E27FC236}">
                <a16:creationId xmlns:a16="http://schemas.microsoft.com/office/drawing/2014/main" id="{05C8FA5B-C103-3A91-5742-FA5FB511C8D8}"/>
              </a:ext>
            </a:extLst>
          </p:cNvPr>
          <p:cNvSpPr>
            <a:spLocks noGrp="1"/>
          </p:cNvSpPr>
          <p:nvPr>
            <p:ph type="body" sz="quarter" idx="15"/>
          </p:nvPr>
        </p:nvSpPr>
        <p:spPr>
          <a:xfrm>
            <a:off x="6636906" y="1808163"/>
            <a:ext cx="4606531" cy="4321175"/>
          </a:xfrm>
        </p:spPr>
        <p:txBody>
          <a:bodyPr/>
          <a:lstStyle>
            <a:lvl3pPr>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9304531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x Columns - Blue / Purple Lef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DAD0FDE-F3B7-E9ED-8FBE-820CEDD9BD52}"/>
              </a:ext>
              <a:ext uri="{C183D7F6-B498-43B3-948B-1728B52AA6E4}">
                <adec:decorative xmlns:adec="http://schemas.microsoft.com/office/drawing/2017/decorative" val="1"/>
              </a:ext>
            </a:extLst>
          </p:cNvPr>
          <p:cNvSpPr/>
          <p:nvPr userDrawn="1"/>
        </p:nvSpPr>
        <p:spPr>
          <a:xfrm rot="10800000">
            <a:off x="0" y="0"/>
            <a:ext cx="4151311" cy="6858000"/>
          </a:xfrm>
          <a:prstGeom prst="rect">
            <a:avLst/>
          </a:prstGeom>
          <a:gradFill>
            <a:gsLst>
              <a:gs pos="85000">
                <a:srgbClr val="3595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5" y="368828"/>
            <a:ext cx="3204000" cy="251885"/>
          </a:xfrm>
        </p:spPr>
        <p:txBody>
          <a:bodyPr/>
          <a:lstStyle>
            <a:lvl1pPr>
              <a:defRPr>
                <a:solidFill>
                  <a:schemeClr val="bg1"/>
                </a:solidFill>
              </a:defRPr>
            </a:lvl1pPr>
          </a:lstStyle>
          <a:p>
            <a:r>
              <a:rPr lang="en-US"/>
              <a:t>Header avenir demi</a:t>
            </a:r>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5" y="752052"/>
            <a:ext cx="3204000" cy="336973"/>
          </a:xfrm>
          <a:prstGeom prst="rect">
            <a:avLst/>
          </a:prstGeom>
        </p:spPr>
        <p:txBody>
          <a:bodyPr lIns="0" tIns="0" rIns="0" bIns="0">
            <a:noAutofit/>
          </a:bodyPr>
          <a:lstStyle>
            <a:lvl1pPr marL="0" indent="0">
              <a:lnSpc>
                <a:spcPct val="90000"/>
              </a:lnSpc>
              <a:buNone/>
              <a:defRPr sz="2000">
                <a:solidFill>
                  <a:schemeClr val="bg1"/>
                </a:solidFill>
              </a:defRPr>
            </a:lvl1pPr>
          </a:lstStyle>
          <a:p>
            <a:pPr lvl="0"/>
            <a:r>
              <a:rPr lang="en-US"/>
              <a:t>Subhead avenir pro 20pt</a:t>
            </a:r>
            <a:endParaRPr lang="en-GB"/>
          </a:p>
        </p:txBody>
      </p:sp>
      <p:sp>
        <p:nvSpPr>
          <p:cNvPr id="11" name="Text Placeholder 12">
            <a:extLst>
              <a:ext uri="{FF2B5EF4-FFF2-40B4-BE49-F238E27FC236}">
                <a16:creationId xmlns:a16="http://schemas.microsoft.com/office/drawing/2014/main" id="{CBD94631-F21A-E9A8-E18B-36A8C2123E83}"/>
              </a:ext>
            </a:extLst>
          </p:cNvPr>
          <p:cNvSpPr>
            <a:spLocks noGrp="1"/>
          </p:cNvSpPr>
          <p:nvPr>
            <p:ph type="body" sz="quarter" idx="14"/>
          </p:nvPr>
        </p:nvSpPr>
        <p:spPr>
          <a:xfrm>
            <a:off x="550864" y="1811338"/>
            <a:ext cx="3204000" cy="432117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12" name="Text Placeholder 12">
            <a:extLst>
              <a:ext uri="{FF2B5EF4-FFF2-40B4-BE49-F238E27FC236}">
                <a16:creationId xmlns:a16="http://schemas.microsoft.com/office/drawing/2014/main" id="{78E62AFA-8CAC-DF8F-ECBF-F7D5E587FEDD}"/>
              </a:ext>
            </a:extLst>
          </p:cNvPr>
          <p:cNvSpPr>
            <a:spLocks noGrp="1"/>
          </p:cNvSpPr>
          <p:nvPr>
            <p:ph type="body" sz="quarter" idx="17"/>
          </p:nvPr>
        </p:nvSpPr>
        <p:spPr>
          <a:xfrm>
            <a:off x="4689299" y="1811338"/>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6" name="Text Placeholder 12">
            <a:extLst>
              <a:ext uri="{FF2B5EF4-FFF2-40B4-BE49-F238E27FC236}">
                <a16:creationId xmlns:a16="http://schemas.microsoft.com/office/drawing/2014/main" id="{C7C1BD0C-1BC2-0403-5041-362D436CBCD9}"/>
              </a:ext>
            </a:extLst>
          </p:cNvPr>
          <p:cNvSpPr>
            <a:spLocks noGrp="1"/>
          </p:cNvSpPr>
          <p:nvPr>
            <p:ph type="body" sz="quarter" idx="18"/>
          </p:nvPr>
        </p:nvSpPr>
        <p:spPr>
          <a:xfrm>
            <a:off x="8437138" y="1811338"/>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pic>
        <p:nvPicPr>
          <p:cNvPr id="8" name="Graphic 7">
            <a:extLst>
              <a:ext uri="{FF2B5EF4-FFF2-40B4-BE49-F238E27FC236}">
                <a16:creationId xmlns:a16="http://schemas.microsoft.com/office/drawing/2014/main" id="{9426BABF-82F1-BE8F-A605-733527406208}"/>
              </a:ext>
            </a:extLst>
          </p:cNvPr>
          <p:cNvPicPr>
            <a:picLocks noChangeAspect="1"/>
          </p:cNvPicPr>
          <p:nvPr userDrawn="1"/>
        </p:nvPicPr>
        <p:blipFill>
          <a:blip r:embed="rId2">
            <a:extLst>
              <a:ext uri="{96DAC541-7B7A-43D3-8B79-37D633B846F1}">
                <asvg:svgBlip xmlns:asvg="http://schemas.microsoft.com/office/drawing/2016/SVG/main" r:embed="rId3"/>
              </a:ext>
            </a:extLst>
          </a:blip>
          <a:srcRect l="9263" t="23870" r="9262" b="23680"/>
          <a:stretch/>
        </p:blipFill>
        <p:spPr>
          <a:xfrm>
            <a:off x="550863" y="6329363"/>
            <a:ext cx="1296000" cy="254793"/>
          </a:xfrm>
          <a:prstGeom prst="rect">
            <a:avLst/>
          </a:prstGeom>
        </p:spPr>
      </p:pic>
    </p:spTree>
    <p:extLst>
      <p:ext uri="{BB962C8B-B14F-4D97-AF65-F5344CB8AC3E}">
        <p14:creationId xmlns:p14="http://schemas.microsoft.com/office/powerpoint/2010/main" val="265725640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x Columns - Blue / Purple Lef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DAD0FDE-F3B7-E9ED-8FBE-820CEDD9BD52}"/>
              </a:ext>
              <a:ext uri="{C183D7F6-B498-43B3-948B-1728B52AA6E4}">
                <adec:decorative xmlns:adec="http://schemas.microsoft.com/office/drawing/2017/decorative" val="1"/>
              </a:ext>
            </a:extLst>
          </p:cNvPr>
          <p:cNvSpPr/>
          <p:nvPr userDrawn="1"/>
        </p:nvSpPr>
        <p:spPr>
          <a:xfrm rot="10800000">
            <a:off x="0" y="0"/>
            <a:ext cx="4151311" cy="6858000"/>
          </a:xfrm>
          <a:prstGeom prst="rect">
            <a:avLst/>
          </a:prstGeom>
          <a:gradFill>
            <a:gsLst>
              <a:gs pos="85000">
                <a:srgbClr val="3595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5" y="368828"/>
            <a:ext cx="3204000" cy="251885"/>
          </a:xfrm>
        </p:spPr>
        <p:txBody>
          <a:bodyPr/>
          <a:lstStyle>
            <a:lvl1pPr>
              <a:defRPr>
                <a:solidFill>
                  <a:schemeClr val="bg1"/>
                </a:solidFill>
              </a:defRPr>
            </a:lvl1pPr>
          </a:lstStyle>
          <a:p>
            <a:r>
              <a:rPr lang="en-US"/>
              <a:t>Header avenir demi</a:t>
            </a:r>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5" y="752052"/>
            <a:ext cx="3204000" cy="336973"/>
          </a:xfrm>
          <a:prstGeom prst="rect">
            <a:avLst/>
          </a:prstGeom>
        </p:spPr>
        <p:txBody>
          <a:bodyPr lIns="0" tIns="0" rIns="0" bIns="0">
            <a:noAutofit/>
          </a:bodyPr>
          <a:lstStyle>
            <a:lvl1pPr marL="0" indent="0">
              <a:lnSpc>
                <a:spcPct val="90000"/>
              </a:lnSpc>
              <a:buNone/>
              <a:defRPr sz="2000">
                <a:solidFill>
                  <a:schemeClr val="bg1"/>
                </a:solidFill>
              </a:defRPr>
            </a:lvl1pPr>
          </a:lstStyle>
          <a:p>
            <a:pPr lvl="0"/>
            <a:r>
              <a:rPr lang="en-US"/>
              <a:t>Subhead avenir pro 20pt</a:t>
            </a:r>
            <a:endParaRPr lang="en-GB"/>
          </a:p>
        </p:txBody>
      </p:sp>
      <p:sp>
        <p:nvSpPr>
          <p:cNvPr id="12" name="Text Placeholder 12">
            <a:extLst>
              <a:ext uri="{FF2B5EF4-FFF2-40B4-BE49-F238E27FC236}">
                <a16:creationId xmlns:a16="http://schemas.microsoft.com/office/drawing/2014/main" id="{78E62AFA-8CAC-DF8F-ECBF-F7D5E587FEDD}"/>
              </a:ext>
            </a:extLst>
          </p:cNvPr>
          <p:cNvSpPr>
            <a:spLocks noGrp="1"/>
          </p:cNvSpPr>
          <p:nvPr>
            <p:ph type="body" sz="quarter" idx="17"/>
          </p:nvPr>
        </p:nvSpPr>
        <p:spPr>
          <a:xfrm>
            <a:off x="4689299" y="1811338"/>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6" name="Text Placeholder 12">
            <a:extLst>
              <a:ext uri="{FF2B5EF4-FFF2-40B4-BE49-F238E27FC236}">
                <a16:creationId xmlns:a16="http://schemas.microsoft.com/office/drawing/2014/main" id="{C7C1BD0C-1BC2-0403-5041-362D436CBCD9}"/>
              </a:ext>
            </a:extLst>
          </p:cNvPr>
          <p:cNvSpPr>
            <a:spLocks noGrp="1"/>
          </p:cNvSpPr>
          <p:nvPr>
            <p:ph type="body" sz="quarter" idx="18"/>
          </p:nvPr>
        </p:nvSpPr>
        <p:spPr>
          <a:xfrm>
            <a:off x="8437138" y="1811338"/>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pic>
        <p:nvPicPr>
          <p:cNvPr id="8" name="Graphic 7">
            <a:extLst>
              <a:ext uri="{FF2B5EF4-FFF2-40B4-BE49-F238E27FC236}">
                <a16:creationId xmlns:a16="http://schemas.microsoft.com/office/drawing/2014/main" id="{7ACB882C-CB4A-9AFE-5F9D-447BFE4528B3}"/>
              </a:ext>
            </a:extLst>
          </p:cNvPr>
          <p:cNvPicPr>
            <a:picLocks noChangeAspect="1"/>
          </p:cNvPicPr>
          <p:nvPr userDrawn="1"/>
        </p:nvPicPr>
        <p:blipFill>
          <a:blip r:embed="rId2">
            <a:extLst>
              <a:ext uri="{96DAC541-7B7A-43D3-8B79-37D633B846F1}">
                <asvg:svgBlip xmlns:asvg="http://schemas.microsoft.com/office/drawing/2016/SVG/main" r:embed="rId3"/>
              </a:ext>
            </a:extLst>
          </a:blip>
          <a:srcRect l="9263" t="23870" r="9262" b="23680"/>
          <a:stretch/>
        </p:blipFill>
        <p:spPr>
          <a:xfrm>
            <a:off x="550863" y="6329363"/>
            <a:ext cx="1296000" cy="254793"/>
          </a:xfrm>
          <a:prstGeom prst="rect">
            <a:avLst/>
          </a:prstGeom>
        </p:spPr>
      </p:pic>
    </p:spTree>
    <p:extLst>
      <p:ext uri="{BB962C8B-B14F-4D97-AF65-F5344CB8AC3E}">
        <p14:creationId xmlns:p14="http://schemas.microsoft.com/office/powerpoint/2010/main" val="157682845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x Column - Blue / Purple Lef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DAD0FDE-F3B7-E9ED-8FBE-820CEDD9BD52}"/>
              </a:ext>
              <a:ext uri="{C183D7F6-B498-43B3-948B-1728B52AA6E4}">
                <adec:decorative xmlns:adec="http://schemas.microsoft.com/office/drawing/2017/decorative" val="1"/>
              </a:ext>
            </a:extLst>
          </p:cNvPr>
          <p:cNvSpPr/>
          <p:nvPr userDrawn="1"/>
        </p:nvSpPr>
        <p:spPr>
          <a:xfrm rot="10800000">
            <a:off x="0" y="0"/>
            <a:ext cx="4151311" cy="6858000"/>
          </a:xfrm>
          <a:prstGeom prst="rect">
            <a:avLst/>
          </a:prstGeom>
          <a:gradFill>
            <a:gsLst>
              <a:gs pos="85000">
                <a:srgbClr val="3595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5" y="368828"/>
            <a:ext cx="3204000" cy="251885"/>
          </a:xfrm>
        </p:spPr>
        <p:txBody>
          <a:bodyPr/>
          <a:lstStyle>
            <a:lvl1pPr>
              <a:defRPr>
                <a:solidFill>
                  <a:schemeClr val="bg1"/>
                </a:solidFill>
              </a:defRPr>
            </a:lvl1pPr>
          </a:lstStyle>
          <a:p>
            <a:r>
              <a:rPr lang="en-US"/>
              <a:t>Header avenir demi</a:t>
            </a:r>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5" y="752052"/>
            <a:ext cx="3204000" cy="336973"/>
          </a:xfrm>
          <a:prstGeom prst="rect">
            <a:avLst/>
          </a:prstGeom>
        </p:spPr>
        <p:txBody>
          <a:bodyPr lIns="0" tIns="0" rIns="0" bIns="0">
            <a:noAutofit/>
          </a:bodyPr>
          <a:lstStyle>
            <a:lvl1pPr marL="0" indent="0">
              <a:lnSpc>
                <a:spcPct val="90000"/>
              </a:lnSpc>
              <a:buNone/>
              <a:defRPr sz="2000">
                <a:solidFill>
                  <a:schemeClr val="bg1"/>
                </a:solidFill>
              </a:defRPr>
            </a:lvl1pPr>
          </a:lstStyle>
          <a:p>
            <a:pPr lvl="0"/>
            <a:r>
              <a:rPr lang="en-US"/>
              <a:t>Subhead avenir pro 20pt</a:t>
            </a:r>
            <a:endParaRPr lang="en-GB"/>
          </a:p>
        </p:txBody>
      </p:sp>
      <p:sp>
        <p:nvSpPr>
          <p:cNvPr id="11" name="Text Placeholder 12">
            <a:extLst>
              <a:ext uri="{FF2B5EF4-FFF2-40B4-BE49-F238E27FC236}">
                <a16:creationId xmlns:a16="http://schemas.microsoft.com/office/drawing/2014/main" id="{CBD94631-F21A-E9A8-E18B-36A8C2123E83}"/>
              </a:ext>
            </a:extLst>
          </p:cNvPr>
          <p:cNvSpPr>
            <a:spLocks noGrp="1"/>
          </p:cNvSpPr>
          <p:nvPr>
            <p:ph type="body" sz="quarter" idx="14"/>
          </p:nvPr>
        </p:nvSpPr>
        <p:spPr>
          <a:xfrm>
            <a:off x="550864" y="1811338"/>
            <a:ext cx="3204000" cy="432117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pic>
        <p:nvPicPr>
          <p:cNvPr id="6" name="Graphic 5">
            <a:extLst>
              <a:ext uri="{FF2B5EF4-FFF2-40B4-BE49-F238E27FC236}">
                <a16:creationId xmlns:a16="http://schemas.microsoft.com/office/drawing/2014/main" id="{C6EC22AA-EB71-1C63-2A47-66FF10DFA538}"/>
              </a:ext>
            </a:extLst>
          </p:cNvPr>
          <p:cNvPicPr>
            <a:picLocks noChangeAspect="1"/>
          </p:cNvPicPr>
          <p:nvPr userDrawn="1"/>
        </p:nvPicPr>
        <p:blipFill>
          <a:blip r:embed="rId2">
            <a:extLst>
              <a:ext uri="{96DAC541-7B7A-43D3-8B79-37D633B846F1}">
                <asvg:svgBlip xmlns:asvg="http://schemas.microsoft.com/office/drawing/2016/SVG/main" r:embed="rId3"/>
              </a:ext>
            </a:extLst>
          </a:blip>
          <a:srcRect l="9263" t="23870" r="9262" b="23680"/>
          <a:stretch/>
        </p:blipFill>
        <p:spPr>
          <a:xfrm>
            <a:off x="550863" y="6329363"/>
            <a:ext cx="1296000" cy="254793"/>
          </a:xfrm>
          <a:prstGeom prst="rect">
            <a:avLst/>
          </a:prstGeom>
        </p:spPr>
      </p:pic>
    </p:spTree>
    <p:extLst>
      <p:ext uri="{BB962C8B-B14F-4D97-AF65-F5344CB8AC3E}">
        <p14:creationId xmlns:p14="http://schemas.microsoft.com/office/powerpoint/2010/main" val="182634990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3x Columns - Blue / Purple Righ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DAD0FDE-F3B7-E9ED-8FBE-820CEDD9BD52}"/>
              </a:ext>
              <a:ext uri="{C183D7F6-B498-43B3-948B-1728B52AA6E4}">
                <adec:decorative xmlns:adec="http://schemas.microsoft.com/office/drawing/2017/decorative" val="1"/>
              </a:ext>
            </a:extLst>
          </p:cNvPr>
          <p:cNvSpPr/>
          <p:nvPr userDrawn="1"/>
        </p:nvSpPr>
        <p:spPr>
          <a:xfrm rot="10800000">
            <a:off x="8040684" y="0"/>
            <a:ext cx="4151311" cy="6858000"/>
          </a:xfrm>
          <a:prstGeom prst="rect">
            <a:avLst/>
          </a:prstGeom>
          <a:gradFill>
            <a:gsLst>
              <a:gs pos="85000">
                <a:srgbClr val="3595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1" name="Text Placeholder 12">
            <a:extLst>
              <a:ext uri="{FF2B5EF4-FFF2-40B4-BE49-F238E27FC236}">
                <a16:creationId xmlns:a16="http://schemas.microsoft.com/office/drawing/2014/main" id="{CBD94631-F21A-E9A8-E18B-36A8C2123E83}"/>
              </a:ext>
            </a:extLst>
          </p:cNvPr>
          <p:cNvSpPr>
            <a:spLocks noGrp="1"/>
          </p:cNvSpPr>
          <p:nvPr>
            <p:ph type="body" sz="quarter" idx="14"/>
          </p:nvPr>
        </p:nvSpPr>
        <p:spPr>
          <a:xfrm>
            <a:off x="550864" y="1812926"/>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12" name="Text Placeholder 12">
            <a:extLst>
              <a:ext uri="{FF2B5EF4-FFF2-40B4-BE49-F238E27FC236}">
                <a16:creationId xmlns:a16="http://schemas.microsoft.com/office/drawing/2014/main" id="{78E62AFA-8CAC-DF8F-ECBF-F7D5E587FEDD}"/>
              </a:ext>
            </a:extLst>
          </p:cNvPr>
          <p:cNvSpPr>
            <a:spLocks noGrp="1"/>
          </p:cNvSpPr>
          <p:nvPr>
            <p:ph type="body" sz="quarter" idx="17"/>
          </p:nvPr>
        </p:nvSpPr>
        <p:spPr>
          <a:xfrm>
            <a:off x="4295151" y="1812926"/>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FB29449A-7F88-8F52-2169-99B80B568955}"/>
              </a:ext>
            </a:extLst>
          </p:cNvPr>
          <p:cNvSpPr>
            <a:spLocks noGrp="1"/>
          </p:cNvSpPr>
          <p:nvPr>
            <p:ph type="body" sz="quarter" idx="18"/>
          </p:nvPr>
        </p:nvSpPr>
        <p:spPr>
          <a:xfrm>
            <a:off x="8437136" y="1812926"/>
            <a:ext cx="3204000" cy="4321175"/>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Tree>
    <p:extLst>
      <p:ext uri="{BB962C8B-B14F-4D97-AF65-F5344CB8AC3E}">
        <p14:creationId xmlns:p14="http://schemas.microsoft.com/office/powerpoint/2010/main" val="234913512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50:50 Split -  Blue / Purple Quot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01870E7-67C3-31B4-3763-30D7343FC40E}"/>
              </a:ext>
              <a:ext uri="{C183D7F6-B498-43B3-948B-1728B52AA6E4}">
                <adec:decorative xmlns:adec="http://schemas.microsoft.com/office/drawing/2017/decorative" val="1"/>
              </a:ext>
            </a:extLst>
          </p:cNvPr>
          <p:cNvSpPr/>
          <p:nvPr userDrawn="1"/>
        </p:nvSpPr>
        <p:spPr>
          <a:xfrm rot="10800000">
            <a:off x="6095999" y="0"/>
            <a:ext cx="6096000" cy="6858000"/>
          </a:xfrm>
          <a:prstGeom prst="rect">
            <a:avLst/>
          </a:prstGeom>
          <a:gradFill>
            <a:gsLst>
              <a:gs pos="85000">
                <a:srgbClr val="3595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5" y="368828"/>
            <a:ext cx="5075998" cy="251885"/>
          </a:xfrm>
        </p:spPr>
        <p:txBody>
          <a:bodyPr/>
          <a:lstStyle>
            <a:lvl1pPr>
              <a:defRPr/>
            </a:lvl1pPr>
          </a:lstStyle>
          <a:p>
            <a:r>
              <a:rPr lang="en-US"/>
              <a:t>Header avenir demi 24pt</a:t>
            </a:r>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5" y="753852"/>
            <a:ext cx="5075998"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2" y="1808163"/>
            <a:ext cx="5076000" cy="4321175"/>
          </a:xfrm>
        </p:spPr>
        <p:txBody>
          <a:bodyPr/>
          <a:lstStyle/>
          <a:p>
            <a:pPr lvl="0"/>
            <a:r>
              <a:rPr lang="en-US"/>
              <a:t>Click to edit Master text styles</a:t>
            </a:r>
          </a:p>
          <a:p>
            <a:pPr lvl="1"/>
            <a:r>
              <a:rPr lang="en-US"/>
              <a:t>Second level</a:t>
            </a:r>
          </a:p>
          <a:p>
            <a:pPr lvl="2"/>
            <a:r>
              <a:rPr lang="en-US"/>
              <a:t>Third level</a:t>
            </a:r>
          </a:p>
        </p:txBody>
      </p:sp>
      <p:sp>
        <p:nvSpPr>
          <p:cNvPr id="5" name="Text Placeholder 9">
            <a:extLst>
              <a:ext uri="{FF2B5EF4-FFF2-40B4-BE49-F238E27FC236}">
                <a16:creationId xmlns:a16="http://schemas.microsoft.com/office/drawing/2014/main" id="{EA5CF333-E5B7-1960-5F54-967F39A4A11B}"/>
              </a:ext>
            </a:extLst>
          </p:cNvPr>
          <p:cNvSpPr>
            <a:spLocks noGrp="1"/>
          </p:cNvSpPr>
          <p:nvPr>
            <p:ph type="body" sz="quarter" idx="15" hasCustomPrompt="1"/>
          </p:nvPr>
        </p:nvSpPr>
        <p:spPr>
          <a:xfrm>
            <a:off x="7102800" y="2766536"/>
            <a:ext cx="3601713" cy="738664"/>
          </a:xfrm>
          <a:prstGeom prst="rect">
            <a:avLst/>
          </a:prstGeom>
        </p:spPr>
        <p:txBody>
          <a:bodyPr wrap="square" lIns="0" tIns="0" rIns="0" bIns="0" anchor="b" anchorCtr="0">
            <a:spAutoFit/>
          </a:bodyPr>
          <a:lstStyle>
            <a:lvl1pPr marL="0" indent="0" algn="l">
              <a:buNone/>
              <a:tabLst/>
              <a:defRPr sz="2400">
                <a:solidFill>
                  <a:schemeClr val="bg1"/>
                </a:solidFill>
                <a:latin typeface="+mj-lt"/>
              </a:defRPr>
            </a:lvl1pPr>
          </a:lstStyle>
          <a:p>
            <a:pPr lvl="0"/>
            <a:r>
              <a:rPr lang="en-US"/>
              <a:t>“Quote Copy Avenir Demi 24pt”.</a:t>
            </a:r>
            <a:endParaRPr lang="en-GB"/>
          </a:p>
        </p:txBody>
      </p:sp>
      <p:sp>
        <p:nvSpPr>
          <p:cNvPr id="6" name="Text Placeholder 12">
            <a:extLst>
              <a:ext uri="{FF2B5EF4-FFF2-40B4-BE49-F238E27FC236}">
                <a16:creationId xmlns:a16="http://schemas.microsoft.com/office/drawing/2014/main" id="{CF395936-4441-9E95-2851-1ED7A64D3777}"/>
              </a:ext>
            </a:extLst>
          </p:cNvPr>
          <p:cNvSpPr>
            <a:spLocks noGrp="1"/>
          </p:cNvSpPr>
          <p:nvPr>
            <p:ph type="body" sz="quarter" idx="16" hasCustomPrompt="1"/>
          </p:nvPr>
        </p:nvSpPr>
        <p:spPr>
          <a:xfrm>
            <a:off x="7102800" y="3634999"/>
            <a:ext cx="2808287" cy="252000"/>
          </a:xfrm>
        </p:spPr>
        <p:txBody>
          <a:bodyPr/>
          <a:lstStyle>
            <a:lvl1pPr marL="0" indent="0" algn="l">
              <a:buNone/>
              <a:defRPr sz="1600">
                <a:solidFill>
                  <a:schemeClr val="bg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7" name="Text Placeholder 12">
            <a:extLst>
              <a:ext uri="{FF2B5EF4-FFF2-40B4-BE49-F238E27FC236}">
                <a16:creationId xmlns:a16="http://schemas.microsoft.com/office/drawing/2014/main" id="{51759836-E0B1-5577-37C5-D2B5A794D942}"/>
              </a:ext>
            </a:extLst>
          </p:cNvPr>
          <p:cNvSpPr>
            <a:spLocks noGrp="1"/>
          </p:cNvSpPr>
          <p:nvPr>
            <p:ph type="body" sz="quarter" idx="27" hasCustomPrompt="1"/>
          </p:nvPr>
        </p:nvSpPr>
        <p:spPr>
          <a:xfrm>
            <a:off x="7102800" y="3892179"/>
            <a:ext cx="2808287" cy="252000"/>
          </a:xfrm>
        </p:spPr>
        <p:txBody>
          <a:bodyPr/>
          <a:lstStyle>
            <a:lvl1pPr marL="0" indent="0" algn="l">
              <a:buNone/>
              <a:defRPr sz="1500">
                <a:solidFill>
                  <a:schemeClr val="bg1"/>
                </a:solidFill>
                <a:latin typeface="+mn-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Company name</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Tree>
    <p:extLst>
      <p:ext uri="{BB962C8B-B14F-4D97-AF65-F5344CB8AC3E}">
        <p14:creationId xmlns:p14="http://schemas.microsoft.com/office/powerpoint/2010/main" val="287030914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50:50 Text -  Blue / Purple Big Sta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AB8773E-2F29-ECD1-16FF-8BC5E75E1E40}"/>
              </a:ext>
              <a:ext uri="{C183D7F6-B498-43B3-948B-1728B52AA6E4}">
                <adec:decorative xmlns:adec="http://schemas.microsoft.com/office/drawing/2017/decorative" val="1"/>
              </a:ext>
            </a:extLst>
          </p:cNvPr>
          <p:cNvSpPr/>
          <p:nvPr userDrawn="1"/>
        </p:nvSpPr>
        <p:spPr>
          <a:xfrm rot="10800000">
            <a:off x="6095999" y="0"/>
            <a:ext cx="6096000" cy="6858000"/>
          </a:xfrm>
          <a:prstGeom prst="rect">
            <a:avLst/>
          </a:prstGeom>
          <a:gradFill>
            <a:gsLst>
              <a:gs pos="85000">
                <a:srgbClr val="3595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itle 1">
            <a:extLst>
              <a:ext uri="{FF2B5EF4-FFF2-40B4-BE49-F238E27FC236}">
                <a16:creationId xmlns:a16="http://schemas.microsoft.com/office/drawing/2014/main" id="{7DE71408-1F6A-1900-3166-8B0F27B91CF7}"/>
              </a:ext>
            </a:extLst>
          </p:cNvPr>
          <p:cNvSpPr>
            <a:spLocks noGrp="1"/>
          </p:cNvSpPr>
          <p:nvPr>
            <p:ph type="title" hasCustomPrompt="1"/>
          </p:nvPr>
        </p:nvSpPr>
        <p:spPr>
          <a:xfrm>
            <a:off x="550865" y="368828"/>
            <a:ext cx="5075998" cy="251885"/>
          </a:xfrm>
        </p:spPr>
        <p:txBody>
          <a:bodyPr/>
          <a:lstStyle>
            <a:lvl1pPr>
              <a:defRPr/>
            </a:lvl1pPr>
          </a:lstStyle>
          <a:p>
            <a:r>
              <a:rPr lang="en-US"/>
              <a:t>Header avenir demi 24pt</a:t>
            </a:r>
            <a:endParaRPr lang="en-GB"/>
          </a:p>
        </p:txBody>
      </p:sp>
      <p:sp>
        <p:nvSpPr>
          <p:cNvPr id="10" name="Text Placeholder 9">
            <a:extLst>
              <a:ext uri="{FF2B5EF4-FFF2-40B4-BE49-F238E27FC236}">
                <a16:creationId xmlns:a16="http://schemas.microsoft.com/office/drawing/2014/main" id="{E040A9B4-F93C-AB35-66CE-1690CFBC2581}"/>
              </a:ext>
            </a:extLst>
          </p:cNvPr>
          <p:cNvSpPr>
            <a:spLocks noGrp="1"/>
          </p:cNvSpPr>
          <p:nvPr>
            <p:ph type="body" sz="quarter" idx="13" hasCustomPrompt="1"/>
          </p:nvPr>
        </p:nvSpPr>
        <p:spPr>
          <a:xfrm>
            <a:off x="550865" y="753852"/>
            <a:ext cx="5075998"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03BC752C-CC9E-C49E-83BC-B6B704830335}"/>
              </a:ext>
            </a:extLst>
          </p:cNvPr>
          <p:cNvSpPr>
            <a:spLocks noGrp="1"/>
          </p:cNvSpPr>
          <p:nvPr>
            <p:ph type="body" sz="quarter" idx="14"/>
          </p:nvPr>
        </p:nvSpPr>
        <p:spPr>
          <a:xfrm>
            <a:off x="550862" y="1808163"/>
            <a:ext cx="5076000" cy="4321175"/>
          </a:xfrm>
        </p:spPr>
        <p:txBody>
          <a:bodyPr/>
          <a:lstStyle/>
          <a:p>
            <a:pPr lvl="0"/>
            <a:r>
              <a:rPr lang="en-US"/>
              <a:t>Click to edit Master text styles</a:t>
            </a:r>
          </a:p>
          <a:p>
            <a:pPr lvl="1"/>
            <a:r>
              <a:rPr lang="en-US"/>
              <a:t>Second level</a:t>
            </a:r>
          </a:p>
          <a:p>
            <a:pPr lvl="2"/>
            <a:r>
              <a:rPr lang="en-US"/>
              <a:t>Third level</a:t>
            </a:r>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6959600" y="2168525"/>
            <a:ext cx="4679821" cy="1620837"/>
          </a:xfrm>
        </p:spPr>
        <p:txBody>
          <a:bodyPr anchor="b" anchorCtr="0"/>
          <a:lstStyle>
            <a:lvl1pPr marL="0" indent="0" algn="ctr">
              <a:buNone/>
              <a:defRPr sz="12000" spc="-300" baseline="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0%</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6959600" y="3608388"/>
            <a:ext cx="4679821"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Tree>
    <p:extLst>
      <p:ext uri="{BB962C8B-B14F-4D97-AF65-F5344CB8AC3E}">
        <p14:creationId xmlns:p14="http://schemas.microsoft.com/office/powerpoint/2010/main" val="101239666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ext - Blue / Purple Big Sta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28D564B-EB64-218D-674E-69E2C567CF28}"/>
              </a:ext>
              <a:ext uri="{C183D7F6-B498-43B3-948B-1728B52AA6E4}">
                <adec:decorative xmlns:adec="http://schemas.microsoft.com/office/drawing/2017/decorative" val="1"/>
              </a:ext>
            </a:extLst>
          </p:cNvPr>
          <p:cNvSpPr/>
          <p:nvPr userDrawn="1"/>
        </p:nvSpPr>
        <p:spPr>
          <a:xfrm rot="10800000">
            <a:off x="8040684" y="0"/>
            <a:ext cx="4151311" cy="6858000"/>
          </a:xfrm>
          <a:prstGeom prst="rect">
            <a:avLst/>
          </a:prstGeom>
          <a:gradFill>
            <a:gsLst>
              <a:gs pos="85000">
                <a:srgbClr val="3595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itle 1">
            <a:extLst>
              <a:ext uri="{FF2B5EF4-FFF2-40B4-BE49-F238E27FC236}">
                <a16:creationId xmlns:a16="http://schemas.microsoft.com/office/drawing/2014/main" id="{5F4A0393-5E31-B1D7-44B4-0AE64D41191E}"/>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12" name="Text Placeholder 9">
            <a:extLst>
              <a:ext uri="{FF2B5EF4-FFF2-40B4-BE49-F238E27FC236}">
                <a16:creationId xmlns:a16="http://schemas.microsoft.com/office/drawing/2014/main" id="{3EF12EEA-B717-A2D4-DD8A-8AD5480E07F4}"/>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2" name="Text Placeholder 12">
            <a:extLst>
              <a:ext uri="{FF2B5EF4-FFF2-40B4-BE49-F238E27FC236}">
                <a16:creationId xmlns:a16="http://schemas.microsoft.com/office/drawing/2014/main" id="{2C9B01AB-F676-3FF4-AEAE-E94065157406}"/>
              </a:ext>
            </a:extLst>
          </p:cNvPr>
          <p:cNvSpPr>
            <a:spLocks noGrp="1"/>
          </p:cNvSpPr>
          <p:nvPr>
            <p:ph type="body" sz="quarter" idx="14"/>
          </p:nvPr>
        </p:nvSpPr>
        <p:spPr>
          <a:xfrm>
            <a:off x="550861" y="1808163"/>
            <a:ext cx="6966375" cy="4321175"/>
          </a:xfrm>
        </p:spPr>
        <p:txBody>
          <a:bodyPr/>
          <a:lstStyle/>
          <a:p>
            <a:pPr lvl="0"/>
            <a:r>
              <a:rPr lang="en-US"/>
              <a:t>Click to edit Master text styles</a:t>
            </a:r>
          </a:p>
          <a:p>
            <a:pPr lvl="1"/>
            <a:r>
              <a:rPr lang="en-US"/>
              <a:t>Second level</a:t>
            </a:r>
          </a:p>
          <a:p>
            <a:pPr lvl="2"/>
            <a:r>
              <a:rPr lang="en-US"/>
              <a:t>Third level</a:t>
            </a:r>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2168525"/>
            <a:ext cx="3024000" cy="1620837"/>
          </a:xfrm>
        </p:spPr>
        <p:txBody>
          <a:bodyPr anchor="b" anchorCtr="0"/>
          <a:lstStyle>
            <a:lvl1pPr marL="0" indent="0" algn="ctr">
              <a:buNone/>
              <a:defRPr sz="12000" spc="-300" baseline="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0%</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3608388"/>
            <a:ext cx="3024000"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Tree>
    <p:extLst>
      <p:ext uri="{BB962C8B-B14F-4D97-AF65-F5344CB8AC3E}">
        <p14:creationId xmlns:p14="http://schemas.microsoft.com/office/powerpoint/2010/main" val="390081871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x Columns -  Blue / Purple Big Sta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E5CACE1-373F-1887-B5D9-B73EA9691DEA}"/>
              </a:ext>
              <a:ext uri="{C183D7F6-B498-43B3-948B-1728B52AA6E4}">
                <adec:decorative xmlns:adec="http://schemas.microsoft.com/office/drawing/2017/decorative" val="1"/>
              </a:ext>
            </a:extLst>
          </p:cNvPr>
          <p:cNvSpPr/>
          <p:nvPr userDrawn="1"/>
        </p:nvSpPr>
        <p:spPr>
          <a:xfrm rot="10800000">
            <a:off x="8040684" y="0"/>
            <a:ext cx="4151311" cy="6858000"/>
          </a:xfrm>
          <a:prstGeom prst="rect">
            <a:avLst/>
          </a:prstGeom>
          <a:gradFill>
            <a:gsLst>
              <a:gs pos="85000">
                <a:srgbClr val="3595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itle 1">
            <a:extLst>
              <a:ext uri="{FF2B5EF4-FFF2-40B4-BE49-F238E27FC236}">
                <a16:creationId xmlns:a16="http://schemas.microsoft.com/office/drawing/2014/main" id="{5F4A0393-5E31-B1D7-44B4-0AE64D41191E}"/>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12" name="Text Placeholder 9">
            <a:extLst>
              <a:ext uri="{FF2B5EF4-FFF2-40B4-BE49-F238E27FC236}">
                <a16:creationId xmlns:a16="http://schemas.microsoft.com/office/drawing/2014/main" id="{3EF12EEA-B717-A2D4-DD8A-8AD5480E07F4}"/>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E85E9EA0-2A22-199D-48CF-03EB94ECF487}"/>
              </a:ext>
            </a:extLst>
          </p:cNvPr>
          <p:cNvSpPr>
            <a:spLocks noGrp="1"/>
          </p:cNvSpPr>
          <p:nvPr>
            <p:ph type="body" sz="quarter" idx="14"/>
          </p:nvPr>
        </p:nvSpPr>
        <p:spPr>
          <a:xfrm>
            <a:off x="550864" y="1808163"/>
            <a:ext cx="3204000" cy="4321175"/>
          </a:xfrm>
        </p:spPr>
        <p:txBody>
          <a:bodyPr/>
          <a:lstStyle/>
          <a:p>
            <a:pPr lvl="0"/>
            <a:r>
              <a:rPr lang="en-US"/>
              <a:t>Click to 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269DCDE0-20E2-91A9-6591-26711B40C6C3}"/>
              </a:ext>
            </a:extLst>
          </p:cNvPr>
          <p:cNvSpPr>
            <a:spLocks noGrp="1"/>
          </p:cNvSpPr>
          <p:nvPr>
            <p:ph type="body" sz="quarter" idx="15"/>
          </p:nvPr>
        </p:nvSpPr>
        <p:spPr>
          <a:xfrm>
            <a:off x="4295774" y="1808163"/>
            <a:ext cx="3204000" cy="4321175"/>
          </a:xfrm>
        </p:spPr>
        <p:txBody>
          <a:bodyPr/>
          <a:lstStyle/>
          <a:p>
            <a:pPr lvl="0"/>
            <a:r>
              <a:rPr lang="en-US"/>
              <a:t>Click to edit Master text styles</a:t>
            </a:r>
          </a:p>
          <a:p>
            <a:pPr lvl="1"/>
            <a:r>
              <a:rPr lang="en-US"/>
              <a:t>Second level</a:t>
            </a:r>
          </a:p>
          <a:p>
            <a:pPr lvl="2"/>
            <a:r>
              <a:rPr lang="en-US"/>
              <a:t>Third level</a:t>
            </a:r>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2168525"/>
            <a:ext cx="3024000" cy="1620837"/>
          </a:xfrm>
        </p:spPr>
        <p:txBody>
          <a:bodyPr anchor="b" anchorCtr="0"/>
          <a:lstStyle>
            <a:lvl1pPr marL="0" indent="0" algn="ctr">
              <a:buNone/>
              <a:defRPr sz="12000" spc="-300" baseline="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0%</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3598863"/>
            <a:ext cx="3024000"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Tree>
    <p:extLst>
      <p:ext uri="{BB962C8B-B14F-4D97-AF65-F5344CB8AC3E}">
        <p14:creationId xmlns:p14="http://schemas.microsoft.com/office/powerpoint/2010/main" val="89313516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1 Light Image - Blue / Purple Big Sta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73EBDDE-664E-22FA-02F4-D12882D309AB}"/>
              </a:ext>
              <a:ext uri="{C183D7F6-B498-43B3-948B-1728B52AA6E4}">
                <adec:decorative xmlns:adec="http://schemas.microsoft.com/office/drawing/2017/decorative" val="1"/>
              </a:ext>
            </a:extLst>
          </p:cNvPr>
          <p:cNvSpPr/>
          <p:nvPr userDrawn="1"/>
        </p:nvSpPr>
        <p:spPr>
          <a:xfrm rot="10800000">
            <a:off x="8040687" y="0"/>
            <a:ext cx="4151311" cy="6858000"/>
          </a:xfrm>
          <a:prstGeom prst="rect">
            <a:avLst/>
          </a:prstGeom>
          <a:gradFill>
            <a:gsLst>
              <a:gs pos="85000">
                <a:srgbClr val="3595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ectangle 1">
            <a:extLst>
              <a:ext uri="{FF2B5EF4-FFF2-40B4-BE49-F238E27FC236}">
                <a16:creationId xmlns:a16="http://schemas.microsoft.com/office/drawing/2014/main" id="{31AA0871-DF4F-3D16-30B1-C25E0C64F490}"/>
              </a:ext>
              <a:ext uri="{C183D7F6-B498-43B3-948B-1728B52AA6E4}">
                <adec:decorative xmlns:adec="http://schemas.microsoft.com/office/drawing/2017/decorative" val="1"/>
              </a:ext>
            </a:extLst>
          </p:cNvPr>
          <p:cNvSpPr/>
          <p:nvPr userDrawn="1"/>
        </p:nvSpPr>
        <p:spPr>
          <a:xfrm>
            <a:off x="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Picture Placeholder 10">
            <a:extLst>
              <a:ext uri="{FF2B5EF4-FFF2-40B4-BE49-F238E27FC236}">
                <a16:creationId xmlns:a16="http://schemas.microsoft.com/office/drawing/2014/main" id="{4A55DB76-799D-A0D8-6DBF-3FB7E44D7DB0}"/>
              </a:ext>
            </a:extLst>
          </p:cNvPr>
          <p:cNvSpPr>
            <a:spLocks noGrp="1"/>
          </p:cNvSpPr>
          <p:nvPr>
            <p:ph type="pic" sz="quarter" idx="20" hasCustomPrompt="1"/>
          </p:nvPr>
        </p:nvSpPr>
        <p:spPr>
          <a:xfrm>
            <a:off x="0" y="0"/>
            <a:ext cx="8040688" cy="6858000"/>
          </a:xfrm>
          <a:custGeom>
            <a:avLst/>
            <a:gdLst>
              <a:gd name="connsiteX0" fmla="*/ 1579559 w 8040688"/>
              <a:gd name="connsiteY0" fmla="*/ 6496532 h 6858000"/>
              <a:gd name="connsiteX1" fmla="*/ 1579559 w 8040688"/>
              <a:gd name="connsiteY1" fmla="*/ 6505105 h 6858000"/>
              <a:gd name="connsiteX2" fmla="*/ 1555747 w 8040688"/>
              <a:gd name="connsiteY2" fmla="*/ 6527013 h 6858000"/>
              <a:gd name="connsiteX3" fmla="*/ 1538602 w 8040688"/>
              <a:gd name="connsiteY3" fmla="*/ 6512725 h 6858000"/>
              <a:gd name="connsiteX4" fmla="*/ 1555747 w 8040688"/>
              <a:gd name="connsiteY4" fmla="*/ 6499390 h 6858000"/>
              <a:gd name="connsiteX5" fmla="*/ 1569082 w 8040688"/>
              <a:gd name="connsiteY5" fmla="*/ 6499390 h 6858000"/>
              <a:gd name="connsiteX6" fmla="*/ 1579559 w 8040688"/>
              <a:gd name="connsiteY6" fmla="*/ 6496532 h 6858000"/>
              <a:gd name="connsiteX7" fmla="*/ 1162365 w 8040688"/>
              <a:gd name="connsiteY7" fmla="*/ 6496532 h 6858000"/>
              <a:gd name="connsiteX8" fmla="*/ 1162365 w 8040688"/>
              <a:gd name="connsiteY8" fmla="*/ 6505105 h 6858000"/>
              <a:gd name="connsiteX9" fmla="*/ 1138553 w 8040688"/>
              <a:gd name="connsiteY9" fmla="*/ 6527013 h 6858000"/>
              <a:gd name="connsiteX10" fmla="*/ 1121408 w 8040688"/>
              <a:gd name="connsiteY10" fmla="*/ 6512725 h 6858000"/>
              <a:gd name="connsiteX11" fmla="*/ 1138553 w 8040688"/>
              <a:gd name="connsiteY11" fmla="*/ 6499390 h 6858000"/>
              <a:gd name="connsiteX12" fmla="*/ 1151888 w 8040688"/>
              <a:gd name="connsiteY12" fmla="*/ 6499390 h 6858000"/>
              <a:gd name="connsiteX13" fmla="*/ 1162365 w 8040688"/>
              <a:gd name="connsiteY13" fmla="*/ 6496532 h 6858000"/>
              <a:gd name="connsiteX14" fmla="*/ 736599 w 8040688"/>
              <a:gd name="connsiteY14" fmla="*/ 6455574 h 6858000"/>
              <a:gd name="connsiteX15" fmla="*/ 619442 w 8040688"/>
              <a:gd name="connsiteY15" fmla="*/ 6523203 h 6858000"/>
              <a:gd name="connsiteX16" fmla="*/ 632777 w 8040688"/>
              <a:gd name="connsiteY16" fmla="*/ 6552731 h 6858000"/>
              <a:gd name="connsiteX17" fmla="*/ 646112 w 8040688"/>
              <a:gd name="connsiteY17" fmla="*/ 6571781 h 6858000"/>
              <a:gd name="connsiteX18" fmla="*/ 765174 w 8040688"/>
              <a:gd name="connsiteY18" fmla="*/ 6503200 h 6858000"/>
              <a:gd name="connsiteX19" fmla="*/ 736599 w 8040688"/>
              <a:gd name="connsiteY19" fmla="*/ 6455574 h 6858000"/>
              <a:gd name="connsiteX20" fmla="*/ 1781490 w 8040688"/>
              <a:gd name="connsiteY20" fmla="*/ 6452716 h 6858000"/>
              <a:gd name="connsiteX21" fmla="*/ 1808160 w 8040688"/>
              <a:gd name="connsiteY21" fmla="*/ 6474624 h 6858000"/>
              <a:gd name="connsiteX22" fmla="*/ 1753867 w 8040688"/>
              <a:gd name="connsiteY22" fmla="*/ 6474624 h 6858000"/>
              <a:gd name="connsiteX23" fmla="*/ 1781490 w 8040688"/>
              <a:gd name="connsiteY23" fmla="*/ 6452716 h 6858000"/>
              <a:gd name="connsiteX24" fmla="*/ 1309050 w 8040688"/>
              <a:gd name="connsiteY24" fmla="*/ 6426999 h 6858000"/>
              <a:gd name="connsiteX25" fmla="*/ 1309050 w 8040688"/>
              <a:gd name="connsiteY25" fmla="*/ 6456526 h 6858000"/>
              <a:gd name="connsiteX26" fmla="*/ 1326195 w 8040688"/>
              <a:gd name="connsiteY26" fmla="*/ 6456526 h 6858000"/>
              <a:gd name="connsiteX27" fmla="*/ 1326195 w 8040688"/>
              <a:gd name="connsiteY27" fmla="*/ 6548920 h 6858000"/>
              <a:gd name="connsiteX28" fmla="*/ 1360485 w 8040688"/>
              <a:gd name="connsiteY28" fmla="*/ 6548920 h 6858000"/>
              <a:gd name="connsiteX29" fmla="*/ 1360485 w 8040688"/>
              <a:gd name="connsiteY29" fmla="*/ 6426999 h 6858000"/>
              <a:gd name="connsiteX30" fmla="*/ 1372868 w 8040688"/>
              <a:gd name="connsiteY30" fmla="*/ 6426998 h 6858000"/>
              <a:gd name="connsiteX31" fmla="*/ 1414778 w 8040688"/>
              <a:gd name="connsiteY31" fmla="*/ 6548920 h 6858000"/>
              <a:gd name="connsiteX32" fmla="*/ 1457640 w 8040688"/>
              <a:gd name="connsiteY32" fmla="*/ 6548920 h 6858000"/>
              <a:gd name="connsiteX33" fmla="*/ 1501455 w 8040688"/>
              <a:gd name="connsiteY33" fmla="*/ 6426998 h 6858000"/>
              <a:gd name="connsiteX34" fmla="*/ 1465260 w 8040688"/>
              <a:gd name="connsiteY34" fmla="*/ 6426998 h 6858000"/>
              <a:gd name="connsiteX35" fmla="*/ 1437638 w 8040688"/>
              <a:gd name="connsiteY35" fmla="*/ 6511772 h 6858000"/>
              <a:gd name="connsiteX36" fmla="*/ 1410015 w 8040688"/>
              <a:gd name="connsiteY36" fmla="*/ 6426998 h 6858000"/>
              <a:gd name="connsiteX37" fmla="*/ 1781490 w 8040688"/>
              <a:gd name="connsiteY37" fmla="*/ 6425093 h 6858000"/>
              <a:gd name="connsiteX38" fmla="*/ 1718625 w 8040688"/>
              <a:gd name="connsiteY38" fmla="*/ 6488912 h 6858000"/>
              <a:gd name="connsiteX39" fmla="*/ 1782442 w 8040688"/>
              <a:gd name="connsiteY39" fmla="*/ 6552730 h 6858000"/>
              <a:gd name="connsiteX40" fmla="*/ 1843402 w 8040688"/>
              <a:gd name="connsiteY40" fmla="*/ 6514629 h 6858000"/>
              <a:gd name="connsiteX41" fmla="*/ 1807207 w 8040688"/>
              <a:gd name="connsiteY41" fmla="*/ 6510819 h 6858000"/>
              <a:gd name="connsiteX42" fmla="*/ 1782442 w 8040688"/>
              <a:gd name="connsiteY42" fmla="*/ 6523202 h 6858000"/>
              <a:gd name="connsiteX43" fmla="*/ 1754820 w 8040688"/>
              <a:gd name="connsiteY43" fmla="*/ 6498437 h 6858000"/>
              <a:gd name="connsiteX44" fmla="*/ 1845307 w 8040688"/>
              <a:gd name="connsiteY44" fmla="*/ 6498437 h 6858000"/>
              <a:gd name="connsiteX45" fmla="*/ 1845307 w 8040688"/>
              <a:gd name="connsiteY45" fmla="*/ 6497484 h 6858000"/>
              <a:gd name="connsiteX46" fmla="*/ 1781490 w 8040688"/>
              <a:gd name="connsiteY46" fmla="*/ 6425093 h 6858000"/>
              <a:gd name="connsiteX47" fmla="*/ 1282380 w 8040688"/>
              <a:gd name="connsiteY47" fmla="*/ 6425093 h 6858000"/>
              <a:gd name="connsiteX48" fmla="*/ 1250947 w 8040688"/>
              <a:gd name="connsiteY48" fmla="*/ 6446048 h 6858000"/>
              <a:gd name="connsiteX49" fmla="*/ 1250947 w 8040688"/>
              <a:gd name="connsiteY49" fmla="*/ 6426998 h 6858000"/>
              <a:gd name="connsiteX50" fmla="*/ 1217610 w 8040688"/>
              <a:gd name="connsiteY50" fmla="*/ 6426998 h 6858000"/>
              <a:gd name="connsiteX51" fmla="*/ 1217610 w 8040688"/>
              <a:gd name="connsiteY51" fmla="*/ 6548920 h 6858000"/>
              <a:gd name="connsiteX52" fmla="*/ 1251900 w 8040688"/>
              <a:gd name="connsiteY52" fmla="*/ 6548920 h 6858000"/>
              <a:gd name="connsiteX53" fmla="*/ 1251900 w 8040688"/>
              <a:gd name="connsiteY53" fmla="*/ 6490817 h 6858000"/>
              <a:gd name="connsiteX54" fmla="*/ 1277617 w 8040688"/>
              <a:gd name="connsiteY54" fmla="*/ 6461289 h 6858000"/>
              <a:gd name="connsiteX55" fmla="*/ 1291905 w 8040688"/>
              <a:gd name="connsiteY55" fmla="*/ 6461289 h 6858000"/>
              <a:gd name="connsiteX56" fmla="*/ 1291905 w 8040688"/>
              <a:gd name="connsiteY56" fmla="*/ 6426046 h 6858000"/>
              <a:gd name="connsiteX57" fmla="*/ 1282380 w 8040688"/>
              <a:gd name="connsiteY57" fmla="*/ 6425093 h 6858000"/>
              <a:gd name="connsiteX58" fmla="*/ 1562414 w 8040688"/>
              <a:gd name="connsiteY58" fmla="*/ 6424141 h 6858000"/>
              <a:gd name="connsiteX59" fmla="*/ 1510027 w 8040688"/>
              <a:gd name="connsiteY59" fmla="*/ 6439381 h 6858000"/>
              <a:gd name="connsiteX60" fmla="*/ 1523362 w 8040688"/>
              <a:gd name="connsiteY60" fmla="*/ 6465099 h 6858000"/>
              <a:gd name="connsiteX61" fmla="*/ 1559557 w 8040688"/>
              <a:gd name="connsiteY61" fmla="*/ 6453669 h 6858000"/>
              <a:gd name="connsiteX62" fmla="*/ 1579559 w 8040688"/>
              <a:gd name="connsiteY62" fmla="*/ 6467957 h 6858000"/>
              <a:gd name="connsiteX63" fmla="*/ 1580512 w 8040688"/>
              <a:gd name="connsiteY63" fmla="*/ 6468909 h 6858000"/>
              <a:gd name="connsiteX64" fmla="*/ 1571939 w 8040688"/>
              <a:gd name="connsiteY64" fmla="*/ 6476529 h 6858000"/>
              <a:gd name="connsiteX65" fmla="*/ 1548127 w 8040688"/>
              <a:gd name="connsiteY65" fmla="*/ 6476529 h 6858000"/>
              <a:gd name="connsiteX66" fmla="*/ 1504312 w 8040688"/>
              <a:gd name="connsiteY66" fmla="*/ 6513677 h 6858000"/>
              <a:gd name="connsiteX67" fmla="*/ 1547174 w 8040688"/>
              <a:gd name="connsiteY67" fmla="*/ 6551778 h 6858000"/>
              <a:gd name="connsiteX68" fmla="*/ 1581464 w 8040688"/>
              <a:gd name="connsiteY68" fmla="*/ 6537490 h 6858000"/>
              <a:gd name="connsiteX69" fmla="*/ 1581464 w 8040688"/>
              <a:gd name="connsiteY69" fmla="*/ 6548920 h 6858000"/>
              <a:gd name="connsiteX70" fmla="*/ 1615754 w 8040688"/>
              <a:gd name="connsiteY70" fmla="*/ 6548920 h 6858000"/>
              <a:gd name="connsiteX71" fmla="*/ 1615754 w 8040688"/>
              <a:gd name="connsiteY71" fmla="*/ 6468909 h 6858000"/>
              <a:gd name="connsiteX72" fmla="*/ 1562414 w 8040688"/>
              <a:gd name="connsiteY72" fmla="*/ 6424141 h 6858000"/>
              <a:gd name="connsiteX73" fmla="*/ 1145220 w 8040688"/>
              <a:gd name="connsiteY73" fmla="*/ 6424141 h 6858000"/>
              <a:gd name="connsiteX74" fmla="*/ 1092833 w 8040688"/>
              <a:gd name="connsiteY74" fmla="*/ 6439381 h 6858000"/>
              <a:gd name="connsiteX75" fmla="*/ 1106168 w 8040688"/>
              <a:gd name="connsiteY75" fmla="*/ 6465099 h 6858000"/>
              <a:gd name="connsiteX76" fmla="*/ 1142363 w 8040688"/>
              <a:gd name="connsiteY76" fmla="*/ 6453669 h 6858000"/>
              <a:gd name="connsiteX77" fmla="*/ 1162365 w 8040688"/>
              <a:gd name="connsiteY77" fmla="*/ 6467957 h 6858000"/>
              <a:gd name="connsiteX78" fmla="*/ 1163318 w 8040688"/>
              <a:gd name="connsiteY78" fmla="*/ 6468909 h 6858000"/>
              <a:gd name="connsiteX79" fmla="*/ 1154745 w 8040688"/>
              <a:gd name="connsiteY79" fmla="*/ 6476529 h 6858000"/>
              <a:gd name="connsiteX80" fmla="*/ 1130933 w 8040688"/>
              <a:gd name="connsiteY80" fmla="*/ 6476529 h 6858000"/>
              <a:gd name="connsiteX81" fmla="*/ 1087118 w 8040688"/>
              <a:gd name="connsiteY81" fmla="*/ 6513677 h 6858000"/>
              <a:gd name="connsiteX82" fmla="*/ 1129980 w 8040688"/>
              <a:gd name="connsiteY82" fmla="*/ 6551778 h 6858000"/>
              <a:gd name="connsiteX83" fmla="*/ 1164270 w 8040688"/>
              <a:gd name="connsiteY83" fmla="*/ 6537490 h 6858000"/>
              <a:gd name="connsiteX84" fmla="*/ 1164270 w 8040688"/>
              <a:gd name="connsiteY84" fmla="*/ 6548920 h 6858000"/>
              <a:gd name="connsiteX85" fmla="*/ 1198560 w 8040688"/>
              <a:gd name="connsiteY85" fmla="*/ 6548920 h 6858000"/>
              <a:gd name="connsiteX86" fmla="*/ 1198560 w 8040688"/>
              <a:gd name="connsiteY86" fmla="*/ 6468909 h 6858000"/>
              <a:gd name="connsiteX87" fmla="*/ 1145220 w 8040688"/>
              <a:gd name="connsiteY87" fmla="*/ 6424141 h 6858000"/>
              <a:gd name="connsiteX88" fmla="*/ 587056 w 8040688"/>
              <a:gd name="connsiteY88" fmla="*/ 6386040 h 6858000"/>
              <a:gd name="connsiteX89" fmla="*/ 564196 w 8040688"/>
              <a:gd name="connsiteY89" fmla="*/ 6386993 h 6858000"/>
              <a:gd name="connsiteX90" fmla="*/ 564196 w 8040688"/>
              <a:gd name="connsiteY90" fmla="*/ 6524155 h 6858000"/>
              <a:gd name="connsiteX91" fmla="*/ 587056 w 8040688"/>
              <a:gd name="connsiteY91" fmla="*/ 6526060 h 6858000"/>
              <a:gd name="connsiteX92" fmla="*/ 619441 w 8040688"/>
              <a:gd name="connsiteY92" fmla="*/ 6523202 h 6858000"/>
              <a:gd name="connsiteX93" fmla="*/ 613726 w 8040688"/>
              <a:gd name="connsiteY93" fmla="*/ 6406043 h 6858000"/>
              <a:gd name="connsiteX94" fmla="*/ 619441 w 8040688"/>
              <a:gd name="connsiteY94" fmla="*/ 6388898 h 6858000"/>
              <a:gd name="connsiteX95" fmla="*/ 587056 w 8040688"/>
              <a:gd name="connsiteY95" fmla="*/ 6386040 h 6858000"/>
              <a:gd name="connsiteX96" fmla="*/ 1647187 w 8040688"/>
              <a:gd name="connsiteY96" fmla="*/ 6381278 h 6858000"/>
              <a:gd name="connsiteX97" fmla="*/ 1647187 w 8040688"/>
              <a:gd name="connsiteY97" fmla="*/ 6427951 h 6858000"/>
              <a:gd name="connsiteX98" fmla="*/ 1628137 w 8040688"/>
              <a:gd name="connsiteY98" fmla="*/ 6427951 h 6858000"/>
              <a:gd name="connsiteX99" fmla="*/ 1628137 w 8040688"/>
              <a:gd name="connsiteY99" fmla="*/ 6457479 h 6858000"/>
              <a:gd name="connsiteX100" fmla="*/ 1647187 w 8040688"/>
              <a:gd name="connsiteY100" fmla="*/ 6457479 h 6858000"/>
              <a:gd name="connsiteX101" fmla="*/ 1647187 w 8040688"/>
              <a:gd name="connsiteY101" fmla="*/ 6524155 h 6858000"/>
              <a:gd name="connsiteX102" fmla="*/ 1682429 w 8040688"/>
              <a:gd name="connsiteY102" fmla="*/ 6551778 h 6858000"/>
              <a:gd name="connsiteX103" fmla="*/ 1709099 w 8040688"/>
              <a:gd name="connsiteY103" fmla="*/ 6549873 h 6858000"/>
              <a:gd name="connsiteX104" fmla="*/ 1709099 w 8040688"/>
              <a:gd name="connsiteY104" fmla="*/ 6520345 h 6858000"/>
              <a:gd name="connsiteX105" fmla="*/ 1692907 w 8040688"/>
              <a:gd name="connsiteY105" fmla="*/ 6520345 h 6858000"/>
              <a:gd name="connsiteX106" fmla="*/ 1681477 w 8040688"/>
              <a:gd name="connsiteY106" fmla="*/ 6511772 h 6858000"/>
              <a:gd name="connsiteX107" fmla="*/ 1681477 w 8040688"/>
              <a:gd name="connsiteY107" fmla="*/ 6456526 h 6858000"/>
              <a:gd name="connsiteX108" fmla="*/ 1708147 w 8040688"/>
              <a:gd name="connsiteY108" fmla="*/ 6456526 h 6858000"/>
              <a:gd name="connsiteX109" fmla="*/ 1708147 w 8040688"/>
              <a:gd name="connsiteY109" fmla="*/ 6426998 h 6858000"/>
              <a:gd name="connsiteX110" fmla="*/ 1681477 w 8040688"/>
              <a:gd name="connsiteY110" fmla="*/ 6426998 h 6858000"/>
              <a:gd name="connsiteX111" fmla="*/ 1681477 w 8040688"/>
              <a:gd name="connsiteY111" fmla="*/ 6381278 h 6858000"/>
              <a:gd name="connsiteX112" fmla="*/ 1341435 w 8040688"/>
              <a:gd name="connsiteY112" fmla="*/ 6363180 h 6858000"/>
              <a:gd name="connsiteX113" fmla="*/ 1319527 w 8040688"/>
              <a:gd name="connsiteY113" fmla="*/ 6385088 h 6858000"/>
              <a:gd name="connsiteX114" fmla="*/ 1341435 w 8040688"/>
              <a:gd name="connsiteY114" fmla="*/ 6406996 h 6858000"/>
              <a:gd name="connsiteX115" fmla="*/ 1363342 w 8040688"/>
              <a:gd name="connsiteY115" fmla="*/ 6385088 h 6858000"/>
              <a:gd name="connsiteX116" fmla="*/ 1341435 w 8040688"/>
              <a:gd name="connsiteY116" fmla="*/ 6363180 h 6858000"/>
              <a:gd name="connsiteX117" fmla="*/ 1032826 w 8040688"/>
              <a:gd name="connsiteY117" fmla="*/ 6363180 h 6858000"/>
              <a:gd name="connsiteX118" fmla="*/ 1032826 w 8040688"/>
              <a:gd name="connsiteY118" fmla="*/ 6548920 h 6858000"/>
              <a:gd name="connsiteX119" fmla="*/ 1067116 w 8040688"/>
              <a:gd name="connsiteY119" fmla="*/ 6548920 h 6858000"/>
              <a:gd name="connsiteX120" fmla="*/ 1067116 w 8040688"/>
              <a:gd name="connsiteY120" fmla="*/ 6363180 h 6858000"/>
              <a:gd name="connsiteX121" fmla="*/ 922336 w 8040688"/>
              <a:gd name="connsiteY121" fmla="*/ 6359370 h 6858000"/>
              <a:gd name="connsiteX122" fmla="*/ 825181 w 8040688"/>
              <a:gd name="connsiteY122" fmla="*/ 6455574 h 6858000"/>
              <a:gd name="connsiteX123" fmla="*/ 922336 w 8040688"/>
              <a:gd name="connsiteY123" fmla="*/ 6551778 h 6858000"/>
              <a:gd name="connsiteX124" fmla="*/ 1013776 w 8040688"/>
              <a:gd name="connsiteY124" fmla="*/ 6482244 h 6858000"/>
              <a:gd name="connsiteX125" fmla="*/ 973771 w 8040688"/>
              <a:gd name="connsiteY125" fmla="*/ 6482244 h 6858000"/>
              <a:gd name="connsiteX126" fmla="*/ 923288 w 8040688"/>
              <a:gd name="connsiteY126" fmla="*/ 6517488 h 6858000"/>
              <a:gd name="connsiteX127" fmla="*/ 865186 w 8040688"/>
              <a:gd name="connsiteY127" fmla="*/ 6455574 h 6858000"/>
              <a:gd name="connsiteX128" fmla="*/ 923288 w 8040688"/>
              <a:gd name="connsiteY128" fmla="*/ 6393661 h 6858000"/>
              <a:gd name="connsiteX129" fmla="*/ 972818 w 8040688"/>
              <a:gd name="connsiteY129" fmla="*/ 6428904 h 6858000"/>
              <a:gd name="connsiteX130" fmla="*/ 1013776 w 8040688"/>
              <a:gd name="connsiteY130" fmla="*/ 6428904 h 6858000"/>
              <a:gd name="connsiteX131" fmla="*/ 922336 w 8040688"/>
              <a:gd name="connsiteY131" fmla="*/ 6359370 h 6858000"/>
              <a:gd name="connsiteX132" fmla="*/ 646112 w 8040688"/>
              <a:gd name="connsiteY132" fmla="*/ 6339367 h 6858000"/>
              <a:gd name="connsiteX133" fmla="*/ 619442 w 8040688"/>
              <a:gd name="connsiteY133" fmla="*/ 6387945 h 6858000"/>
              <a:gd name="connsiteX134" fmla="*/ 735647 w 8040688"/>
              <a:gd name="connsiteY134" fmla="*/ 6455574 h 6858000"/>
              <a:gd name="connsiteX135" fmla="*/ 764222 w 8040688"/>
              <a:gd name="connsiteY135" fmla="*/ 6407948 h 6858000"/>
              <a:gd name="connsiteX136" fmla="*/ 646112 w 8040688"/>
              <a:gd name="connsiteY136" fmla="*/ 6339367 h 6858000"/>
              <a:gd name="connsiteX137" fmla="*/ 0 w 8040688"/>
              <a:gd name="connsiteY137" fmla="*/ 0 h 6858000"/>
              <a:gd name="connsiteX138" fmla="*/ 8040688 w 8040688"/>
              <a:gd name="connsiteY138" fmla="*/ 0 h 6858000"/>
              <a:gd name="connsiteX139" fmla="*/ 8040688 w 8040688"/>
              <a:gd name="connsiteY139" fmla="*/ 6858000 h 6858000"/>
              <a:gd name="connsiteX140" fmla="*/ 0 w 8040688"/>
              <a:gd name="connsiteY14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8040688" h="6858000">
                <a:moveTo>
                  <a:pt x="1579559" y="6496532"/>
                </a:moveTo>
                <a:lnTo>
                  <a:pt x="1579559" y="6505105"/>
                </a:lnTo>
                <a:cubicBezTo>
                  <a:pt x="1579559" y="6520345"/>
                  <a:pt x="1566224" y="6527013"/>
                  <a:pt x="1555747" y="6527013"/>
                </a:cubicBezTo>
                <a:cubicBezTo>
                  <a:pt x="1545269" y="6527013"/>
                  <a:pt x="1538602" y="6521298"/>
                  <a:pt x="1538602" y="6512725"/>
                </a:cubicBezTo>
                <a:cubicBezTo>
                  <a:pt x="1538602" y="6504152"/>
                  <a:pt x="1545269" y="6499390"/>
                  <a:pt x="1555747" y="6499390"/>
                </a:cubicBezTo>
                <a:lnTo>
                  <a:pt x="1569082" y="6499390"/>
                </a:lnTo>
                <a:cubicBezTo>
                  <a:pt x="1573844" y="6499390"/>
                  <a:pt x="1577654" y="6498437"/>
                  <a:pt x="1579559" y="6496532"/>
                </a:cubicBezTo>
                <a:close/>
                <a:moveTo>
                  <a:pt x="1162365" y="6496532"/>
                </a:moveTo>
                <a:lnTo>
                  <a:pt x="1162365" y="6505105"/>
                </a:lnTo>
                <a:cubicBezTo>
                  <a:pt x="1162365" y="6520345"/>
                  <a:pt x="1149030" y="6527013"/>
                  <a:pt x="1138553" y="6527013"/>
                </a:cubicBezTo>
                <a:cubicBezTo>
                  <a:pt x="1128075" y="6527013"/>
                  <a:pt x="1121408" y="6521298"/>
                  <a:pt x="1121408" y="6512725"/>
                </a:cubicBezTo>
                <a:cubicBezTo>
                  <a:pt x="1121408" y="6504152"/>
                  <a:pt x="1128075" y="6499390"/>
                  <a:pt x="1138553" y="6499390"/>
                </a:cubicBezTo>
                <a:lnTo>
                  <a:pt x="1151888" y="6499390"/>
                </a:lnTo>
                <a:cubicBezTo>
                  <a:pt x="1156650" y="6499390"/>
                  <a:pt x="1160460" y="6498437"/>
                  <a:pt x="1162365" y="6496532"/>
                </a:cubicBezTo>
                <a:close/>
                <a:moveTo>
                  <a:pt x="736599" y="6455574"/>
                </a:moveTo>
                <a:cubicBezTo>
                  <a:pt x="707072" y="6490817"/>
                  <a:pt x="666114" y="6515582"/>
                  <a:pt x="619442" y="6523203"/>
                </a:cubicBezTo>
                <a:cubicBezTo>
                  <a:pt x="623252" y="6532728"/>
                  <a:pt x="628014" y="6543205"/>
                  <a:pt x="632777" y="6552731"/>
                </a:cubicBezTo>
                <a:cubicBezTo>
                  <a:pt x="636587" y="6559398"/>
                  <a:pt x="641349" y="6566066"/>
                  <a:pt x="646112" y="6571781"/>
                </a:cubicBezTo>
                <a:cubicBezTo>
                  <a:pt x="691832" y="6560351"/>
                  <a:pt x="732789" y="6536538"/>
                  <a:pt x="765174" y="6503200"/>
                </a:cubicBezTo>
                <a:cubicBezTo>
                  <a:pt x="757554" y="6486054"/>
                  <a:pt x="748029" y="6469862"/>
                  <a:pt x="736599" y="6455574"/>
                </a:cubicBezTo>
                <a:close/>
                <a:moveTo>
                  <a:pt x="1781490" y="6452716"/>
                </a:moveTo>
                <a:cubicBezTo>
                  <a:pt x="1795777" y="6452716"/>
                  <a:pt x="1806255" y="6462241"/>
                  <a:pt x="1808160" y="6474624"/>
                </a:cubicBezTo>
                <a:lnTo>
                  <a:pt x="1753867" y="6474624"/>
                </a:lnTo>
                <a:cubicBezTo>
                  <a:pt x="1756725" y="6461289"/>
                  <a:pt x="1767202" y="6452716"/>
                  <a:pt x="1781490" y="6452716"/>
                </a:cubicBezTo>
                <a:close/>
                <a:moveTo>
                  <a:pt x="1309050" y="6426999"/>
                </a:moveTo>
                <a:lnTo>
                  <a:pt x="1309050" y="6456526"/>
                </a:lnTo>
                <a:lnTo>
                  <a:pt x="1326195" y="6456526"/>
                </a:lnTo>
                <a:lnTo>
                  <a:pt x="1326195" y="6548920"/>
                </a:lnTo>
                <a:lnTo>
                  <a:pt x="1360485" y="6548920"/>
                </a:lnTo>
                <a:lnTo>
                  <a:pt x="1360485" y="6426999"/>
                </a:lnTo>
                <a:close/>
                <a:moveTo>
                  <a:pt x="1372868" y="6426998"/>
                </a:moveTo>
                <a:lnTo>
                  <a:pt x="1414778" y="6548920"/>
                </a:lnTo>
                <a:lnTo>
                  <a:pt x="1457640" y="6548920"/>
                </a:lnTo>
                <a:lnTo>
                  <a:pt x="1501455" y="6426998"/>
                </a:lnTo>
                <a:lnTo>
                  <a:pt x="1465260" y="6426998"/>
                </a:lnTo>
                <a:lnTo>
                  <a:pt x="1437638" y="6511772"/>
                </a:lnTo>
                <a:lnTo>
                  <a:pt x="1410015" y="6426998"/>
                </a:lnTo>
                <a:close/>
                <a:moveTo>
                  <a:pt x="1781490" y="6425093"/>
                </a:moveTo>
                <a:cubicBezTo>
                  <a:pt x="1745295" y="6425093"/>
                  <a:pt x="1718625" y="6451763"/>
                  <a:pt x="1718625" y="6488912"/>
                </a:cubicBezTo>
                <a:cubicBezTo>
                  <a:pt x="1718625" y="6526060"/>
                  <a:pt x="1754820" y="6552730"/>
                  <a:pt x="1782442" y="6552730"/>
                </a:cubicBezTo>
                <a:cubicBezTo>
                  <a:pt x="1810065" y="6552730"/>
                  <a:pt x="1832925" y="6540347"/>
                  <a:pt x="1843402" y="6514629"/>
                </a:cubicBezTo>
                <a:lnTo>
                  <a:pt x="1807207" y="6510819"/>
                </a:lnTo>
                <a:cubicBezTo>
                  <a:pt x="1802445" y="6518439"/>
                  <a:pt x="1797682" y="6523202"/>
                  <a:pt x="1782442" y="6523202"/>
                </a:cubicBezTo>
                <a:cubicBezTo>
                  <a:pt x="1767202" y="6523202"/>
                  <a:pt x="1756725" y="6511772"/>
                  <a:pt x="1754820" y="6498437"/>
                </a:cubicBezTo>
                <a:lnTo>
                  <a:pt x="1845307" y="6498437"/>
                </a:lnTo>
                <a:lnTo>
                  <a:pt x="1845307" y="6497484"/>
                </a:lnTo>
                <a:cubicBezTo>
                  <a:pt x="1845307" y="6447001"/>
                  <a:pt x="1817685" y="6425093"/>
                  <a:pt x="1781490" y="6425093"/>
                </a:cubicBezTo>
                <a:close/>
                <a:moveTo>
                  <a:pt x="1282380" y="6425093"/>
                </a:moveTo>
                <a:cubicBezTo>
                  <a:pt x="1267140" y="6425093"/>
                  <a:pt x="1255710" y="6432713"/>
                  <a:pt x="1250947" y="6446048"/>
                </a:cubicBezTo>
                <a:lnTo>
                  <a:pt x="1250947" y="6426998"/>
                </a:lnTo>
                <a:lnTo>
                  <a:pt x="1217610" y="6426998"/>
                </a:lnTo>
                <a:lnTo>
                  <a:pt x="1217610" y="6548920"/>
                </a:lnTo>
                <a:lnTo>
                  <a:pt x="1251900" y="6548920"/>
                </a:lnTo>
                <a:lnTo>
                  <a:pt x="1251900" y="6490817"/>
                </a:lnTo>
                <a:cubicBezTo>
                  <a:pt x="1251900" y="6469861"/>
                  <a:pt x="1260472" y="6461289"/>
                  <a:pt x="1277617" y="6461289"/>
                </a:cubicBezTo>
                <a:lnTo>
                  <a:pt x="1291905" y="6461289"/>
                </a:lnTo>
                <a:cubicBezTo>
                  <a:pt x="1291905" y="6461289"/>
                  <a:pt x="1291905" y="6426046"/>
                  <a:pt x="1291905" y="6426046"/>
                </a:cubicBezTo>
                <a:cubicBezTo>
                  <a:pt x="1289047" y="6425093"/>
                  <a:pt x="1297620" y="6425093"/>
                  <a:pt x="1282380" y="6425093"/>
                </a:cubicBezTo>
                <a:close/>
                <a:moveTo>
                  <a:pt x="1562414" y="6424141"/>
                </a:moveTo>
                <a:cubicBezTo>
                  <a:pt x="1532887" y="6424141"/>
                  <a:pt x="1510027" y="6439381"/>
                  <a:pt x="1510027" y="6439381"/>
                </a:cubicBezTo>
                <a:lnTo>
                  <a:pt x="1523362" y="6465099"/>
                </a:lnTo>
                <a:cubicBezTo>
                  <a:pt x="1531934" y="6459384"/>
                  <a:pt x="1546222" y="6453669"/>
                  <a:pt x="1559557" y="6453669"/>
                </a:cubicBezTo>
                <a:cubicBezTo>
                  <a:pt x="1572892" y="6453669"/>
                  <a:pt x="1579559" y="6459384"/>
                  <a:pt x="1579559" y="6467957"/>
                </a:cubicBezTo>
                <a:lnTo>
                  <a:pt x="1580512" y="6468909"/>
                </a:lnTo>
                <a:cubicBezTo>
                  <a:pt x="1580512" y="6473672"/>
                  <a:pt x="1577654" y="6476529"/>
                  <a:pt x="1571939" y="6476529"/>
                </a:cubicBezTo>
                <a:lnTo>
                  <a:pt x="1548127" y="6476529"/>
                </a:lnTo>
                <a:cubicBezTo>
                  <a:pt x="1521457" y="6476529"/>
                  <a:pt x="1504312" y="6493675"/>
                  <a:pt x="1504312" y="6513677"/>
                </a:cubicBezTo>
                <a:cubicBezTo>
                  <a:pt x="1504312" y="6533680"/>
                  <a:pt x="1521457" y="6551778"/>
                  <a:pt x="1547174" y="6551778"/>
                </a:cubicBezTo>
                <a:cubicBezTo>
                  <a:pt x="1561462" y="6551778"/>
                  <a:pt x="1574797" y="6547015"/>
                  <a:pt x="1581464" y="6537490"/>
                </a:cubicBezTo>
                <a:lnTo>
                  <a:pt x="1581464" y="6548920"/>
                </a:lnTo>
                <a:lnTo>
                  <a:pt x="1615754" y="6548920"/>
                </a:lnTo>
                <a:lnTo>
                  <a:pt x="1615754" y="6468909"/>
                </a:lnTo>
                <a:cubicBezTo>
                  <a:pt x="1615754" y="6436524"/>
                  <a:pt x="1591942" y="6424141"/>
                  <a:pt x="1562414" y="6424141"/>
                </a:cubicBezTo>
                <a:close/>
                <a:moveTo>
                  <a:pt x="1145220" y="6424141"/>
                </a:moveTo>
                <a:cubicBezTo>
                  <a:pt x="1115693" y="6424141"/>
                  <a:pt x="1092833" y="6439381"/>
                  <a:pt x="1092833" y="6439381"/>
                </a:cubicBezTo>
                <a:lnTo>
                  <a:pt x="1106168" y="6465099"/>
                </a:lnTo>
                <a:cubicBezTo>
                  <a:pt x="1114740" y="6459384"/>
                  <a:pt x="1129028" y="6453669"/>
                  <a:pt x="1142363" y="6453669"/>
                </a:cubicBezTo>
                <a:cubicBezTo>
                  <a:pt x="1155698" y="6453669"/>
                  <a:pt x="1162365" y="6459384"/>
                  <a:pt x="1162365" y="6467957"/>
                </a:cubicBezTo>
                <a:lnTo>
                  <a:pt x="1163318" y="6468909"/>
                </a:lnTo>
                <a:cubicBezTo>
                  <a:pt x="1163318" y="6473672"/>
                  <a:pt x="1160460" y="6476529"/>
                  <a:pt x="1154745" y="6476529"/>
                </a:cubicBezTo>
                <a:lnTo>
                  <a:pt x="1130933" y="6476529"/>
                </a:lnTo>
                <a:cubicBezTo>
                  <a:pt x="1104263" y="6476529"/>
                  <a:pt x="1087118" y="6493675"/>
                  <a:pt x="1087118" y="6513677"/>
                </a:cubicBezTo>
                <a:cubicBezTo>
                  <a:pt x="1087118" y="6533680"/>
                  <a:pt x="1104263" y="6551778"/>
                  <a:pt x="1129980" y="6551778"/>
                </a:cubicBezTo>
                <a:cubicBezTo>
                  <a:pt x="1144268" y="6551778"/>
                  <a:pt x="1157603" y="6547015"/>
                  <a:pt x="1164270" y="6537490"/>
                </a:cubicBezTo>
                <a:lnTo>
                  <a:pt x="1164270" y="6548920"/>
                </a:lnTo>
                <a:lnTo>
                  <a:pt x="1198560" y="6548920"/>
                </a:lnTo>
                <a:lnTo>
                  <a:pt x="1198560" y="6468909"/>
                </a:lnTo>
                <a:cubicBezTo>
                  <a:pt x="1198560" y="6436524"/>
                  <a:pt x="1174748" y="6424141"/>
                  <a:pt x="1145220" y="6424141"/>
                </a:cubicBezTo>
                <a:close/>
                <a:moveTo>
                  <a:pt x="587056" y="6386040"/>
                </a:moveTo>
                <a:cubicBezTo>
                  <a:pt x="575626" y="6386040"/>
                  <a:pt x="571816" y="6386040"/>
                  <a:pt x="564196" y="6386993"/>
                </a:cubicBezTo>
                <a:cubicBezTo>
                  <a:pt x="551814" y="6430808"/>
                  <a:pt x="550861" y="6478434"/>
                  <a:pt x="564196" y="6524155"/>
                </a:cubicBezTo>
                <a:cubicBezTo>
                  <a:pt x="571816" y="6524155"/>
                  <a:pt x="579436" y="6526060"/>
                  <a:pt x="587056" y="6526060"/>
                </a:cubicBezTo>
                <a:cubicBezTo>
                  <a:pt x="598486" y="6526060"/>
                  <a:pt x="608964" y="6525107"/>
                  <a:pt x="619441" y="6523202"/>
                </a:cubicBezTo>
                <a:cubicBezTo>
                  <a:pt x="605154" y="6486054"/>
                  <a:pt x="603249" y="6445096"/>
                  <a:pt x="613726" y="6406043"/>
                </a:cubicBezTo>
                <a:cubicBezTo>
                  <a:pt x="615631" y="6400328"/>
                  <a:pt x="617536" y="6394613"/>
                  <a:pt x="619441" y="6388898"/>
                </a:cubicBezTo>
                <a:cubicBezTo>
                  <a:pt x="608964" y="6386993"/>
                  <a:pt x="598486" y="6386040"/>
                  <a:pt x="587056" y="6386040"/>
                </a:cubicBezTo>
                <a:close/>
                <a:moveTo>
                  <a:pt x="1647187" y="6381278"/>
                </a:moveTo>
                <a:lnTo>
                  <a:pt x="1647187" y="6427951"/>
                </a:lnTo>
                <a:lnTo>
                  <a:pt x="1628137" y="6427951"/>
                </a:lnTo>
                <a:lnTo>
                  <a:pt x="1628137" y="6457479"/>
                </a:lnTo>
                <a:lnTo>
                  <a:pt x="1647187" y="6457479"/>
                </a:lnTo>
                <a:lnTo>
                  <a:pt x="1647187" y="6524155"/>
                </a:lnTo>
                <a:cubicBezTo>
                  <a:pt x="1647187" y="6548920"/>
                  <a:pt x="1665284" y="6551778"/>
                  <a:pt x="1682429" y="6551778"/>
                </a:cubicBezTo>
                <a:cubicBezTo>
                  <a:pt x="1691954" y="6551778"/>
                  <a:pt x="1709099" y="6549873"/>
                  <a:pt x="1709099" y="6549873"/>
                </a:cubicBezTo>
                <a:lnTo>
                  <a:pt x="1709099" y="6520345"/>
                </a:lnTo>
                <a:cubicBezTo>
                  <a:pt x="1709099" y="6520345"/>
                  <a:pt x="1701479" y="6520345"/>
                  <a:pt x="1692907" y="6520345"/>
                </a:cubicBezTo>
                <a:cubicBezTo>
                  <a:pt x="1687192" y="6520345"/>
                  <a:pt x="1681477" y="6519392"/>
                  <a:pt x="1681477" y="6511772"/>
                </a:cubicBezTo>
                <a:lnTo>
                  <a:pt x="1681477" y="6456526"/>
                </a:lnTo>
                <a:lnTo>
                  <a:pt x="1708147" y="6456526"/>
                </a:lnTo>
                <a:lnTo>
                  <a:pt x="1708147" y="6426998"/>
                </a:lnTo>
                <a:lnTo>
                  <a:pt x="1681477" y="6426998"/>
                </a:lnTo>
                <a:lnTo>
                  <a:pt x="1681477" y="6381278"/>
                </a:lnTo>
                <a:close/>
                <a:moveTo>
                  <a:pt x="1341435" y="6363180"/>
                </a:moveTo>
                <a:cubicBezTo>
                  <a:pt x="1329052" y="6363180"/>
                  <a:pt x="1319527" y="6372705"/>
                  <a:pt x="1319527" y="6385088"/>
                </a:cubicBezTo>
                <a:cubicBezTo>
                  <a:pt x="1319527" y="6397471"/>
                  <a:pt x="1329052" y="6406996"/>
                  <a:pt x="1341435" y="6406996"/>
                </a:cubicBezTo>
                <a:cubicBezTo>
                  <a:pt x="1353817" y="6406996"/>
                  <a:pt x="1363342" y="6396518"/>
                  <a:pt x="1363342" y="6385088"/>
                </a:cubicBezTo>
                <a:cubicBezTo>
                  <a:pt x="1363342" y="6373658"/>
                  <a:pt x="1353817" y="6363180"/>
                  <a:pt x="1341435" y="6363180"/>
                </a:cubicBezTo>
                <a:close/>
                <a:moveTo>
                  <a:pt x="1032826" y="6363180"/>
                </a:moveTo>
                <a:lnTo>
                  <a:pt x="1032826" y="6548920"/>
                </a:lnTo>
                <a:lnTo>
                  <a:pt x="1067116" y="6548920"/>
                </a:lnTo>
                <a:lnTo>
                  <a:pt x="1067116" y="6363180"/>
                </a:lnTo>
                <a:close/>
                <a:moveTo>
                  <a:pt x="922336" y="6359370"/>
                </a:moveTo>
                <a:cubicBezTo>
                  <a:pt x="867091" y="6359370"/>
                  <a:pt x="825181" y="6399376"/>
                  <a:pt x="825181" y="6455574"/>
                </a:cubicBezTo>
                <a:cubicBezTo>
                  <a:pt x="825181" y="6511772"/>
                  <a:pt x="880426" y="6551778"/>
                  <a:pt x="922336" y="6551778"/>
                </a:cubicBezTo>
                <a:cubicBezTo>
                  <a:pt x="964246" y="6551778"/>
                  <a:pt x="1003298" y="6526060"/>
                  <a:pt x="1013776" y="6482244"/>
                </a:cubicBezTo>
                <a:lnTo>
                  <a:pt x="973771" y="6482244"/>
                </a:lnTo>
                <a:cubicBezTo>
                  <a:pt x="967103" y="6504152"/>
                  <a:pt x="948053" y="6517488"/>
                  <a:pt x="923288" y="6517488"/>
                </a:cubicBezTo>
                <a:cubicBezTo>
                  <a:pt x="888046" y="6517488"/>
                  <a:pt x="865186" y="6490817"/>
                  <a:pt x="865186" y="6455574"/>
                </a:cubicBezTo>
                <a:cubicBezTo>
                  <a:pt x="865186" y="6420331"/>
                  <a:pt x="888046" y="6393661"/>
                  <a:pt x="923288" y="6393661"/>
                </a:cubicBezTo>
                <a:cubicBezTo>
                  <a:pt x="947101" y="6393661"/>
                  <a:pt x="966151" y="6406996"/>
                  <a:pt x="972818" y="6428904"/>
                </a:cubicBezTo>
                <a:lnTo>
                  <a:pt x="1013776" y="6428904"/>
                </a:lnTo>
                <a:cubicBezTo>
                  <a:pt x="1002346" y="6385088"/>
                  <a:pt x="977581" y="6359370"/>
                  <a:pt x="922336" y="6359370"/>
                </a:cubicBezTo>
                <a:close/>
                <a:moveTo>
                  <a:pt x="646112" y="6339367"/>
                </a:moveTo>
                <a:cubicBezTo>
                  <a:pt x="634682" y="6354607"/>
                  <a:pt x="626109" y="6370800"/>
                  <a:pt x="619442" y="6387945"/>
                </a:cubicBezTo>
                <a:cubicBezTo>
                  <a:pt x="666114" y="6395565"/>
                  <a:pt x="707072" y="6420331"/>
                  <a:pt x="735647" y="6455574"/>
                </a:cubicBezTo>
                <a:cubicBezTo>
                  <a:pt x="747077" y="6441286"/>
                  <a:pt x="757554" y="6425093"/>
                  <a:pt x="764222" y="6407948"/>
                </a:cubicBezTo>
                <a:cubicBezTo>
                  <a:pt x="732789" y="6375563"/>
                  <a:pt x="691832" y="6350797"/>
                  <a:pt x="646112" y="6339367"/>
                </a:cubicBezTo>
                <a:close/>
                <a:moveTo>
                  <a:pt x="0" y="0"/>
                </a:moveTo>
                <a:lnTo>
                  <a:pt x="8040688" y="0"/>
                </a:lnTo>
                <a:lnTo>
                  <a:pt x="8040688" y="6858000"/>
                </a:lnTo>
                <a:lnTo>
                  <a:pt x="0" y="6858000"/>
                </a:lnTo>
                <a:close/>
              </a:path>
            </a:pathLst>
          </a:custGeom>
          <a:solidFill>
            <a:schemeClr val="bg1">
              <a:lumMod val="95000"/>
            </a:schemeClr>
          </a:solidFill>
          <a:ln>
            <a:noFill/>
          </a:ln>
        </p:spPr>
        <p:txBody>
          <a:bodyPr wrap="square" tIns="180000" anchor="t" anchorCtr="0">
            <a:noAutofit/>
          </a:bodyPr>
          <a:lstStyle>
            <a:lvl1pPr marL="0" indent="0" algn="ctr">
              <a:buNone/>
              <a:defRPr sz="1000">
                <a:solidFill>
                  <a:schemeClr val="accent2"/>
                </a:solidFill>
                <a:latin typeface="+mn-lt"/>
              </a:defRPr>
            </a:lvl1pPr>
          </a:lstStyle>
          <a:p>
            <a:pPr lvl="0"/>
            <a:r>
              <a:rPr lang="en-US"/>
              <a:t>Drag picture file here or click </a:t>
            </a:r>
            <a:r>
              <a:rPr lang="en-GB" noProof="0"/>
              <a:t>center</a:t>
            </a:r>
            <a:r>
              <a:rPr lang="en-US"/>
              <a:t> icon to insert light image</a:t>
            </a:r>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2168525"/>
            <a:ext cx="3024000" cy="1620837"/>
          </a:xfrm>
        </p:spPr>
        <p:txBody>
          <a:bodyPr anchor="b" anchorCtr="0"/>
          <a:lstStyle>
            <a:lvl1pPr marL="0" indent="0" algn="ctr">
              <a:buNone/>
              <a:defRPr sz="12000" spc="-300" baseline="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0%</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3608388"/>
            <a:ext cx="3024000"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3" name="Footer Placeholder 2">
            <a:extLst>
              <a:ext uri="{FF2B5EF4-FFF2-40B4-BE49-F238E27FC236}">
                <a16:creationId xmlns:a16="http://schemas.microsoft.com/office/drawing/2014/main" id="{0871EE65-26EE-B181-C60C-77234227C285}"/>
              </a:ext>
              <a:ext uri="{C183D7F6-B498-43B3-948B-1728B52AA6E4}">
                <adec:decorative xmlns:adec="http://schemas.microsoft.com/office/drawing/2017/decorative" val="1"/>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US"/>
              <a:t>© 2025 Clarivate. All rights reserved.</a:t>
            </a:r>
          </a:p>
        </p:txBody>
      </p:sp>
      <p:sp>
        <p:nvSpPr>
          <p:cNvPr id="4" name="Slide Number Placeholder 3">
            <a:extLst>
              <a:ext uri="{FF2B5EF4-FFF2-40B4-BE49-F238E27FC236}">
                <a16:creationId xmlns:a16="http://schemas.microsoft.com/office/drawing/2014/main" id="{50BDD441-95E6-955E-8A17-BE1B5185D4A8}"/>
              </a:ext>
              <a:ext uri="{C183D7F6-B498-43B3-948B-1728B52AA6E4}">
                <adec:decorative xmlns:adec="http://schemas.microsoft.com/office/drawing/2017/decorative" val="1"/>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Tree>
    <p:extLst>
      <p:ext uri="{BB962C8B-B14F-4D97-AF65-F5344CB8AC3E}">
        <p14:creationId xmlns:p14="http://schemas.microsoft.com/office/powerpoint/2010/main" val="30212797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9.xml"/><Relationship Id="rId18" Type="http://schemas.openxmlformats.org/officeDocument/2006/relationships/slideLayout" Target="../slideLayouts/slideLayout24.xml"/><Relationship Id="rId26" Type="http://schemas.openxmlformats.org/officeDocument/2006/relationships/slideLayout" Target="../slideLayouts/slideLayout32.xml"/><Relationship Id="rId39" Type="http://schemas.openxmlformats.org/officeDocument/2006/relationships/oleObject" Target="../embeddings/oleObject1.bin"/><Relationship Id="rId21" Type="http://schemas.openxmlformats.org/officeDocument/2006/relationships/slideLayout" Target="../slideLayouts/slideLayout27.xml"/><Relationship Id="rId34" Type="http://schemas.openxmlformats.org/officeDocument/2006/relationships/slideLayout" Target="../slideLayouts/slideLayout40.xml"/><Relationship Id="rId42" Type="http://schemas.openxmlformats.org/officeDocument/2006/relationships/image" Target="../media/image8.svg"/><Relationship Id="rId7" Type="http://schemas.openxmlformats.org/officeDocument/2006/relationships/slideLayout" Target="../slideLayouts/slideLayout13.xml"/><Relationship Id="rId2" Type="http://schemas.openxmlformats.org/officeDocument/2006/relationships/slideLayout" Target="../slideLayouts/slideLayout8.xml"/><Relationship Id="rId16" Type="http://schemas.openxmlformats.org/officeDocument/2006/relationships/slideLayout" Target="../slideLayouts/slideLayout22.xml"/><Relationship Id="rId20" Type="http://schemas.openxmlformats.org/officeDocument/2006/relationships/slideLayout" Target="../slideLayouts/slideLayout26.xml"/><Relationship Id="rId29" Type="http://schemas.openxmlformats.org/officeDocument/2006/relationships/slideLayout" Target="../slideLayouts/slideLayout35.xml"/><Relationship Id="rId41" Type="http://schemas.openxmlformats.org/officeDocument/2006/relationships/image" Target="../media/image7.png"/><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24" Type="http://schemas.openxmlformats.org/officeDocument/2006/relationships/slideLayout" Target="../slideLayouts/slideLayout30.xml"/><Relationship Id="rId32" Type="http://schemas.openxmlformats.org/officeDocument/2006/relationships/slideLayout" Target="../slideLayouts/slideLayout38.xml"/><Relationship Id="rId37" Type="http://schemas.openxmlformats.org/officeDocument/2006/relationships/theme" Target="../theme/theme2.xml"/><Relationship Id="rId40" Type="http://schemas.openxmlformats.org/officeDocument/2006/relationships/image" Target="../media/image6.emf"/><Relationship Id="rId5" Type="http://schemas.openxmlformats.org/officeDocument/2006/relationships/slideLayout" Target="../slideLayouts/slideLayout11.xml"/><Relationship Id="rId15" Type="http://schemas.openxmlformats.org/officeDocument/2006/relationships/slideLayout" Target="../slideLayouts/slideLayout21.xml"/><Relationship Id="rId23" Type="http://schemas.openxmlformats.org/officeDocument/2006/relationships/slideLayout" Target="../slideLayouts/slideLayout29.xml"/><Relationship Id="rId28" Type="http://schemas.openxmlformats.org/officeDocument/2006/relationships/slideLayout" Target="../slideLayouts/slideLayout34.xml"/><Relationship Id="rId36" Type="http://schemas.openxmlformats.org/officeDocument/2006/relationships/slideLayout" Target="../slideLayouts/slideLayout42.xml"/><Relationship Id="rId10" Type="http://schemas.openxmlformats.org/officeDocument/2006/relationships/slideLayout" Target="../slideLayouts/slideLayout16.xml"/><Relationship Id="rId19" Type="http://schemas.openxmlformats.org/officeDocument/2006/relationships/slideLayout" Target="../slideLayouts/slideLayout25.xml"/><Relationship Id="rId31" Type="http://schemas.openxmlformats.org/officeDocument/2006/relationships/slideLayout" Target="../slideLayouts/slideLayout37.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 Id="rId22" Type="http://schemas.openxmlformats.org/officeDocument/2006/relationships/slideLayout" Target="../slideLayouts/slideLayout28.xml"/><Relationship Id="rId27" Type="http://schemas.openxmlformats.org/officeDocument/2006/relationships/slideLayout" Target="../slideLayouts/slideLayout33.xml"/><Relationship Id="rId30" Type="http://schemas.openxmlformats.org/officeDocument/2006/relationships/slideLayout" Target="../slideLayouts/slideLayout36.xml"/><Relationship Id="rId35" Type="http://schemas.openxmlformats.org/officeDocument/2006/relationships/slideLayout" Target="../slideLayouts/slideLayout41.xml"/><Relationship Id="rId8" Type="http://schemas.openxmlformats.org/officeDocument/2006/relationships/slideLayout" Target="../slideLayouts/slideLayout14.xml"/><Relationship Id="rId3" Type="http://schemas.openxmlformats.org/officeDocument/2006/relationships/slideLayout" Target="../slideLayouts/slideLayout9.xml"/><Relationship Id="rId12" Type="http://schemas.openxmlformats.org/officeDocument/2006/relationships/slideLayout" Target="../slideLayouts/slideLayout18.xml"/><Relationship Id="rId17" Type="http://schemas.openxmlformats.org/officeDocument/2006/relationships/slideLayout" Target="../slideLayouts/slideLayout23.xml"/><Relationship Id="rId25" Type="http://schemas.openxmlformats.org/officeDocument/2006/relationships/slideLayout" Target="../slideLayouts/slideLayout31.xml"/><Relationship Id="rId33" Type="http://schemas.openxmlformats.org/officeDocument/2006/relationships/slideLayout" Target="../slideLayouts/slideLayout39.xml"/><Relationship Id="rId38" Type="http://schemas.openxmlformats.org/officeDocument/2006/relationships/tags" Target="../tags/tag1.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slideLayout" Target="../slideLayouts/slideLayout68.xml"/><Relationship Id="rId39" Type="http://schemas.openxmlformats.org/officeDocument/2006/relationships/tags" Target="../tags/tag4.xml"/><Relationship Id="rId21" Type="http://schemas.openxmlformats.org/officeDocument/2006/relationships/slideLayout" Target="../slideLayouts/slideLayout63.xml"/><Relationship Id="rId34" Type="http://schemas.openxmlformats.org/officeDocument/2006/relationships/slideLayout" Target="../slideLayouts/slideLayout76.xml"/><Relationship Id="rId42" Type="http://schemas.openxmlformats.org/officeDocument/2006/relationships/image" Target="../media/image7.png"/><Relationship Id="rId7" Type="http://schemas.openxmlformats.org/officeDocument/2006/relationships/slideLayout" Target="../slideLayouts/slideLayout4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29" Type="http://schemas.openxmlformats.org/officeDocument/2006/relationships/slideLayout" Target="../slideLayouts/slideLayout71.xml"/><Relationship Id="rId41" Type="http://schemas.openxmlformats.org/officeDocument/2006/relationships/image" Target="../media/image6.emf"/><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slideLayout" Target="../slideLayouts/slideLayout66.xml"/><Relationship Id="rId32" Type="http://schemas.openxmlformats.org/officeDocument/2006/relationships/slideLayout" Target="../slideLayouts/slideLayout74.xml"/><Relationship Id="rId37" Type="http://schemas.openxmlformats.org/officeDocument/2006/relationships/slideLayout" Target="../slideLayouts/slideLayout79.xml"/><Relationship Id="rId40" Type="http://schemas.openxmlformats.org/officeDocument/2006/relationships/oleObject" Target="../embeddings/oleObject1.bin"/><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slideLayout" Target="../slideLayouts/slideLayout65.xml"/><Relationship Id="rId28" Type="http://schemas.openxmlformats.org/officeDocument/2006/relationships/slideLayout" Target="../slideLayouts/slideLayout70.xml"/><Relationship Id="rId36" Type="http://schemas.openxmlformats.org/officeDocument/2006/relationships/slideLayout" Target="../slideLayouts/slideLayout78.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31" Type="http://schemas.openxmlformats.org/officeDocument/2006/relationships/slideLayout" Target="../slideLayouts/slideLayout73.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 Id="rId27" Type="http://schemas.openxmlformats.org/officeDocument/2006/relationships/slideLayout" Target="../slideLayouts/slideLayout69.xml"/><Relationship Id="rId30" Type="http://schemas.openxmlformats.org/officeDocument/2006/relationships/slideLayout" Target="../slideLayouts/slideLayout72.xml"/><Relationship Id="rId35" Type="http://schemas.openxmlformats.org/officeDocument/2006/relationships/slideLayout" Target="../slideLayouts/slideLayout77.xml"/><Relationship Id="rId43" Type="http://schemas.openxmlformats.org/officeDocument/2006/relationships/image" Target="../media/image8.svg"/><Relationship Id="rId8" Type="http://schemas.openxmlformats.org/officeDocument/2006/relationships/slideLayout" Target="../slideLayouts/slideLayout50.xml"/><Relationship Id="rId3" Type="http://schemas.openxmlformats.org/officeDocument/2006/relationships/slideLayout" Target="../slideLayouts/slideLayout45.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slideLayout" Target="../slideLayouts/slideLayout67.xml"/><Relationship Id="rId33" Type="http://schemas.openxmlformats.org/officeDocument/2006/relationships/slideLayout" Target="../slideLayouts/slideLayout75.xml"/><Relationship Id="rId38"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92.xml"/><Relationship Id="rId18" Type="http://schemas.openxmlformats.org/officeDocument/2006/relationships/slideLayout" Target="../slideLayouts/slideLayout97.xml"/><Relationship Id="rId26" Type="http://schemas.openxmlformats.org/officeDocument/2006/relationships/slideLayout" Target="../slideLayouts/slideLayout105.xml"/><Relationship Id="rId39" Type="http://schemas.openxmlformats.org/officeDocument/2006/relationships/slideLayout" Target="../slideLayouts/slideLayout118.xml"/><Relationship Id="rId21" Type="http://schemas.openxmlformats.org/officeDocument/2006/relationships/slideLayout" Target="../slideLayouts/slideLayout100.xml"/><Relationship Id="rId34" Type="http://schemas.openxmlformats.org/officeDocument/2006/relationships/slideLayout" Target="../slideLayouts/slideLayout113.xml"/><Relationship Id="rId42" Type="http://schemas.openxmlformats.org/officeDocument/2006/relationships/slideLayout" Target="../slideLayouts/slideLayout121.xml"/><Relationship Id="rId47" Type="http://schemas.openxmlformats.org/officeDocument/2006/relationships/slideLayout" Target="../slideLayouts/slideLayout126.xml"/><Relationship Id="rId50" Type="http://schemas.openxmlformats.org/officeDocument/2006/relationships/image" Target="../media/image18.png"/><Relationship Id="rId7" Type="http://schemas.openxmlformats.org/officeDocument/2006/relationships/slideLayout" Target="../slideLayouts/slideLayout86.xml"/><Relationship Id="rId2" Type="http://schemas.openxmlformats.org/officeDocument/2006/relationships/slideLayout" Target="../slideLayouts/slideLayout81.xml"/><Relationship Id="rId16" Type="http://schemas.openxmlformats.org/officeDocument/2006/relationships/slideLayout" Target="../slideLayouts/slideLayout95.xml"/><Relationship Id="rId29" Type="http://schemas.openxmlformats.org/officeDocument/2006/relationships/slideLayout" Target="../slideLayouts/slideLayout108.xml"/><Relationship Id="rId11" Type="http://schemas.openxmlformats.org/officeDocument/2006/relationships/slideLayout" Target="../slideLayouts/slideLayout90.xml"/><Relationship Id="rId24" Type="http://schemas.openxmlformats.org/officeDocument/2006/relationships/slideLayout" Target="../slideLayouts/slideLayout103.xml"/><Relationship Id="rId32" Type="http://schemas.openxmlformats.org/officeDocument/2006/relationships/slideLayout" Target="../slideLayouts/slideLayout111.xml"/><Relationship Id="rId37" Type="http://schemas.openxmlformats.org/officeDocument/2006/relationships/slideLayout" Target="../slideLayouts/slideLayout116.xml"/><Relationship Id="rId40" Type="http://schemas.openxmlformats.org/officeDocument/2006/relationships/slideLayout" Target="../slideLayouts/slideLayout119.xml"/><Relationship Id="rId45" Type="http://schemas.openxmlformats.org/officeDocument/2006/relationships/slideLayout" Target="../slideLayouts/slideLayout124.xml"/><Relationship Id="rId5" Type="http://schemas.openxmlformats.org/officeDocument/2006/relationships/slideLayout" Target="../slideLayouts/slideLayout84.xml"/><Relationship Id="rId15" Type="http://schemas.openxmlformats.org/officeDocument/2006/relationships/slideLayout" Target="../slideLayouts/slideLayout94.xml"/><Relationship Id="rId23" Type="http://schemas.openxmlformats.org/officeDocument/2006/relationships/slideLayout" Target="../slideLayouts/slideLayout102.xml"/><Relationship Id="rId28" Type="http://schemas.openxmlformats.org/officeDocument/2006/relationships/slideLayout" Target="../slideLayouts/slideLayout107.xml"/><Relationship Id="rId36" Type="http://schemas.openxmlformats.org/officeDocument/2006/relationships/slideLayout" Target="../slideLayouts/slideLayout115.xml"/><Relationship Id="rId49" Type="http://schemas.openxmlformats.org/officeDocument/2006/relationships/theme" Target="../theme/theme4.xml"/><Relationship Id="rId10" Type="http://schemas.openxmlformats.org/officeDocument/2006/relationships/slideLayout" Target="../slideLayouts/slideLayout89.xml"/><Relationship Id="rId19" Type="http://schemas.openxmlformats.org/officeDocument/2006/relationships/slideLayout" Target="../slideLayouts/slideLayout98.xml"/><Relationship Id="rId31" Type="http://schemas.openxmlformats.org/officeDocument/2006/relationships/slideLayout" Target="../slideLayouts/slideLayout110.xml"/><Relationship Id="rId44" Type="http://schemas.openxmlformats.org/officeDocument/2006/relationships/slideLayout" Target="../slideLayouts/slideLayout123.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 Id="rId22" Type="http://schemas.openxmlformats.org/officeDocument/2006/relationships/slideLayout" Target="../slideLayouts/slideLayout101.xml"/><Relationship Id="rId27" Type="http://schemas.openxmlformats.org/officeDocument/2006/relationships/slideLayout" Target="../slideLayouts/slideLayout106.xml"/><Relationship Id="rId30" Type="http://schemas.openxmlformats.org/officeDocument/2006/relationships/slideLayout" Target="../slideLayouts/slideLayout109.xml"/><Relationship Id="rId35" Type="http://schemas.openxmlformats.org/officeDocument/2006/relationships/slideLayout" Target="../slideLayouts/slideLayout114.xml"/><Relationship Id="rId43" Type="http://schemas.openxmlformats.org/officeDocument/2006/relationships/slideLayout" Target="../slideLayouts/slideLayout122.xml"/><Relationship Id="rId48" Type="http://schemas.openxmlformats.org/officeDocument/2006/relationships/slideLayout" Target="../slideLayouts/slideLayout127.xml"/><Relationship Id="rId8" Type="http://schemas.openxmlformats.org/officeDocument/2006/relationships/slideLayout" Target="../slideLayouts/slideLayout87.xml"/><Relationship Id="rId51" Type="http://schemas.openxmlformats.org/officeDocument/2006/relationships/image" Target="../media/image19.svg"/><Relationship Id="rId3" Type="http://schemas.openxmlformats.org/officeDocument/2006/relationships/slideLayout" Target="../slideLayouts/slideLayout82.xml"/><Relationship Id="rId12" Type="http://schemas.openxmlformats.org/officeDocument/2006/relationships/slideLayout" Target="../slideLayouts/slideLayout91.xml"/><Relationship Id="rId17" Type="http://schemas.openxmlformats.org/officeDocument/2006/relationships/slideLayout" Target="../slideLayouts/slideLayout96.xml"/><Relationship Id="rId25" Type="http://schemas.openxmlformats.org/officeDocument/2006/relationships/slideLayout" Target="../slideLayouts/slideLayout104.xml"/><Relationship Id="rId33" Type="http://schemas.openxmlformats.org/officeDocument/2006/relationships/slideLayout" Target="../slideLayouts/slideLayout112.xml"/><Relationship Id="rId38" Type="http://schemas.openxmlformats.org/officeDocument/2006/relationships/slideLayout" Target="../slideLayouts/slideLayout117.xml"/><Relationship Id="rId46" Type="http://schemas.openxmlformats.org/officeDocument/2006/relationships/slideLayout" Target="../slideLayouts/slideLayout125.xml"/><Relationship Id="rId20" Type="http://schemas.openxmlformats.org/officeDocument/2006/relationships/slideLayout" Target="../slideLayouts/slideLayout99.xml"/><Relationship Id="rId41" Type="http://schemas.openxmlformats.org/officeDocument/2006/relationships/slideLayout" Target="../slideLayouts/slideLayout120.xml"/><Relationship Id="rId1" Type="http://schemas.openxmlformats.org/officeDocument/2006/relationships/slideLayout" Target="../slideLayouts/slideLayout80.xml"/><Relationship Id="rId6" Type="http://schemas.openxmlformats.org/officeDocument/2006/relationships/slideLayout" Target="../slideLayouts/slideLayout85.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40.xml"/><Relationship Id="rId18" Type="http://schemas.openxmlformats.org/officeDocument/2006/relationships/slideLayout" Target="../slideLayouts/slideLayout145.xml"/><Relationship Id="rId26" Type="http://schemas.openxmlformats.org/officeDocument/2006/relationships/slideLayout" Target="../slideLayouts/slideLayout153.xml"/><Relationship Id="rId39" Type="http://schemas.openxmlformats.org/officeDocument/2006/relationships/slideLayout" Target="../slideLayouts/slideLayout166.xml"/><Relationship Id="rId21" Type="http://schemas.openxmlformats.org/officeDocument/2006/relationships/slideLayout" Target="../slideLayouts/slideLayout148.xml"/><Relationship Id="rId34" Type="http://schemas.openxmlformats.org/officeDocument/2006/relationships/slideLayout" Target="../slideLayouts/slideLayout161.xml"/><Relationship Id="rId42" Type="http://schemas.openxmlformats.org/officeDocument/2006/relationships/slideLayout" Target="../slideLayouts/slideLayout169.xml"/><Relationship Id="rId47" Type="http://schemas.openxmlformats.org/officeDocument/2006/relationships/image" Target="../media/image25.svg"/><Relationship Id="rId7" Type="http://schemas.openxmlformats.org/officeDocument/2006/relationships/slideLayout" Target="../slideLayouts/slideLayout134.xml"/><Relationship Id="rId2" Type="http://schemas.openxmlformats.org/officeDocument/2006/relationships/slideLayout" Target="../slideLayouts/slideLayout129.xml"/><Relationship Id="rId16" Type="http://schemas.openxmlformats.org/officeDocument/2006/relationships/slideLayout" Target="../slideLayouts/slideLayout143.xml"/><Relationship Id="rId29" Type="http://schemas.openxmlformats.org/officeDocument/2006/relationships/slideLayout" Target="../slideLayouts/slideLayout156.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24" Type="http://schemas.openxmlformats.org/officeDocument/2006/relationships/slideLayout" Target="../slideLayouts/slideLayout151.xml"/><Relationship Id="rId32" Type="http://schemas.openxmlformats.org/officeDocument/2006/relationships/slideLayout" Target="../slideLayouts/slideLayout159.xml"/><Relationship Id="rId37" Type="http://schemas.openxmlformats.org/officeDocument/2006/relationships/slideLayout" Target="../slideLayouts/slideLayout164.xml"/><Relationship Id="rId40" Type="http://schemas.openxmlformats.org/officeDocument/2006/relationships/slideLayout" Target="../slideLayouts/slideLayout167.xml"/><Relationship Id="rId45" Type="http://schemas.openxmlformats.org/officeDocument/2006/relationships/theme" Target="../theme/theme5.xml"/><Relationship Id="rId5" Type="http://schemas.openxmlformats.org/officeDocument/2006/relationships/slideLayout" Target="../slideLayouts/slideLayout132.xml"/><Relationship Id="rId15" Type="http://schemas.openxmlformats.org/officeDocument/2006/relationships/slideLayout" Target="../slideLayouts/slideLayout142.xml"/><Relationship Id="rId23" Type="http://schemas.openxmlformats.org/officeDocument/2006/relationships/slideLayout" Target="../slideLayouts/slideLayout150.xml"/><Relationship Id="rId28" Type="http://schemas.openxmlformats.org/officeDocument/2006/relationships/slideLayout" Target="../slideLayouts/slideLayout155.xml"/><Relationship Id="rId36" Type="http://schemas.openxmlformats.org/officeDocument/2006/relationships/slideLayout" Target="../slideLayouts/slideLayout163.xml"/><Relationship Id="rId10" Type="http://schemas.openxmlformats.org/officeDocument/2006/relationships/slideLayout" Target="../slideLayouts/slideLayout137.xml"/><Relationship Id="rId19" Type="http://schemas.openxmlformats.org/officeDocument/2006/relationships/slideLayout" Target="../slideLayouts/slideLayout146.xml"/><Relationship Id="rId31" Type="http://schemas.openxmlformats.org/officeDocument/2006/relationships/slideLayout" Target="../slideLayouts/slideLayout158.xml"/><Relationship Id="rId44" Type="http://schemas.openxmlformats.org/officeDocument/2006/relationships/slideLayout" Target="../slideLayouts/slideLayout171.xml"/><Relationship Id="rId4" Type="http://schemas.openxmlformats.org/officeDocument/2006/relationships/slideLayout" Target="../slideLayouts/slideLayout131.xml"/><Relationship Id="rId9" Type="http://schemas.openxmlformats.org/officeDocument/2006/relationships/slideLayout" Target="../slideLayouts/slideLayout136.xml"/><Relationship Id="rId14" Type="http://schemas.openxmlformats.org/officeDocument/2006/relationships/slideLayout" Target="../slideLayouts/slideLayout141.xml"/><Relationship Id="rId22" Type="http://schemas.openxmlformats.org/officeDocument/2006/relationships/slideLayout" Target="../slideLayouts/slideLayout149.xml"/><Relationship Id="rId27" Type="http://schemas.openxmlformats.org/officeDocument/2006/relationships/slideLayout" Target="../slideLayouts/slideLayout154.xml"/><Relationship Id="rId30" Type="http://schemas.openxmlformats.org/officeDocument/2006/relationships/slideLayout" Target="../slideLayouts/slideLayout157.xml"/><Relationship Id="rId35" Type="http://schemas.openxmlformats.org/officeDocument/2006/relationships/slideLayout" Target="../slideLayouts/slideLayout162.xml"/><Relationship Id="rId43" Type="http://schemas.openxmlformats.org/officeDocument/2006/relationships/slideLayout" Target="../slideLayouts/slideLayout170.xml"/><Relationship Id="rId8" Type="http://schemas.openxmlformats.org/officeDocument/2006/relationships/slideLayout" Target="../slideLayouts/slideLayout135.xml"/><Relationship Id="rId3" Type="http://schemas.openxmlformats.org/officeDocument/2006/relationships/slideLayout" Target="../slideLayouts/slideLayout130.xml"/><Relationship Id="rId12" Type="http://schemas.openxmlformats.org/officeDocument/2006/relationships/slideLayout" Target="../slideLayouts/slideLayout139.xml"/><Relationship Id="rId17" Type="http://schemas.openxmlformats.org/officeDocument/2006/relationships/slideLayout" Target="../slideLayouts/slideLayout144.xml"/><Relationship Id="rId25" Type="http://schemas.openxmlformats.org/officeDocument/2006/relationships/slideLayout" Target="../slideLayouts/slideLayout152.xml"/><Relationship Id="rId33" Type="http://schemas.openxmlformats.org/officeDocument/2006/relationships/slideLayout" Target="../slideLayouts/slideLayout160.xml"/><Relationship Id="rId38" Type="http://schemas.openxmlformats.org/officeDocument/2006/relationships/slideLayout" Target="../slideLayouts/slideLayout165.xml"/><Relationship Id="rId46" Type="http://schemas.openxmlformats.org/officeDocument/2006/relationships/image" Target="../media/image18.png"/><Relationship Id="rId20" Type="http://schemas.openxmlformats.org/officeDocument/2006/relationships/slideLayout" Target="../slideLayouts/slideLayout147.xml"/><Relationship Id="rId41" Type="http://schemas.openxmlformats.org/officeDocument/2006/relationships/slideLayout" Target="../slideLayouts/slideLayout16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8" cstate="print"/>
          <a:stretch>
            <a:fillRect/>
          </a:stretch>
        </p:blipFill>
        <p:spPr>
          <a:xfrm>
            <a:off x="567718" y="6343906"/>
            <a:ext cx="210757" cy="226195"/>
          </a:xfrm>
          <a:prstGeom prst="rect">
            <a:avLst/>
          </a:prstGeom>
        </p:spPr>
      </p:pic>
      <p:pic>
        <p:nvPicPr>
          <p:cNvPr id="17" name="bg object 17"/>
          <p:cNvPicPr/>
          <p:nvPr/>
        </p:nvPicPr>
        <p:blipFill>
          <a:blip r:embed="rId9" cstate="print"/>
          <a:stretch>
            <a:fillRect/>
          </a:stretch>
        </p:blipFill>
        <p:spPr>
          <a:xfrm>
            <a:off x="839331" y="6363277"/>
            <a:ext cx="188099" cy="187427"/>
          </a:xfrm>
          <a:prstGeom prst="rect">
            <a:avLst/>
          </a:prstGeom>
        </p:spPr>
      </p:pic>
      <p:sp>
        <p:nvSpPr>
          <p:cNvPr id="18" name="bg object 18"/>
          <p:cNvSpPr/>
          <p:nvPr/>
        </p:nvSpPr>
        <p:spPr>
          <a:xfrm>
            <a:off x="1046581" y="6366408"/>
            <a:ext cx="871219" cy="184785"/>
          </a:xfrm>
          <a:custGeom>
            <a:avLst/>
            <a:gdLst/>
            <a:ahLst/>
            <a:cxnLst/>
            <a:rect l="l" t="t" r="r" b="b"/>
            <a:pathLst>
              <a:path w="871219" h="184784">
                <a:moveTo>
                  <a:pt x="34264" y="12"/>
                </a:moveTo>
                <a:lnTo>
                  <a:pt x="0" y="12"/>
                </a:lnTo>
                <a:lnTo>
                  <a:pt x="0" y="181190"/>
                </a:lnTo>
                <a:lnTo>
                  <a:pt x="34264" y="181190"/>
                </a:lnTo>
                <a:lnTo>
                  <a:pt x="34264" y="12"/>
                </a:lnTo>
                <a:close/>
              </a:path>
              <a:path w="871219" h="184784">
                <a:moveTo>
                  <a:pt x="163918" y="103276"/>
                </a:moveTo>
                <a:lnTo>
                  <a:pt x="160642" y="88265"/>
                </a:lnTo>
                <a:lnTo>
                  <a:pt x="159550" y="83235"/>
                </a:lnTo>
                <a:lnTo>
                  <a:pt x="147840" y="69672"/>
                </a:lnTo>
                <a:lnTo>
                  <a:pt x="130962" y="61976"/>
                </a:lnTo>
                <a:lnTo>
                  <a:pt x="111048" y="59537"/>
                </a:lnTo>
                <a:lnTo>
                  <a:pt x="97370" y="60617"/>
                </a:lnTo>
                <a:lnTo>
                  <a:pt x="84023" y="63423"/>
                </a:lnTo>
                <a:lnTo>
                  <a:pt x="71170" y="67919"/>
                </a:lnTo>
                <a:lnTo>
                  <a:pt x="58978" y="74041"/>
                </a:lnTo>
                <a:lnTo>
                  <a:pt x="72517" y="99402"/>
                </a:lnTo>
                <a:lnTo>
                  <a:pt x="81127" y="95059"/>
                </a:lnTo>
                <a:lnTo>
                  <a:pt x="90182" y="91732"/>
                </a:lnTo>
                <a:lnTo>
                  <a:pt x="99555" y="89458"/>
                </a:lnTo>
                <a:lnTo>
                  <a:pt x="109181" y="88265"/>
                </a:lnTo>
                <a:lnTo>
                  <a:pt x="122466" y="88265"/>
                </a:lnTo>
                <a:lnTo>
                  <a:pt x="129362" y="93700"/>
                </a:lnTo>
                <a:lnTo>
                  <a:pt x="129362" y="107937"/>
                </a:lnTo>
                <a:lnTo>
                  <a:pt x="129362" y="130200"/>
                </a:lnTo>
                <a:lnTo>
                  <a:pt x="105740" y="159715"/>
                </a:lnTo>
                <a:lnTo>
                  <a:pt x="95097" y="159715"/>
                </a:lnTo>
                <a:lnTo>
                  <a:pt x="88455" y="153758"/>
                </a:lnTo>
                <a:lnTo>
                  <a:pt x="88455" y="137452"/>
                </a:lnTo>
                <a:lnTo>
                  <a:pt x="94830" y="132791"/>
                </a:lnTo>
                <a:lnTo>
                  <a:pt x="118745" y="132791"/>
                </a:lnTo>
                <a:lnTo>
                  <a:pt x="122504" y="133261"/>
                </a:lnTo>
                <a:lnTo>
                  <a:pt x="124447" y="132791"/>
                </a:lnTo>
                <a:lnTo>
                  <a:pt x="126301" y="132334"/>
                </a:lnTo>
                <a:lnTo>
                  <a:pt x="129362" y="130200"/>
                </a:lnTo>
                <a:lnTo>
                  <a:pt x="129362" y="107937"/>
                </a:lnTo>
                <a:lnTo>
                  <a:pt x="126707" y="110528"/>
                </a:lnTo>
                <a:lnTo>
                  <a:pt x="96964" y="110528"/>
                </a:lnTo>
                <a:lnTo>
                  <a:pt x="78638" y="113068"/>
                </a:lnTo>
                <a:lnTo>
                  <a:pt x="64744" y="120332"/>
                </a:lnTo>
                <a:lnTo>
                  <a:pt x="55943" y="131826"/>
                </a:lnTo>
                <a:lnTo>
                  <a:pt x="52857" y="147027"/>
                </a:lnTo>
                <a:lnTo>
                  <a:pt x="52920" y="148107"/>
                </a:lnTo>
                <a:lnTo>
                  <a:pt x="57073" y="163004"/>
                </a:lnTo>
                <a:lnTo>
                  <a:pt x="66446" y="174777"/>
                </a:lnTo>
                <a:lnTo>
                  <a:pt x="79667" y="182257"/>
                </a:lnTo>
                <a:lnTo>
                  <a:pt x="95377" y="184302"/>
                </a:lnTo>
                <a:lnTo>
                  <a:pt x="105003" y="183781"/>
                </a:lnTo>
                <a:lnTo>
                  <a:pt x="113906" y="181190"/>
                </a:lnTo>
                <a:lnTo>
                  <a:pt x="122364" y="176517"/>
                </a:lnTo>
                <a:lnTo>
                  <a:pt x="129362" y="170065"/>
                </a:lnTo>
                <a:lnTo>
                  <a:pt x="129362" y="181190"/>
                </a:lnTo>
                <a:lnTo>
                  <a:pt x="163918" y="181190"/>
                </a:lnTo>
                <a:lnTo>
                  <a:pt x="163918" y="170065"/>
                </a:lnTo>
                <a:lnTo>
                  <a:pt x="163918" y="159715"/>
                </a:lnTo>
                <a:lnTo>
                  <a:pt x="163918" y="130200"/>
                </a:lnTo>
                <a:lnTo>
                  <a:pt x="163918" y="103276"/>
                </a:lnTo>
                <a:close/>
              </a:path>
              <a:path w="871219" h="184784">
                <a:moveTo>
                  <a:pt x="259029" y="62128"/>
                </a:moveTo>
                <a:lnTo>
                  <a:pt x="255892" y="61404"/>
                </a:lnTo>
                <a:lnTo>
                  <a:pt x="252691" y="61048"/>
                </a:lnTo>
                <a:lnTo>
                  <a:pt x="249478" y="61087"/>
                </a:lnTo>
                <a:lnTo>
                  <a:pt x="239306" y="62204"/>
                </a:lnTo>
                <a:lnTo>
                  <a:pt x="230212" y="66268"/>
                </a:lnTo>
                <a:lnTo>
                  <a:pt x="222846" y="72847"/>
                </a:lnTo>
                <a:lnTo>
                  <a:pt x="217843" y="81534"/>
                </a:lnTo>
                <a:lnTo>
                  <a:pt x="217843" y="62636"/>
                </a:lnTo>
                <a:lnTo>
                  <a:pt x="184378" y="62636"/>
                </a:lnTo>
                <a:lnTo>
                  <a:pt x="184378" y="181190"/>
                </a:lnTo>
                <a:lnTo>
                  <a:pt x="218909" y="181190"/>
                </a:lnTo>
                <a:lnTo>
                  <a:pt x="218909" y="124510"/>
                </a:lnTo>
                <a:lnTo>
                  <a:pt x="220433" y="111277"/>
                </a:lnTo>
                <a:lnTo>
                  <a:pt x="225094" y="102374"/>
                </a:lnTo>
                <a:lnTo>
                  <a:pt x="233045" y="97358"/>
                </a:lnTo>
                <a:lnTo>
                  <a:pt x="244424" y="95783"/>
                </a:lnTo>
                <a:lnTo>
                  <a:pt x="259029" y="95783"/>
                </a:lnTo>
                <a:lnTo>
                  <a:pt x="259029" y="62128"/>
                </a:lnTo>
                <a:close/>
              </a:path>
              <a:path w="871219" h="184784">
                <a:moveTo>
                  <a:pt x="326783" y="62636"/>
                </a:moveTo>
                <a:lnTo>
                  <a:pt x="275234" y="62636"/>
                </a:lnTo>
                <a:lnTo>
                  <a:pt x="275234" y="91122"/>
                </a:lnTo>
                <a:lnTo>
                  <a:pt x="292239" y="91122"/>
                </a:lnTo>
                <a:lnTo>
                  <a:pt x="292239" y="181190"/>
                </a:lnTo>
                <a:lnTo>
                  <a:pt x="326783" y="181190"/>
                </a:lnTo>
                <a:lnTo>
                  <a:pt x="326783" y="62636"/>
                </a:lnTo>
                <a:close/>
              </a:path>
              <a:path w="871219" h="184784">
                <a:moveTo>
                  <a:pt x="330212" y="21742"/>
                </a:moveTo>
                <a:lnTo>
                  <a:pt x="328485" y="13335"/>
                </a:lnTo>
                <a:lnTo>
                  <a:pt x="323748" y="6438"/>
                </a:lnTo>
                <a:lnTo>
                  <a:pt x="316687" y="1765"/>
                </a:lnTo>
                <a:lnTo>
                  <a:pt x="316928" y="1765"/>
                </a:lnTo>
                <a:lnTo>
                  <a:pt x="307911" y="0"/>
                </a:lnTo>
                <a:lnTo>
                  <a:pt x="299300" y="1765"/>
                </a:lnTo>
                <a:lnTo>
                  <a:pt x="292290" y="6438"/>
                </a:lnTo>
                <a:lnTo>
                  <a:pt x="287578" y="13335"/>
                </a:lnTo>
                <a:lnTo>
                  <a:pt x="285877" y="21742"/>
                </a:lnTo>
                <a:lnTo>
                  <a:pt x="287680" y="30149"/>
                </a:lnTo>
                <a:lnTo>
                  <a:pt x="292506" y="36995"/>
                </a:lnTo>
                <a:lnTo>
                  <a:pt x="299466" y="41579"/>
                </a:lnTo>
                <a:lnTo>
                  <a:pt x="299720" y="41579"/>
                </a:lnTo>
                <a:lnTo>
                  <a:pt x="307911" y="43243"/>
                </a:lnTo>
                <a:lnTo>
                  <a:pt x="316560" y="41579"/>
                </a:lnTo>
                <a:lnTo>
                  <a:pt x="323646" y="36995"/>
                </a:lnTo>
                <a:lnTo>
                  <a:pt x="328434" y="30149"/>
                </a:lnTo>
                <a:lnTo>
                  <a:pt x="330212" y="21742"/>
                </a:lnTo>
                <a:close/>
              </a:path>
              <a:path w="871219" h="184784">
                <a:moveTo>
                  <a:pt x="468388" y="62636"/>
                </a:moveTo>
                <a:lnTo>
                  <a:pt x="431990" y="62636"/>
                </a:lnTo>
                <a:lnTo>
                  <a:pt x="404368" y="144957"/>
                </a:lnTo>
                <a:lnTo>
                  <a:pt x="378320" y="62636"/>
                </a:lnTo>
                <a:lnTo>
                  <a:pt x="340868" y="62636"/>
                </a:lnTo>
                <a:lnTo>
                  <a:pt x="382308" y="181190"/>
                </a:lnTo>
                <a:lnTo>
                  <a:pt x="425081" y="181190"/>
                </a:lnTo>
                <a:lnTo>
                  <a:pt x="468388" y="62636"/>
                </a:lnTo>
                <a:close/>
              </a:path>
              <a:path w="871219" h="184784">
                <a:moveTo>
                  <a:pt x="581050" y="103276"/>
                </a:moveTo>
                <a:lnTo>
                  <a:pt x="548093" y="61976"/>
                </a:lnTo>
                <a:lnTo>
                  <a:pt x="528180" y="59537"/>
                </a:lnTo>
                <a:lnTo>
                  <a:pt x="514502" y="60617"/>
                </a:lnTo>
                <a:lnTo>
                  <a:pt x="501154" y="63423"/>
                </a:lnTo>
                <a:lnTo>
                  <a:pt x="488289" y="67919"/>
                </a:lnTo>
                <a:lnTo>
                  <a:pt x="476097" y="74041"/>
                </a:lnTo>
                <a:lnTo>
                  <a:pt x="489661" y="99402"/>
                </a:lnTo>
                <a:lnTo>
                  <a:pt x="498271" y="95059"/>
                </a:lnTo>
                <a:lnTo>
                  <a:pt x="507314" y="91732"/>
                </a:lnTo>
                <a:lnTo>
                  <a:pt x="516699" y="89458"/>
                </a:lnTo>
                <a:lnTo>
                  <a:pt x="526326" y="88265"/>
                </a:lnTo>
                <a:lnTo>
                  <a:pt x="539610" y="88265"/>
                </a:lnTo>
                <a:lnTo>
                  <a:pt x="546506" y="93700"/>
                </a:lnTo>
                <a:lnTo>
                  <a:pt x="546506" y="107937"/>
                </a:lnTo>
                <a:lnTo>
                  <a:pt x="546506" y="130200"/>
                </a:lnTo>
                <a:lnTo>
                  <a:pt x="522859" y="159715"/>
                </a:lnTo>
                <a:lnTo>
                  <a:pt x="512241" y="159715"/>
                </a:lnTo>
                <a:lnTo>
                  <a:pt x="505587" y="153758"/>
                </a:lnTo>
                <a:lnTo>
                  <a:pt x="505587" y="137452"/>
                </a:lnTo>
                <a:lnTo>
                  <a:pt x="511975" y="132791"/>
                </a:lnTo>
                <a:lnTo>
                  <a:pt x="535876" y="132791"/>
                </a:lnTo>
                <a:lnTo>
                  <a:pt x="539623" y="133261"/>
                </a:lnTo>
                <a:lnTo>
                  <a:pt x="541566" y="132791"/>
                </a:lnTo>
                <a:lnTo>
                  <a:pt x="543420" y="132334"/>
                </a:lnTo>
                <a:lnTo>
                  <a:pt x="546506" y="130200"/>
                </a:lnTo>
                <a:lnTo>
                  <a:pt x="546506" y="107937"/>
                </a:lnTo>
                <a:lnTo>
                  <a:pt x="543852" y="110528"/>
                </a:lnTo>
                <a:lnTo>
                  <a:pt x="514096" y="110528"/>
                </a:lnTo>
                <a:lnTo>
                  <a:pt x="495769" y="113068"/>
                </a:lnTo>
                <a:lnTo>
                  <a:pt x="481876" y="120332"/>
                </a:lnTo>
                <a:lnTo>
                  <a:pt x="473075" y="131826"/>
                </a:lnTo>
                <a:lnTo>
                  <a:pt x="470001" y="147027"/>
                </a:lnTo>
                <a:lnTo>
                  <a:pt x="470065" y="148107"/>
                </a:lnTo>
                <a:lnTo>
                  <a:pt x="474218" y="163004"/>
                </a:lnTo>
                <a:lnTo>
                  <a:pt x="483590" y="174777"/>
                </a:lnTo>
                <a:lnTo>
                  <a:pt x="496811" y="182257"/>
                </a:lnTo>
                <a:lnTo>
                  <a:pt x="512495" y="184302"/>
                </a:lnTo>
                <a:lnTo>
                  <a:pt x="522122" y="183781"/>
                </a:lnTo>
                <a:lnTo>
                  <a:pt x="531025" y="181190"/>
                </a:lnTo>
                <a:lnTo>
                  <a:pt x="539496" y="176517"/>
                </a:lnTo>
                <a:lnTo>
                  <a:pt x="546506" y="170065"/>
                </a:lnTo>
                <a:lnTo>
                  <a:pt x="546506" y="181190"/>
                </a:lnTo>
                <a:lnTo>
                  <a:pt x="581050" y="181190"/>
                </a:lnTo>
                <a:lnTo>
                  <a:pt x="581050" y="170065"/>
                </a:lnTo>
                <a:lnTo>
                  <a:pt x="581050" y="159715"/>
                </a:lnTo>
                <a:lnTo>
                  <a:pt x="581050" y="130200"/>
                </a:lnTo>
                <a:lnTo>
                  <a:pt x="581050" y="103276"/>
                </a:lnTo>
                <a:close/>
              </a:path>
              <a:path w="871219" h="184784">
                <a:moveTo>
                  <a:pt x="675106" y="152463"/>
                </a:moveTo>
                <a:lnTo>
                  <a:pt x="667918" y="153238"/>
                </a:lnTo>
                <a:lnTo>
                  <a:pt x="653859" y="153238"/>
                </a:lnTo>
                <a:lnTo>
                  <a:pt x="647738" y="152209"/>
                </a:lnTo>
                <a:lnTo>
                  <a:pt x="647738" y="91122"/>
                </a:lnTo>
                <a:lnTo>
                  <a:pt x="674039" y="91122"/>
                </a:lnTo>
                <a:lnTo>
                  <a:pt x="674039" y="62636"/>
                </a:lnTo>
                <a:lnTo>
                  <a:pt x="647738" y="62636"/>
                </a:lnTo>
                <a:lnTo>
                  <a:pt x="647738" y="17614"/>
                </a:lnTo>
                <a:lnTo>
                  <a:pt x="613194" y="17614"/>
                </a:lnTo>
                <a:lnTo>
                  <a:pt x="613194" y="62636"/>
                </a:lnTo>
                <a:lnTo>
                  <a:pt x="594080" y="62636"/>
                </a:lnTo>
                <a:lnTo>
                  <a:pt x="594080" y="91122"/>
                </a:lnTo>
                <a:lnTo>
                  <a:pt x="613194" y="91122"/>
                </a:lnTo>
                <a:lnTo>
                  <a:pt x="613194" y="156083"/>
                </a:lnTo>
                <a:lnTo>
                  <a:pt x="616254" y="170307"/>
                </a:lnTo>
                <a:lnTo>
                  <a:pt x="624255" y="178346"/>
                </a:lnTo>
                <a:lnTo>
                  <a:pt x="635635" y="181978"/>
                </a:lnTo>
                <a:lnTo>
                  <a:pt x="636143" y="181978"/>
                </a:lnTo>
                <a:lnTo>
                  <a:pt x="648271" y="182753"/>
                </a:lnTo>
                <a:lnTo>
                  <a:pt x="656729" y="182511"/>
                </a:lnTo>
                <a:lnTo>
                  <a:pt x="665467" y="181978"/>
                </a:lnTo>
                <a:lnTo>
                  <a:pt x="675106" y="181190"/>
                </a:lnTo>
                <a:lnTo>
                  <a:pt x="675106" y="153238"/>
                </a:lnTo>
                <a:lnTo>
                  <a:pt x="675106" y="152463"/>
                </a:lnTo>
                <a:close/>
              </a:path>
              <a:path w="871219" h="184784">
                <a:moveTo>
                  <a:pt x="811936" y="130467"/>
                </a:moveTo>
                <a:lnTo>
                  <a:pt x="808443" y="109232"/>
                </a:lnTo>
                <a:lnTo>
                  <a:pt x="806678" y="98412"/>
                </a:lnTo>
                <a:lnTo>
                  <a:pt x="799706" y="87490"/>
                </a:lnTo>
                <a:lnTo>
                  <a:pt x="792594" y="76365"/>
                </a:lnTo>
                <a:lnTo>
                  <a:pt x="775004" y="65366"/>
                </a:lnTo>
                <a:lnTo>
                  <a:pt x="775004" y="109232"/>
                </a:lnTo>
                <a:lnTo>
                  <a:pt x="720547" y="109232"/>
                </a:lnTo>
                <a:lnTo>
                  <a:pt x="723938" y="100393"/>
                </a:lnTo>
                <a:lnTo>
                  <a:pt x="725678" y="98412"/>
                </a:lnTo>
                <a:lnTo>
                  <a:pt x="730123" y="93433"/>
                </a:lnTo>
                <a:lnTo>
                  <a:pt x="738403" y="88938"/>
                </a:lnTo>
                <a:lnTo>
                  <a:pt x="738136" y="88938"/>
                </a:lnTo>
                <a:lnTo>
                  <a:pt x="748169" y="87490"/>
                </a:lnTo>
                <a:lnTo>
                  <a:pt x="757682" y="88938"/>
                </a:lnTo>
                <a:lnTo>
                  <a:pt x="765810" y="93433"/>
                </a:lnTo>
                <a:lnTo>
                  <a:pt x="771817" y="100393"/>
                </a:lnTo>
                <a:lnTo>
                  <a:pt x="775004" y="109232"/>
                </a:lnTo>
                <a:lnTo>
                  <a:pt x="775004" y="65366"/>
                </a:lnTo>
                <a:lnTo>
                  <a:pt x="772248" y="63639"/>
                </a:lnTo>
                <a:lnTo>
                  <a:pt x="748258" y="59563"/>
                </a:lnTo>
                <a:lnTo>
                  <a:pt x="744093" y="59563"/>
                </a:lnTo>
                <a:lnTo>
                  <a:pt x="720318" y="65189"/>
                </a:lnTo>
                <a:lnTo>
                  <a:pt x="701268" y="78803"/>
                </a:lnTo>
                <a:lnTo>
                  <a:pt x="688835" y="98412"/>
                </a:lnTo>
                <a:lnTo>
                  <a:pt x="684936" y="121920"/>
                </a:lnTo>
                <a:lnTo>
                  <a:pt x="687882" y="139700"/>
                </a:lnTo>
                <a:lnTo>
                  <a:pt x="695642" y="155676"/>
                </a:lnTo>
                <a:lnTo>
                  <a:pt x="707618" y="168948"/>
                </a:lnTo>
                <a:lnTo>
                  <a:pt x="723201" y="178638"/>
                </a:lnTo>
                <a:lnTo>
                  <a:pt x="748436" y="184315"/>
                </a:lnTo>
                <a:lnTo>
                  <a:pt x="773087" y="180251"/>
                </a:lnTo>
                <a:lnTo>
                  <a:pt x="794385" y="167487"/>
                </a:lnTo>
                <a:lnTo>
                  <a:pt x="803452" y="155244"/>
                </a:lnTo>
                <a:lnTo>
                  <a:pt x="809548" y="147027"/>
                </a:lnTo>
                <a:lnTo>
                  <a:pt x="773671" y="143408"/>
                </a:lnTo>
                <a:lnTo>
                  <a:pt x="769162" y="149771"/>
                </a:lnTo>
                <a:lnTo>
                  <a:pt x="762177" y="154051"/>
                </a:lnTo>
                <a:lnTo>
                  <a:pt x="754329" y="155244"/>
                </a:lnTo>
                <a:lnTo>
                  <a:pt x="742873" y="154736"/>
                </a:lnTo>
                <a:lnTo>
                  <a:pt x="732840" y="150152"/>
                </a:lnTo>
                <a:lnTo>
                  <a:pt x="725309" y="142240"/>
                </a:lnTo>
                <a:lnTo>
                  <a:pt x="721334" y="131749"/>
                </a:lnTo>
                <a:lnTo>
                  <a:pt x="811936" y="131749"/>
                </a:lnTo>
                <a:lnTo>
                  <a:pt x="811936" y="130467"/>
                </a:lnTo>
                <a:close/>
              </a:path>
              <a:path w="871219" h="184784">
                <a:moveTo>
                  <a:pt x="830656" y="152"/>
                </a:moveTo>
                <a:lnTo>
                  <a:pt x="802347" y="152"/>
                </a:lnTo>
                <a:lnTo>
                  <a:pt x="802347" y="8534"/>
                </a:lnTo>
                <a:lnTo>
                  <a:pt x="811657" y="8534"/>
                </a:lnTo>
                <a:lnTo>
                  <a:pt x="811657" y="32397"/>
                </a:lnTo>
                <a:lnTo>
                  <a:pt x="821334" y="32397"/>
                </a:lnTo>
                <a:lnTo>
                  <a:pt x="821334" y="8534"/>
                </a:lnTo>
                <a:lnTo>
                  <a:pt x="830656" y="8534"/>
                </a:lnTo>
                <a:lnTo>
                  <a:pt x="830656" y="152"/>
                </a:lnTo>
                <a:close/>
              </a:path>
              <a:path w="871219" h="184784">
                <a:moveTo>
                  <a:pt x="870762" y="152"/>
                </a:moveTo>
                <a:lnTo>
                  <a:pt x="858748" y="152"/>
                </a:lnTo>
                <a:lnTo>
                  <a:pt x="853592" y="13614"/>
                </a:lnTo>
                <a:lnTo>
                  <a:pt x="848753" y="152"/>
                </a:lnTo>
                <a:lnTo>
                  <a:pt x="835990" y="152"/>
                </a:lnTo>
                <a:lnTo>
                  <a:pt x="835990" y="32397"/>
                </a:lnTo>
                <a:lnTo>
                  <a:pt x="845286" y="32397"/>
                </a:lnTo>
                <a:lnTo>
                  <a:pt x="845286" y="13970"/>
                </a:lnTo>
                <a:lnTo>
                  <a:pt x="849553" y="25488"/>
                </a:lnTo>
                <a:lnTo>
                  <a:pt x="857021" y="25488"/>
                </a:lnTo>
                <a:lnTo>
                  <a:pt x="861275" y="13970"/>
                </a:lnTo>
                <a:lnTo>
                  <a:pt x="861275" y="32397"/>
                </a:lnTo>
                <a:lnTo>
                  <a:pt x="870762" y="32397"/>
                </a:lnTo>
                <a:lnTo>
                  <a:pt x="870762" y="152"/>
                </a:lnTo>
                <a:close/>
              </a:path>
            </a:pathLst>
          </a:custGeom>
          <a:solidFill>
            <a:srgbClr val="000000"/>
          </a:solidFill>
        </p:spPr>
        <p:txBody>
          <a:bodyPr wrap="square" lIns="0" tIns="0" rIns="0" bIns="0" rtlCol="0"/>
          <a:lstStyle/>
          <a:p>
            <a:endParaRPr/>
          </a:p>
        </p:txBody>
      </p:sp>
      <p:sp>
        <p:nvSpPr>
          <p:cNvPr id="2" name="Holder 2"/>
          <p:cNvSpPr>
            <a:spLocks noGrp="1"/>
          </p:cNvSpPr>
          <p:nvPr>
            <p:ph type="title"/>
          </p:nvPr>
        </p:nvSpPr>
        <p:spPr>
          <a:xfrm>
            <a:off x="538226" y="305053"/>
            <a:ext cx="1809114" cy="391159"/>
          </a:xfrm>
          <a:prstGeom prst="rect">
            <a:avLst/>
          </a:prstGeom>
        </p:spPr>
        <p:txBody>
          <a:bodyPr wrap="square" lIns="0" tIns="0" rIns="0" bIns="0">
            <a:spAutoFit/>
          </a:bodyPr>
          <a:lstStyle>
            <a:lvl1pPr>
              <a:defRPr sz="2400" b="1" i="0">
                <a:solidFill>
                  <a:srgbClr val="5E33BE"/>
                </a:solidFill>
                <a:latin typeface="Calibri"/>
                <a:cs typeface="Calibri"/>
              </a:defRPr>
            </a:lvl1pPr>
          </a:lstStyle>
          <a:p>
            <a:endParaRPr/>
          </a:p>
        </p:txBody>
      </p:sp>
      <p:sp>
        <p:nvSpPr>
          <p:cNvPr id="3" name="Holder 3"/>
          <p:cNvSpPr>
            <a:spLocks noGrp="1"/>
          </p:cNvSpPr>
          <p:nvPr>
            <p:ph type="body" idx="1"/>
          </p:nvPr>
        </p:nvSpPr>
        <p:spPr>
          <a:xfrm>
            <a:off x="1251711" y="2202941"/>
            <a:ext cx="8947785" cy="2753995"/>
          </a:xfrm>
          <a:prstGeom prst="rect">
            <a:avLst/>
          </a:prstGeom>
        </p:spPr>
        <p:txBody>
          <a:bodyPr wrap="square" lIns="0" tIns="0" rIns="0" bIns="0">
            <a:spAutoFit/>
          </a:bodyPr>
          <a:lstStyle>
            <a:lvl1pPr>
              <a:defRPr sz="1800" b="1" i="0">
                <a:solidFill>
                  <a:schemeClr val="tx1"/>
                </a:solidFill>
                <a:latin typeface="Calibri"/>
                <a:cs typeface="Calibri"/>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9/18/2025</a:t>
            </a:fld>
            <a:endParaRPr lang="en-US"/>
          </a:p>
        </p:txBody>
      </p:sp>
      <p:sp>
        <p:nvSpPr>
          <p:cNvPr id="6" name="Holder 6"/>
          <p:cNvSpPr>
            <a:spLocks noGrp="1"/>
          </p:cNvSpPr>
          <p:nvPr>
            <p:ph type="sldNum" sz="quarter" idx="7"/>
          </p:nvPr>
        </p:nvSpPr>
        <p:spPr>
          <a:xfrm>
            <a:off x="8778240" y="6377940"/>
            <a:ext cx="280416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745BAB1-1F8D-39EC-0019-A3FA4BCA96D3}"/>
              </a:ext>
            </a:extLst>
          </p:cNvPr>
          <p:cNvGraphicFramePr>
            <a:graphicFrameLocks noChangeAspect="1"/>
          </p:cNvGraphicFramePr>
          <p:nvPr userDrawn="1">
            <p:custDataLst>
              <p:tags r:id="rId38"/>
            </p:custDataLst>
            <p:extLst>
              <p:ext uri="{D42A27DB-BD31-4B8C-83A1-F6EECF244321}">
                <p14:modId xmlns:p14="http://schemas.microsoft.com/office/powerpoint/2010/main" val="507305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425" imgH="424" progId="TCLayout.ActiveDocument.1">
                  <p:embed/>
                </p:oleObj>
              </mc:Choice>
              <mc:Fallback>
                <p:oleObj name="think-cell Slide" r:id="rId39" imgW="425" imgH="424" progId="TCLayout.ActiveDocument.1">
                  <p:embed/>
                  <p:pic>
                    <p:nvPicPr>
                      <p:cNvPr id="7" name="think-cell data - do not delete" hidden="1">
                        <a:extLst>
                          <a:ext uri="{FF2B5EF4-FFF2-40B4-BE49-F238E27FC236}">
                            <a16:creationId xmlns:a16="http://schemas.microsoft.com/office/drawing/2014/main" id="{8745BAB1-1F8D-39EC-0019-A3FA4BCA96D3}"/>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2D1B4D6-09F5-E479-2AED-EDE0974FF279}"/>
              </a:ext>
            </a:extLst>
          </p:cNvPr>
          <p:cNvSpPr>
            <a:spLocks noGrp="1"/>
          </p:cNvSpPr>
          <p:nvPr>
            <p:ph type="title"/>
          </p:nvPr>
        </p:nvSpPr>
        <p:spPr>
          <a:xfrm>
            <a:off x="550864" y="368828"/>
            <a:ext cx="7345362" cy="309766"/>
          </a:xfrm>
          <a:prstGeom prst="rect">
            <a:avLst/>
          </a:prstGeom>
        </p:spPr>
        <p:txBody>
          <a:bodyPr vert="horz" lIns="0" tIns="0" rIns="0" bIns="0" rtlCol="0" anchor="t" anchorCtr="0">
            <a:noAutofit/>
          </a:bodyPr>
          <a:lstStyle/>
          <a:p>
            <a:r>
              <a:rPr lang="en-US"/>
              <a:t>Header avenir demi 24pt</a:t>
            </a:r>
            <a:endParaRPr lang="en-GB"/>
          </a:p>
        </p:txBody>
      </p:sp>
      <p:sp>
        <p:nvSpPr>
          <p:cNvPr id="5" name="Footer Placeholder 4">
            <a:extLst>
              <a:ext uri="{FF2B5EF4-FFF2-40B4-BE49-F238E27FC236}">
                <a16:creationId xmlns:a16="http://schemas.microsoft.com/office/drawing/2014/main" id="{6667196C-25D5-C3B8-0D57-612FAF9C5C56}"/>
              </a:ext>
            </a:extLst>
          </p:cNvPr>
          <p:cNvSpPr>
            <a:spLocks noGrp="1"/>
          </p:cNvSpPr>
          <p:nvPr>
            <p:ph type="ftr" sz="quarter" idx="3"/>
          </p:nvPr>
        </p:nvSpPr>
        <p:spPr>
          <a:xfrm>
            <a:off x="8040688" y="6348353"/>
            <a:ext cx="3292473" cy="215901"/>
          </a:xfrm>
          <a:prstGeom prst="rect">
            <a:avLst/>
          </a:prstGeom>
        </p:spPr>
        <p:txBody>
          <a:bodyPr vert="horz" lIns="0" tIns="0" rIns="0" bIns="0" rtlCol="0" anchor="ctr"/>
          <a:lstStyle>
            <a:lvl1pPr algn="r">
              <a:defRPr sz="900">
                <a:solidFill>
                  <a:schemeClr val="tx1"/>
                </a:solidFill>
              </a:defRPr>
            </a:lvl1pPr>
          </a:lstStyle>
          <a:p>
            <a:r>
              <a:rPr lang="en-GB"/>
              <a:t>© 2023 Clarivate</a:t>
            </a:r>
          </a:p>
        </p:txBody>
      </p:sp>
      <p:sp>
        <p:nvSpPr>
          <p:cNvPr id="6" name="Slide Number Placeholder 5">
            <a:extLst>
              <a:ext uri="{FF2B5EF4-FFF2-40B4-BE49-F238E27FC236}">
                <a16:creationId xmlns:a16="http://schemas.microsoft.com/office/drawing/2014/main" id="{06A1DE54-54E0-3EB1-4173-FB5DCE9D7614}"/>
              </a:ext>
            </a:extLst>
          </p:cNvPr>
          <p:cNvSpPr>
            <a:spLocks noGrp="1"/>
          </p:cNvSpPr>
          <p:nvPr>
            <p:ph type="sldNum" sz="quarter" idx="4"/>
          </p:nvPr>
        </p:nvSpPr>
        <p:spPr>
          <a:xfrm>
            <a:off x="11507792" y="6348353"/>
            <a:ext cx="216000" cy="215900"/>
          </a:xfrm>
          <a:prstGeom prst="rect">
            <a:avLst/>
          </a:prstGeom>
        </p:spPr>
        <p:txBody>
          <a:bodyPr vert="horz" lIns="0" tIns="0" rIns="0" bIns="0" rtlCol="0" anchor="ctr"/>
          <a:lstStyle>
            <a:lvl1pPr algn="l">
              <a:defRPr sz="900">
                <a:solidFill>
                  <a:schemeClr val="tx1"/>
                </a:solidFill>
                <a:latin typeface="+mn-lt"/>
              </a:defRPr>
            </a:lvl1pPr>
          </a:lstStyle>
          <a:p>
            <a:fld id="{F59CD943-D024-467A-B36E-F11E1285ED75}" type="slidenum">
              <a:rPr lang="en-GB" smtClean="0"/>
              <a:pPr/>
              <a:t>‹#›</a:t>
            </a:fld>
            <a:endParaRPr lang="en-GB"/>
          </a:p>
        </p:txBody>
      </p:sp>
      <p:sp>
        <p:nvSpPr>
          <p:cNvPr id="3" name="Text Placeholder 2">
            <a:extLst>
              <a:ext uri="{FF2B5EF4-FFF2-40B4-BE49-F238E27FC236}">
                <a16:creationId xmlns:a16="http://schemas.microsoft.com/office/drawing/2014/main" id="{5C1B50FF-FF35-77A6-3E05-3419EB2868DE}"/>
              </a:ext>
            </a:extLst>
          </p:cNvPr>
          <p:cNvSpPr>
            <a:spLocks noGrp="1"/>
          </p:cNvSpPr>
          <p:nvPr>
            <p:ph type="body" idx="1"/>
          </p:nvPr>
        </p:nvSpPr>
        <p:spPr>
          <a:xfrm>
            <a:off x="550864" y="1808163"/>
            <a:ext cx="3600449" cy="432117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p:txBody>
      </p:sp>
      <p:pic>
        <p:nvPicPr>
          <p:cNvPr id="12" name="Picture Placeholder 13">
            <a:extLst>
              <a:ext uri="{FF2B5EF4-FFF2-40B4-BE49-F238E27FC236}">
                <a16:creationId xmlns:a16="http://schemas.microsoft.com/office/drawing/2014/main" id="{D55B5CEE-4AC1-C1A3-63DB-32646D2687EF}"/>
              </a:ext>
            </a:extLst>
          </p:cNvPr>
          <p:cNvPicPr>
            <a:picLocks noChangeAspect="1"/>
          </p:cNvPicPr>
          <p:nvPr userDrawn="1"/>
        </p:nvPicPr>
        <p:blipFill rotWithShape="1">
          <a:blip r:embed="rId41" cstate="print">
            <a:extLst>
              <a:ext uri="{28A0092B-C50C-407E-A947-70E740481C1C}">
                <a14:useLocalDpi xmlns:a14="http://schemas.microsoft.com/office/drawing/2010/main"/>
              </a:ext>
              <a:ext uri="{96DAC541-7B7A-43D3-8B79-37D633B846F1}">
                <asvg:svgBlip xmlns:asvg="http://schemas.microsoft.com/office/drawing/2016/SVG/main" r:embed="rId42"/>
              </a:ext>
            </a:extLst>
          </a:blip>
          <a:srcRect l="6945" t="19498" r="6909" b="15243"/>
          <a:stretch/>
        </p:blipFill>
        <p:spPr>
          <a:xfrm>
            <a:off x="548482" y="6308725"/>
            <a:ext cx="1381418" cy="309766"/>
          </a:xfrm>
          <a:prstGeom prst="rect">
            <a:avLst/>
          </a:prstGeom>
        </p:spPr>
      </p:pic>
      <p:grpSp>
        <p:nvGrpSpPr>
          <p:cNvPr id="18" name="Group 17">
            <a:extLst>
              <a:ext uri="{FF2B5EF4-FFF2-40B4-BE49-F238E27FC236}">
                <a16:creationId xmlns:a16="http://schemas.microsoft.com/office/drawing/2014/main" id="{ADCE2269-69DA-04F2-DBD0-1281C6804897}"/>
              </a:ext>
            </a:extLst>
          </p:cNvPr>
          <p:cNvGrpSpPr/>
          <p:nvPr userDrawn="1"/>
        </p:nvGrpSpPr>
        <p:grpSpPr>
          <a:xfrm>
            <a:off x="12337200" y="0"/>
            <a:ext cx="288000" cy="6858000"/>
            <a:chOff x="12337200" y="0"/>
            <a:chExt cx="288000" cy="6858000"/>
          </a:xfrm>
        </p:grpSpPr>
        <p:sp>
          <p:nvSpPr>
            <p:cNvPr id="19" name="Rectangle 18">
              <a:extLst>
                <a:ext uri="{FF2B5EF4-FFF2-40B4-BE49-F238E27FC236}">
                  <a16:creationId xmlns:a16="http://schemas.microsoft.com/office/drawing/2014/main" id="{2B2DA727-A8B9-DA92-0F12-5082AE01E641}"/>
                </a:ext>
              </a:extLst>
            </p:cNvPr>
            <p:cNvSpPr/>
            <p:nvPr userDrawn="1"/>
          </p:nvSpPr>
          <p:spPr>
            <a:xfrm>
              <a:off x="12337200" y="0"/>
              <a:ext cx="288000" cy="288000"/>
            </a:xfrm>
            <a:prstGeom prst="rect">
              <a:avLst/>
            </a:prstGeom>
            <a:solidFill>
              <a:srgbClr val="FFFFFF"/>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101F7F33-63B7-FDB5-1360-148DA1FB35D9}"/>
                </a:ext>
              </a:extLst>
            </p:cNvPr>
            <p:cNvSpPr/>
            <p:nvPr userDrawn="1"/>
          </p:nvSpPr>
          <p:spPr>
            <a:xfrm>
              <a:off x="12337200" y="438000"/>
              <a:ext cx="288000" cy="288000"/>
            </a:xfrm>
            <a:prstGeom prst="rect">
              <a:avLst/>
            </a:prstGeom>
            <a:solidFill>
              <a:schemeClr val="tx1"/>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Rectangle 20">
              <a:extLst>
                <a:ext uri="{FF2B5EF4-FFF2-40B4-BE49-F238E27FC236}">
                  <a16:creationId xmlns:a16="http://schemas.microsoft.com/office/drawing/2014/main" id="{1B6520FC-DDFC-1D28-7D21-58787C85BD63}"/>
                </a:ext>
              </a:extLst>
            </p:cNvPr>
            <p:cNvSpPr/>
            <p:nvPr userDrawn="1"/>
          </p:nvSpPr>
          <p:spPr>
            <a:xfrm>
              <a:off x="12337200" y="1314000"/>
              <a:ext cx="288000" cy="288000"/>
            </a:xfrm>
            <a:prstGeom prst="rect">
              <a:avLst/>
            </a:prstGeom>
            <a:solidFill>
              <a:srgbClr val="93FF9E"/>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2" name="Rectangle 21">
              <a:extLst>
                <a:ext uri="{FF2B5EF4-FFF2-40B4-BE49-F238E27FC236}">
                  <a16:creationId xmlns:a16="http://schemas.microsoft.com/office/drawing/2014/main" id="{EF34FEDE-A544-32CB-956C-08B6851A6CBD}"/>
                </a:ext>
              </a:extLst>
            </p:cNvPr>
            <p:cNvSpPr/>
            <p:nvPr userDrawn="1"/>
          </p:nvSpPr>
          <p:spPr>
            <a:xfrm>
              <a:off x="12337200" y="1752000"/>
              <a:ext cx="288000" cy="288000"/>
            </a:xfrm>
            <a:prstGeom prst="rect">
              <a:avLst/>
            </a:prstGeom>
            <a:solidFill>
              <a:srgbClr val="B175E1"/>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3" name="Rectangle 22">
              <a:extLst>
                <a:ext uri="{FF2B5EF4-FFF2-40B4-BE49-F238E27FC236}">
                  <a16:creationId xmlns:a16="http://schemas.microsoft.com/office/drawing/2014/main" id="{63344DCD-D25F-16D3-F805-22497F233DD6}"/>
                </a:ext>
              </a:extLst>
            </p:cNvPr>
            <p:cNvSpPr/>
            <p:nvPr userDrawn="1"/>
          </p:nvSpPr>
          <p:spPr>
            <a:xfrm>
              <a:off x="12337200" y="2190000"/>
              <a:ext cx="288000" cy="288000"/>
            </a:xfrm>
            <a:prstGeom prst="rect">
              <a:avLst/>
            </a:prstGeom>
            <a:solidFill>
              <a:srgbClr val="F0FE4F"/>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4" name="Rectangle 23">
              <a:extLst>
                <a:ext uri="{FF2B5EF4-FFF2-40B4-BE49-F238E27FC236}">
                  <a16:creationId xmlns:a16="http://schemas.microsoft.com/office/drawing/2014/main" id="{04BA6AE9-08C6-8141-C8E3-9F6675B8C579}"/>
                </a:ext>
              </a:extLst>
            </p:cNvPr>
            <p:cNvSpPr/>
            <p:nvPr userDrawn="1"/>
          </p:nvSpPr>
          <p:spPr>
            <a:xfrm>
              <a:off x="12337200" y="2628000"/>
              <a:ext cx="288000" cy="288000"/>
            </a:xfrm>
            <a:prstGeom prst="rect">
              <a:avLst/>
            </a:prstGeom>
            <a:solidFill>
              <a:schemeClr val="bg2"/>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6DEB21DF-8918-9A58-B073-ABCFEFC6332E}"/>
                </a:ext>
              </a:extLst>
            </p:cNvPr>
            <p:cNvSpPr/>
            <p:nvPr userDrawn="1"/>
          </p:nvSpPr>
          <p:spPr>
            <a:xfrm>
              <a:off x="12337200" y="3942000"/>
              <a:ext cx="288000" cy="288000"/>
            </a:xfrm>
            <a:prstGeom prst="rect">
              <a:avLst/>
            </a:prstGeom>
            <a:solidFill>
              <a:srgbClr val="FAF5FF"/>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7" name="Rectangle 26">
              <a:extLst>
                <a:ext uri="{FF2B5EF4-FFF2-40B4-BE49-F238E27FC236}">
                  <a16:creationId xmlns:a16="http://schemas.microsoft.com/office/drawing/2014/main" id="{3DE56E9A-AC7D-7BD1-2547-8191229C587C}"/>
                </a:ext>
              </a:extLst>
            </p:cNvPr>
            <p:cNvSpPr/>
            <p:nvPr userDrawn="1"/>
          </p:nvSpPr>
          <p:spPr>
            <a:xfrm>
              <a:off x="12337200" y="4380000"/>
              <a:ext cx="288000" cy="288000"/>
            </a:xfrm>
            <a:prstGeom prst="rect">
              <a:avLst/>
            </a:prstGeom>
            <a:solidFill>
              <a:srgbClr val="2A2B2D"/>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8" name="Rectangle 27">
              <a:extLst>
                <a:ext uri="{FF2B5EF4-FFF2-40B4-BE49-F238E27FC236}">
                  <a16:creationId xmlns:a16="http://schemas.microsoft.com/office/drawing/2014/main" id="{D3A256C3-A341-5BEF-6DC7-405690412DF3}"/>
                </a:ext>
              </a:extLst>
            </p:cNvPr>
            <p:cNvSpPr/>
            <p:nvPr userDrawn="1"/>
          </p:nvSpPr>
          <p:spPr>
            <a:xfrm>
              <a:off x="12337200" y="5256000"/>
              <a:ext cx="288000" cy="288000"/>
            </a:xfrm>
            <a:prstGeom prst="rect">
              <a:avLst/>
            </a:prstGeom>
            <a:solidFill>
              <a:srgbClr val="5F6368"/>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9" name="Rectangle 28">
              <a:extLst>
                <a:ext uri="{FF2B5EF4-FFF2-40B4-BE49-F238E27FC236}">
                  <a16:creationId xmlns:a16="http://schemas.microsoft.com/office/drawing/2014/main" id="{55CCCA90-1DF3-0A59-7FFC-5C2CC4BAF64A}"/>
                </a:ext>
              </a:extLst>
            </p:cNvPr>
            <p:cNvSpPr/>
            <p:nvPr userDrawn="1"/>
          </p:nvSpPr>
          <p:spPr>
            <a:xfrm>
              <a:off x="12337200" y="5694000"/>
              <a:ext cx="288000" cy="288000"/>
            </a:xfrm>
            <a:prstGeom prst="rect">
              <a:avLst/>
            </a:prstGeom>
            <a:solidFill>
              <a:srgbClr val="BABCBE"/>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88F60BD6-64C7-59E8-1FA3-9C35CCFCDEB7}"/>
                </a:ext>
              </a:extLst>
            </p:cNvPr>
            <p:cNvSpPr/>
            <p:nvPr userDrawn="1"/>
          </p:nvSpPr>
          <p:spPr>
            <a:xfrm>
              <a:off x="12337200" y="6132000"/>
              <a:ext cx="288000" cy="288000"/>
            </a:xfrm>
            <a:prstGeom prst="rect">
              <a:avLst/>
            </a:prstGeom>
            <a:solidFill>
              <a:srgbClr val="DFE1E2"/>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1" name="Rectangle 30">
              <a:extLst>
                <a:ext uri="{FF2B5EF4-FFF2-40B4-BE49-F238E27FC236}">
                  <a16:creationId xmlns:a16="http://schemas.microsoft.com/office/drawing/2014/main" id="{9EAA7B64-67D6-512C-069B-EE0FAE1DB219}"/>
                </a:ext>
              </a:extLst>
            </p:cNvPr>
            <p:cNvSpPr/>
            <p:nvPr userDrawn="1"/>
          </p:nvSpPr>
          <p:spPr>
            <a:xfrm>
              <a:off x="12337200" y="6570000"/>
              <a:ext cx="288000" cy="288000"/>
            </a:xfrm>
            <a:prstGeom prst="rect">
              <a:avLst/>
            </a:prstGeom>
            <a:solidFill>
              <a:srgbClr val="F2F2F2"/>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588214801"/>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683" r:id="rId14"/>
    <p:sldLayoutId id="2147483684" r:id="rId15"/>
    <p:sldLayoutId id="2147483685" r:id="rId16"/>
    <p:sldLayoutId id="2147483686" r:id="rId17"/>
    <p:sldLayoutId id="2147483687" r:id="rId18"/>
    <p:sldLayoutId id="2147483688" r:id="rId19"/>
    <p:sldLayoutId id="2147483689" r:id="rId20"/>
    <p:sldLayoutId id="2147483690" r:id="rId21"/>
    <p:sldLayoutId id="2147483691" r:id="rId22"/>
    <p:sldLayoutId id="2147483692" r:id="rId23"/>
    <p:sldLayoutId id="2147483693" r:id="rId24"/>
    <p:sldLayoutId id="2147483694" r:id="rId25"/>
    <p:sldLayoutId id="2147483695" r:id="rId26"/>
    <p:sldLayoutId id="2147483696" r:id="rId27"/>
    <p:sldLayoutId id="2147483697" r:id="rId28"/>
    <p:sldLayoutId id="2147483698" r:id="rId29"/>
    <p:sldLayoutId id="2147483699" r:id="rId30"/>
    <p:sldLayoutId id="2147483700" r:id="rId31"/>
    <p:sldLayoutId id="2147483701" r:id="rId32"/>
    <p:sldLayoutId id="2147483702" r:id="rId33"/>
    <p:sldLayoutId id="2147483703" r:id="rId34"/>
    <p:sldLayoutId id="2147483704" r:id="rId35"/>
    <p:sldLayoutId id="2147483705" r:id="rId36"/>
  </p:sldLayoutIdLst>
  <p:hf hdr="0" dt="0"/>
  <p:txStyles>
    <p:titleStyle>
      <a:lvl1pPr algn="l" defTabSz="914400" rtl="0" eaLnBrk="1" latinLnBrk="0" hangingPunct="1">
        <a:lnSpc>
          <a:spcPct val="90000"/>
        </a:lnSpc>
        <a:spcBef>
          <a:spcPct val="0"/>
        </a:spcBef>
        <a:buNone/>
        <a:defRPr sz="2400" kern="1200">
          <a:solidFill>
            <a:schemeClr val="accent2"/>
          </a:solidFill>
          <a:latin typeface="+mj-lt"/>
          <a:ea typeface="+mj-ea"/>
          <a:cs typeface="+mj-cs"/>
        </a:defRPr>
      </a:lvl1pPr>
    </p:titleStyle>
    <p:bodyStyle>
      <a:lvl1pPr marL="18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1pPr>
      <a:lvl2pPr marL="36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2pPr>
      <a:lvl3pPr marL="540000" indent="-180000" algn="l" defTabSz="914400" rtl="0" eaLnBrk="1" latinLnBrk="0" hangingPunct="1">
        <a:lnSpc>
          <a:spcPct val="100000"/>
        </a:lnSpc>
        <a:spcBef>
          <a:spcPts val="900"/>
        </a:spcBef>
        <a:buFont typeface="Wingdings" panose="05000000000000000000" pitchFamily="2" charset="2"/>
        <a:buChar char="§"/>
        <a:defRPr sz="1500" kern="1200">
          <a:solidFill>
            <a:schemeClr val="tx1"/>
          </a:solidFill>
          <a:latin typeface="+mn-lt"/>
          <a:ea typeface="+mn-ea"/>
          <a:cs typeface="+mn-cs"/>
        </a:defRPr>
      </a:lvl3pPr>
      <a:lvl4pPr marL="720000" indent="-180000" algn="l" defTabSz="914400" rtl="0" eaLnBrk="1" latinLnBrk="0" hangingPunct="1">
        <a:lnSpc>
          <a:spcPct val="100000"/>
        </a:lnSpc>
        <a:spcBef>
          <a:spcPts val="900"/>
        </a:spcBef>
        <a:buClr>
          <a:schemeClr val="tx1"/>
        </a:buClr>
        <a:buFont typeface="Courier New" panose="02070309020205020404" pitchFamily="49" charset="0"/>
        <a:buChar char="o"/>
        <a:defRPr sz="1500" kern="1200">
          <a:solidFill>
            <a:schemeClr val="tx1"/>
          </a:solidFill>
          <a:latin typeface="+mn-lt"/>
          <a:ea typeface="+mn-ea"/>
          <a:cs typeface="+mn-cs"/>
        </a:defRPr>
      </a:lvl4pPr>
      <a:lvl5pPr marL="900000" indent="-180000" algn="l" defTabSz="914400" rtl="0" eaLnBrk="1" latinLnBrk="0" hangingPunct="1">
        <a:lnSpc>
          <a:spcPct val="100000"/>
        </a:lnSpc>
        <a:spcBef>
          <a:spcPts val="900"/>
        </a:spcBef>
        <a:buClr>
          <a:schemeClr val="tx1"/>
        </a:buClr>
        <a:buFont typeface="Avenir Next LT Pro" panose="020B0504020202020204" pitchFamily="34" charset="0"/>
        <a:buChar char="–"/>
        <a:defRPr sz="1500" kern="1200">
          <a:solidFill>
            <a:schemeClr val="tx1"/>
          </a:solidFill>
          <a:latin typeface="+mn-lt"/>
          <a:ea typeface="+mn-ea"/>
          <a:cs typeface="+mn-cs"/>
        </a:defRPr>
      </a:lvl5pPr>
      <a:lvl6pPr marL="72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9FCC3B"/>
          </p15:clr>
        </p15:guide>
        <p15:guide id="2" pos="3840">
          <p15:clr>
            <a:srgbClr val="9FCC3B"/>
          </p15:clr>
        </p15:guide>
        <p15:guide id="3" pos="3795">
          <p15:clr>
            <a:srgbClr val="F26B43"/>
          </p15:clr>
        </p15:guide>
        <p15:guide id="4" pos="3296">
          <p15:clr>
            <a:srgbClr val="F26B43"/>
          </p15:clr>
        </p15:guide>
        <p15:guide id="5" pos="3205">
          <p15:clr>
            <a:srgbClr val="F26B43"/>
          </p15:clr>
        </p15:guide>
        <p15:guide id="6" pos="2706">
          <p15:clr>
            <a:srgbClr val="F26B43"/>
          </p15:clr>
        </p15:guide>
        <p15:guide id="7" pos="2615">
          <p15:clr>
            <a:srgbClr val="F26B43"/>
          </p15:clr>
        </p15:guide>
        <p15:guide id="8" pos="2116">
          <p15:clr>
            <a:srgbClr val="F26B43"/>
          </p15:clr>
        </p15:guide>
        <p15:guide id="9" pos="2026">
          <p15:clr>
            <a:srgbClr val="F26B43"/>
          </p15:clr>
        </p15:guide>
        <p15:guide id="10" pos="1527">
          <p15:clr>
            <a:srgbClr val="F26B43"/>
          </p15:clr>
        </p15:guide>
        <p15:guide id="11" pos="1436">
          <p15:clr>
            <a:srgbClr val="F26B43"/>
          </p15:clr>
        </p15:guide>
        <p15:guide id="12" pos="937">
          <p15:clr>
            <a:srgbClr val="F26B43"/>
          </p15:clr>
        </p15:guide>
        <p15:guide id="13" pos="846">
          <p15:clr>
            <a:srgbClr val="F26B43"/>
          </p15:clr>
        </p15:guide>
        <p15:guide id="14" pos="347">
          <p15:clr>
            <a:srgbClr val="9FCC3B"/>
          </p15:clr>
        </p15:guide>
        <p15:guide id="15" pos="3885">
          <p15:clr>
            <a:srgbClr val="F26B43"/>
          </p15:clr>
        </p15:guide>
        <p15:guide id="16" pos="4384">
          <p15:clr>
            <a:srgbClr val="F26B43"/>
          </p15:clr>
        </p15:guide>
        <p15:guide id="17" pos="4475">
          <p15:clr>
            <a:srgbClr val="F26B43"/>
          </p15:clr>
        </p15:guide>
        <p15:guide id="18" pos="4974">
          <p15:clr>
            <a:srgbClr val="F26B43"/>
          </p15:clr>
        </p15:guide>
        <p15:guide id="19" pos="5065">
          <p15:clr>
            <a:srgbClr val="F26B43"/>
          </p15:clr>
        </p15:guide>
        <p15:guide id="20" pos="5564">
          <p15:clr>
            <a:srgbClr val="F26B43"/>
          </p15:clr>
        </p15:guide>
        <p15:guide id="21" pos="5654">
          <p15:clr>
            <a:srgbClr val="F26B43"/>
          </p15:clr>
        </p15:guide>
        <p15:guide id="22" pos="6153">
          <p15:clr>
            <a:srgbClr val="F26B43"/>
          </p15:clr>
        </p15:guide>
        <p15:guide id="23" pos="6244">
          <p15:clr>
            <a:srgbClr val="F26B43"/>
          </p15:clr>
        </p15:guide>
        <p15:guide id="24" pos="6743">
          <p15:clr>
            <a:srgbClr val="F26B43"/>
          </p15:clr>
        </p15:guide>
        <p15:guide id="25" pos="6834">
          <p15:clr>
            <a:srgbClr val="F26B43"/>
          </p15:clr>
        </p15:guide>
        <p15:guide id="26" pos="7333">
          <p15:clr>
            <a:srgbClr val="9FCC3B"/>
          </p15:clr>
        </p15:guide>
        <p15:guide id="35" orient="horz" pos="1139">
          <p15:clr>
            <a:srgbClr val="F26B43"/>
          </p15:clr>
        </p15:guide>
        <p15:guide id="41" orient="horz" pos="119">
          <p15:clr>
            <a:srgbClr val="9FCC3B"/>
          </p15:clr>
        </p15:guide>
        <p15:guide id="55" orient="horz" pos="3974">
          <p15:clr>
            <a:srgbClr val="F26B43"/>
          </p15:clr>
        </p15:guide>
        <p15:guide id="59" orient="horz" pos="4201">
          <p15:clr>
            <a:srgbClr val="9FCC3B"/>
          </p15:clr>
        </p15:guide>
        <p15:guide id="60" orient="horz" pos="459">
          <p15:clr>
            <a:srgbClr val="F26B43"/>
          </p15:clr>
        </p15:guide>
        <p15:guide id="62" orient="horz" pos="23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745BAB1-1F8D-39EC-0019-A3FA4BCA96D3}"/>
              </a:ext>
            </a:extLst>
          </p:cNvPr>
          <p:cNvGraphicFramePr>
            <a:graphicFrameLocks noChangeAspect="1"/>
          </p:cNvGraphicFramePr>
          <p:nvPr userDrawn="1">
            <p:custDataLst>
              <p:tags r:id="rId39"/>
            </p:custDataLst>
            <p:extLst>
              <p:ext uri="{D42A27DB-BD31-4B8C-83A1-F6EECF244321}">
                <p14:modId xmlns:p14="http://schemas.microsoft.com/office/powerpoint/2010/main" val="507305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425" imgH="424" progId="TCLayout.ActiveDocument.1">
                  <p:embed/>
                </p:oleObj>
              </mc:Choice>
              <mc:Fallback>
                <p:oleObj name="think-cell Slide" r:id="rId40" imgW="425" imgH="424" progId="TCLayout.ActiveDocument.1">
                  <p:embed/>
                  <p:pic>
                    <p:nvPicPr>
                      <p:cNvPr id="7" name="think-cell data - do not delete" hidden="1">
                        <a:extLst>
                          <a:ext uri="{FF2B5EF4-FFF2-40B4-BE49-F238E27FC236}">
                            <a16:creationId xmlns:a16="http://schemas.microsoft.com/office/drawing/2014/main" id="{8745BAB1-1F8D-39EC-0019-A3FA4BCA96D3}"/>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2D1B4D6-09F5-E479-2AED-EDE0974FF279}"/>
              </a:ext>
            </a:extLst>
          </p:cNvPr>
          <p:cNvSpPr>
            <a:spLocks noGrp="1"/>
          </p:cNvSpPr>
          <p:nvPr>
            <p:ph type="title"/>
          </p:nvPr>
        </p:nvSpPr>
        <p:spPr>
          <a:xfrm>
            <a:off x="550864" y="368828"/>
            <a:ext cx="7345362" cy="309766"/>
          </a:xfrm>
          <a:prstGeom prst="rect">
            <a:avLst/>
          </a:prstGeom>
        </p:spPr>
        <p:txBody>
          <a:bodyPr vert="horz" lIns="0" tIns="0" rIns="0" bIns="0" rtlCol="0" anchor="t" anchorCtr="0">
            <a:noAutofit/>
          </a:bodyPr>
          <a:lstStyle/>
          <a:p>
            <a:r>
              <a:rPr lang="en-US"/>
              <a:t>Header avenir demi 24pt</a:t>
            </a:r>
            <a:endParaRPr lang="en-GB"/>
          </a:p>
        </p:txBody>
      </p:sp>
      <p:sp>
        <p:nvSpPr>
          <p:cNvPr id="5" name="Footer Placeholder 4">
            <a:extLst>
              <a:ext uri="{FF2B5EF4-FFF2-40B4-BE49-F238E27FC236}">
                <a16:creationId xmlns:a16="http://schemas.microsoft.com/office/drawing/2014/main" id="{6667196C-25D5-C3B8-0D57-612FAF9C5C56}"/>
              </a:ext>
            </a:extLst>
          </p:cNvPr>
          <p:cNvSpPr>
            <a:spLocks noGrp="1"/>
          </p:cNvSpPr>
          <p:nvPr>
            <p:ph type="ftr" sz="quarter" idx="3"/>
          </p:nvPr>
        </p:nvSpPr>
        <p:spPr>
          <a:xfrm>
            <a:off x="8040688" y="6348353"/>
            <a:ext cx="3292473" cy="215901"/>
          </a:xfrm>
          <a:prstGeom prst="rect">
            <a:avLst/>
          </a:prstGeom>
        </p:spPr>
        <p:txBody>
          <a:bodyPr vert="horz" lIns="0" tIns="0" rIns="0" bIns="0" rtlCol="0" anchor="ctr"/>
          <a:lstStyle>
            <a:lvl1pPr algn="r">
              <a:defRPr sz="900">
                <a:solidFill>
                  <a:schemeClr val="tx1"/>
                </a:solidFill>
              </a:defRPr>
            </a:lvl1pPr>
          </a:lstStyle>
          <a:p>
            <a:r>
              <a:rPr lang="en-GB"/>
              <a:t>© 2023 Clarivate</a:t>
            </a:r>
          </a:p>
        </p:txBody>
      </p:sp>
      <p:sp>
        <p:nvSpPr>
          <p:cNvPr id="6" name="Slide Number Placeholder 5">
            <a:extLst>
              <a:ext uri="{FF2B5EF4-FFF2-40B4-BE49-F238E27FC236}">
                <a16:creationId xmlns:a16="http://schemas.microsoft.com/office/drawing/2014/main" id="{06A1DE54-54E0-3EB1-4173-FB5DCE9D7614}"/>
              </a:ext>
            </a:extLst>
          </p:cNvPr>
          <p:cNvSpPr>
            <a:spLocks noGrp="1"/>
          </p:cNvSpPr>
          <p:nvPr>
            <p:ph type="sldNum" sz="quarter" idx="4"/>
          </p:nvPr>
        </p:nvSpPr>
        <p:spPr>
          <a:xfrm>
            <a:off x="11507792" y="6348353"/>
            <a:ext cx="216000" cy="215900"/>
          </a:xfrm>
          <a:prstGeom prst="rect">
            <a:avLst/>
          </a:prstGeom>
        </p:spPr>
        <p:txBody>
          <a:bodyPr vert="horz" lIns="0" tIns="0" rIns="0" bIns="0" rtlCol="0" anchor="ctr"/>
          <a:lstStyle>
            <a:lvl1pPr algn="l">
              <a:defRPr sz="900">
                <a:solidFill>
                  <a:schemeClr val="tx1"/>
                </a:solidFill>
                <a:latin typeface="+mn-lt"/>
              </a:defRPr>
            </a:lvl1pPr>
          </a:lstStyle>
          <a:p>
            <a:fld id="{F59CD943-D024-467A-B36E-F11E1285ED75}" type="slidenum">
              <a:rPr lang="en-GB" smtClean="0"/>
              <a:pPr/>
              <a:t>‹#›</a:t>
            </a:fld>
            <a:endParaRPr lang="en-GB"/>
          </a:p>
        </p:txBody>
      </p:sp>
      <p:sp>
        <p:nvSpPr>
          <p:cNvPr id="3" name="Text Placeholder 2">
            <a:extLst>
              <a:ext uri="{FF2B5EF4-FFF2-40B4-BE49-F238E27FC236}">
                <a16:creationId xmlns:a16="http://schemas.microsoft.com/office/drawing/2014/main" id="{5C1B50FF-FF35-77A6-3E05-3419EB2868DE}"/>
              </a:ext>
            </a:extLst>
          </p:cNvPr>
          <p:cNvSpPr>
            <a:spLocks noGrp="1"/>
          </p:cNvSpPr>
          <p:nvPr>
            <p:ph type="body" idx="1"/>
          </p:nvPr>
        </p:nvSpPr>
        <p:spPr>
          <a:xfrm>
            <a:off x="550864" y="1808163"/>
            <a:ext cx="3600449" cy="432117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p:txBody>
      </p:sp>
      <p:pic>
        <p:nvPicPr>
          <p:cNvPr id="12" name="Picture Placeholder 13">
            <a:extLst>
              <a:ext uri="{FF2B5EF4-FFF2-40B4-BE49-F238E27FC236}">
                <a16:creationId xmlns:a16="http://schemas.microsoft.com/office/drawing/2014/main" id="{D55B5CEE-4AC1-C1A3-63DB-32646D2687EF}"/>
              </a:ext>
            </a:extLst>
          </p:cNvPr>
          <p:cNvPicPr>
            <a:picLocks noChangeAspect="1"/>
          </p:cNvPicPr>
          <p:nvPr userDrawn="1"/>
        </p:nvPicPr>
        <p:blipFill rotWithShape="1">
          <a:blip r:embed="rId42" cstate="print">
            <a:extLst>
              <a:ext uri="{28A0092B-C50C-407E-A947-70E740481C1C}">
                <a14:useLocalDpi xmlns:a14="http://schemas.microsoft.com/office/drawing/2010/main"/>
              </a:ext>
              <a:ext uri="{96DAC541-7B7A-43D3-8B79-37D633B846F1}">
                <asvg:svgBlip xmlns:asvg="http://schemas.microsoft.com/office/drawing/2016/SVG/main" r:embed="rId43"/>
              </a:ext>
            </a:extLst>
          </a:blip>
          <a:srcRect l="6945" t="19498" r="6909" b="15243"/>
          <a:stretch/>
        </p:blipFill>
        <p:spPr>
          <a:xfrm>
            <a:off x="548482" y="6308725"/>
            <a:ext cx="1381418" cy="309766"/>
          </a:xfrm>
          <a:prstGeom prst="rect">
            <a:avLst/>
          </a:prstGeom>
        </p:spPr>
      </p:pic>
      <p:grpSp>
        <p:nvGrpSpPr>
          <p:cNvPr id="18" name="Group 17">
            <a:extLst>
              <a:ext uri="{FF2B5EF4-FFF2-40B4-BE49-F238E27FC236}">
                <a16:creationId xmlns:a16="http://schemas.microsoft.com/office/drawing/2014/main" id="{ADCE2269-69DA-04F2-DBD0-1281C6804897}"/>
              </a:ext>
            </a:extLst>
          </p:cNvPr>
          <p:cNvGrpSpPr/>
          <p:nvPr userDrawn="1"/>
        </p:nvGrpSpPr>
        <p:grpSpPr>
          <a:xfrm>
            <a:off x="12337200" y="0"/>
            <a:ext cx="288000" cy="6858000"/>
            <a:chOff x="12337200" y="0"/>
            <a:chExt cx="288000" cy="6858000"/>
          </a:xfrm>
        </p:grpSpPr>
        <p:sp>
          <p:nvSpPr>
            <p:cNvPr id="19" name="Rectangle 18">
              <a:extLst>
                <a:ext uri="{FF2B5EF4-FFF2-40B4-BE49-F238E27FC236}">
                  <a16:creationId xmlns:a16="http://schemas.microsoft.com/office/drawing/2014/main" id="{2B2DA727-A8B9-DA92-0F12-5082AE01E641}"/>
                </a:ext>
              </a:extLst>
            </p:cNvPr>
            <p:cNvSpPr/>
            <p:nvPr userDrawn="1"/>
          </p:nvSpPr>
          <p:spPr>
            <a:xfrm>
              <a:off x="12337200" y="0"/>
              <a:ext cx="288000" cy="288000"/>
            </a:xfrm>
            <a:prstGeom prst="rect">
              <a:avLst/>
            </a:prstGeom>
            <a:solidFill>
              <a:srgbClr val="FFFFFF"/>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101F7F33-63B7-FDB5-1360-148DA1FB35D9}"/>
                </a:ext>
              </a:extLst>
            </p:cNvPr>
            <p:cNvSpPr/>
            <p:nvPr userDrawn="1"/>
          </p:nvSpPr>
          <p:spPr>
            <a:xfrm>
              <a:off x="12337200" y="438000"/>
              <a:ext cx="288000" cy="288000"/>
            </a:xfrm>
            <a:prstGeom prst="rect">
              <a:avLst/>
            </a:prstGeom>
            <a:solidFill>
              <a:schemeClr val="tx1"/>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Rectangle 20">
              <a:extLst>
                <a:ext uri="{FF2B5EF4-FFF2-40B4-BE49-F238E27FC236}">
                  <a16:creationId xmlns:a16="http://schemas.microsoft.com/office/drawing/2014/main" id="{1B6520FC-DDFC-1D28-7D21-58787C85BD63}"/>
                </a:ext>
              </a:extLst>
            </p:cNvPr>
            <p:cNvSpPr/>
            <p:nvPr userDrawn="1"/>
          </p:nvSpPr>
          <p:spPr>
            <a:xfrm>
              <a:off x="12337200" y="1314000"/>
              <a:ext cx="288000" cy="288000"/>
            </a:xfrm>
            <a:prstGeom prst="rect">
              <a:avLst/>
            </a:prstGeom>
            <a:solidFill>
              <a:srgbClr val="93FF9E"/>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2" name="Rectangle 21">
              <a:extLst>
                <a:ext uri="{FF2B5EF4-FFF2-40B4-BE49-F238E27FC236}">
                  <a16:creationId xmlns:a16="http://schemas.microsoft.com/office/drawing/2014/main" id="{EF34FEDE-A544-32CB-956C-08B6851A6CBD}"/>
                </a:ext>
              </a:extLst>
            </p:cNvPr>
            <p:cNvSpPr/>
            <p:nvPr userDrawn="1"/>
          </p:nvSpPr>
          <p:spPr>
            <a:xfrm>
              <a:off x="12337200" y="1752000"/>
              <a:ext cx="288000" cy="288000"/>
            </a:xfrm>
            <a:prstGeom prst="rect">
              <a:avLst/>
            </a:prstGeom>
            <a:solidFill>
              <a:srgbClr val="B175E1"/>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3" name="Rectangle 22">
              <a:extLst>
                <a:ext uri="{FF2B5EF4-FFF2-40B4-BE49-F238E27FC236}">
                  <a16:creationId xmlns:a16="http://schemas.microsoft.com/office/drawing/2014/main" id="{63344DCD-D25F-16D3-F805-22497F233DD6}"/>
                </a:ext>
              </a:extLst>
            </p:cNvPr>
            <p:cNvSpPr/>
            <p:nvPr userDrawn="1"/>
          </p:nvSpPr>
          <p:spPr>
            <a:xfrm>
              <a:off x="12337200" y="2190000"/>
              <a:ext cx="288000" cy="288000"/>
            </a:xfrm>
            <a:prstGeom prst="rect">
              <a:avLst/>
            </a:prstGeom>
            <a:solidFill>
              <a:srgbClr val="F0FE4F"/>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4" name="Rectangle 23">
              <a:extLst>
                <a:ext uri="{FF2B5EF4-FFF2-40B4-BE49-F238E27FC236}">
                  <a16:creationId xmlns:a16="http://schemas.microsoft.com/office/drawing/2014/main" id="{04BA6AE9-08C6-8141-C8E3-9F6675B8C579}"/>
                </a:ext>
              </a:extLst>
            </p:cNvPr>
            <p:cNvSpPr/>
            <p:nvPr userDrawn="1"/>
          </p:nvSpPr>
          <p:spPr>
            <a:xfrm>
              <a:off x="12337200" y="2628000"/>
              <a:ext cx="288000" cy="288000"/>
            </a:xfrm>
            <a:prstGeom prst="rect">
              <a:avLst/>
            </a:prstGeom>
            <a:solidFill>
              <a:schemeClr val="bg2"/>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6DEB21DF-8918-9A58-B073-ABCFEFC6332E}"/>
                </a:ext>
              </a:extLst>
            </p:cNvPr>
            <p:cNvSpPr/>
            <p:nvPr userDrawn="1"/>
          </p:nvSpPr>
          <p:spPr>
            <a:xfrm>
              <a:off x="12337200" y="3942000"/>
              <a:ext cx="288000" cy="288000"/>
            </a:xfrm>
            <a:prstGeom prst="rect">
              <a:avLst/>
            </a:prstGeom>
            <a:solidFill>
              <a:srgbClr val="FAF5FF"/>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7" name="Rectangle 26">
              <a:extLst>
                <a:ext uri="{FF2B5EF4-FFF2-40B4-BE49-F238E27FC236}">
                  <a16:creationId xmlns:a16="http://schemas.microsoft.com/office/drawing/2014/main" id="{3DE56E9A-AC7D-7BD1-2547-8191229C587C}"/>
                </a:ext>
              </a:extLst>
            </p:cNvPr>
            <p:cNvSpPr/>
            <p:nvPr userDrawn="1"/>
          </p:nvSpPr>
          <p:spPr>
            <a:xfrm>
              <a:off x="12337200" y="4380000"/>
              <a:ext cx="288000" cy="288000"/>
            </a:xfrm>
            <a:prstGeom prst="rect">
              <a:avLst/>
            </a:prstGeom>
            <a:solidFill>
              <a:srgbClr val="2A2B2D"/>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8" name="Rectangle 27">
              <a:extLst>
                <a:ext uri="{FF2B5EF4-FFF2-40B4-BE49-F238E27FC236}">
                  <a16:creationId xmlns:a16="http://schemas.microsoft.com/office/drawing/2014/main" id="{D3A256C3-A341-5BEF-6DC7-405690412DF3}"/>
                </a:ext>
              </a:extLst>
            </p:cNvPr>
            <p:cNvSpPr/>
            <p:nvPr userDrawn="1"/>
          </p:nvSpPr>
          <p:spPr>
            <a:xfrm>
              <a:off x="12337200" y="5256000"/>
              <a:ext cx="288000" cy="288000"/>
            </a:xfrm>
            <a:prstGeom prst="rect">
              <a:avLst/>
            </a:prstGeom>
            <a:solidFill>
              <a:srgbClr val="5F6368"/>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9" name="Rectangle 28">
              <a:extLst>
                <a:ext uri="{FF2B5EF4-FFF2-40B4-BE49-F238E27FC236}">
                  <a16:creationId xmlns:a16="http://schemas.microsoft.com/office/drawing/2014/main" id="{55CCCA90-1DF3-0A59-7FFC-5C2CC4BAF64A}"/>
                </a:ext>
              </a:extLst>
            </p:cNvPr>
            <p:cNvSpPr/>
            <p:nvPr userDrawn="1"/>
          </p:nvSpPr>
          <p:spPr>
            <a:xfrm>
              <a:off x="12337200" y="5694000"/>
              <a:ext cx="288000" cy="288000"/>
            </a:xfrm>
            <a:prstGeom prst="rect">
              <a:avLst/>
            </a:prstGeom>
            <a:solidFill>
              <a:srgbClr val="BABCBE"/>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88F60BD6-64C7-59E8-1FA3-9C35CCFCDEB7}"/>
                </a:ext>
              </a:extLst>
            </p:cNvPr>
            <p:cNvSpPr/>
            <p:nvPr userDrawn="1"/>
          </p:nvSpPr>
          <p:spPr>
            <a:xfrm>
              <a:off x="12337200" y="6132000"/>
              <a:ext cx="288000" cy="288000"/>
            </a:xfrm>
            <a:prstGeom prst="rect">
              <a:avLst/>
            </a:prstGeom>
            <a:solidFill>
              <a:srgbClr val="DFE1E2"/>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1" name="Rectangle 30">
              <a:extLst>
                <a:ext uri="{FF2B5EF4-FFF2-40B4-BE49-F238E27FC236}">
                  <a16:creationId xmlns:a16="http://schemas.microsoft.com/office/drawing/2014/main" id="{9EAA7B64-67D6-512C-069B-EE0FAE1DB219}"/>
                </a:ext>
              </a:extLst>
            </p:cNvPr>
            <p:cNvSpPr/>
            <p:nvPr userDrawn="1"/>
          </p:nvSpPr>
          <p:spPr>
            <a:xfrm>
              <a:off x="12337200" y="6570000"/>
              <a:ext cx="288000" cy="288000"/>
            </a:xfrm>
            <a:prstGeom prst="rect">
              <a:avLst/>
            </a:prstGeom>
            <a:solidFill>
              <a:srgbClr val="F2F2F2"/>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469217401"/>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 id="2147483726" r:id="rId20"/>
    <p:sldLayoutId id="2147483727" r:id="rId21"/>
    <p:sldLayoutId id="2147483728" r:id="rId22"/>
    <p:sldLayoutId id="2147483729" r:id="rId23"/>
    <p:sldLayoutId id="2147483730" r:id="rId24"/>
    <p:sldLayoutId id="2147483731" r:id="rId25"/>
    <p:sldLayoutId id="2147483732" r:id="rId26"/>
    <p:sldLayoutId id="2147483733" r:id="rId27"/>
    <p:sldLayoutId id="2147483734" r:id="rId28"/>
    <p:sldLayoutId id="2147483735" r:id="rId29"/>
    <p:sldLayoutId id="2147483736" r:id="rId30"/>
    <p:sldLayoutId id="2147483737" r:id="rId31"/>
    <p:sldLayoutId id="2147483738" r:id="rId32"/>
    <p:sldLayoutId id="2147483739" r:id="rId33"/>
    <p:sldLayoutId id="2147483740" r:id="rId34"/>
    <p:sldLayoutId id="2147483741" r:id="rId35"/>
    <p:sldLayoutId id="2147483742" r:id="rId36"/>
    <p:sldLayoutId id="2147483743" r:id="rId37"/>
  </p:sldLayoutIdLst>
  <p:hf hdr="0" dt="0"/>
  <p:txStyles>
    <p:titleStyle>
      <a:lvl1pPr algn="l" defTabSz="914400" rtl="0" eaLnBrk="1" latinLnBrk="0" hangingPunct="1">
        <a:lnSpc>
          <a:spcPct val="90000"/>
        </a:lnSpc>
        <a:spcBef>
          <a:spcPct val="0"/>
        </a:spcBef>
        <a:buNone/>
        <a:defRPr sz="2400" kern="1200">
          <a:solidFill>
            <a:schemeClr val="accent2"/>
          </a:solidFill>
          <a:latin typeface="+mj-lt"/>
          <a:ea typeface="+mj-ea"/>
          <a:cs typeface="+mj-cs"/>
        </a:defRPr>
      </a:lvl1pPr>
    </p:titleStyle>
    <p:bodyStyle>
      <a:lvl1pPr marL="18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1pPr>
      <a:lvl2pPr marL="36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2pPr>
      <a:lvl3pPr marL="540000" indent="-180000" algn="l" defTabSz="914400" rtl="0" eaLnBrk="1" latinLnBrk="0" hangingPunct="1">
        <a:lnSpc>
          <a:spcPct val="100000"/>
        </a:lnSpc>
        <a:spcBef>
          <a:spcPts val="900"/>
        </a:spcBef>
        <a:buFont typeface="Wingdings" panose="05000000000000000000" pitchFamily="2" charset="2"/>
        <a:buChar char="§"/>
        <a:defRPr sz="1500" kern="1200">
          <a:solidFill>
            <a:schemeClr val="tx1"/>
          </a:solidFill>
          <a:latin typeface="+mn-lt"/>
          <a:ea typeface="+mn-ea"/>
          <a:cs typeface="+mn-cs"/>
        </a:defRPr>
      </a:lvl3pPr>
      <a:lvl4pPr marL="720000" indent="-180000" algn="l" defTabSz="914400" rtl="0" eaLnBrk="1" latinLnBrk="0" hangingPunct="1">
        <a:lnSpc>
          <a:spcPct val="100000"/>
        </a:lnSpc>
        <a:spcBef>
          <a:spcPts val="900"/>
        </a:spcBef>
        <a:buClr>
          <a:schemeClr val="tx1"/>
        </a:buClr>
        <a:buFont typeface="Courier New" panose="02070309020205020404" pitchFamily="49" charset="0"/>
        <a:buChar char="o"/>
        <a:defRPr sz="1500" kern="1200">
          <a:solidFill>
            <a:schemeClr val="tx1"/>
          </a:solidFill>
          <a:latin typeface="+mn-lt"/>
          <a:ea typeface="+mn-ea"/>
          <a:cs typeface="+mn-cs"/>
        </a:defRPr>
      </a:lvl4pPr>
      <a:lvl5pPr marL="900000" indent="-180000" algn="l" defTabSz="914400" rtl="0" eaLnBrk="1" latinLnBrk="0" hangingPunct="1">
        <a:lnSpc>
          <a:spcPct val="100000"/>
        </a:lnSpc>
        <a:spcBef>
          <a:spcPts val="900"/>
        </a:spcBef>
        <a:buClr>
          <a:schemeClr val="tx1"/>
        </a:buClr>
        <a:buFont typeface="Avenir Next LT Pro" panose="020B0504020202020204" pitchFamily="34" charset="0"/>
        <a:buChar char="–"/>
        <a:defRPr sz="1500" kern="1200">
          <a:solidFill>
            <a:schemeClr val="tx1"/>
          </a:solidFill>
          <a:latin typeface="+mn-lt"/>
          <a:ea typeface="+mn-ea"/>
          <a:cs typeface="+mn-cs"/>
        </a:defRPr>
      </a:lvl5pPr>
      <a:lvl6pPr marL="72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9FCC3B"/>
          </p15:clr>
        </p15:guide>
        <p15:guide id="2" pos="3840">
          <p15:clr>
            <a:srgbClr val="9FCC3B"/>
          </p15:clr>
        </p15:guide>
        <p15:guide id="3" pos="3795">
          <p15:clr>
            <a:srgbClr val="F26B43"/>
          </p15:clr>
        </p15:guide>
        <p15:guide id="4" pos="3296">
          <p15:clr>
            <a:srgbClr val="F26B43"/>
          </p15:clr>
        </p15:guide>
        <p15:guide id="5" pos="3205">
          <p15:clr>
            <a:srgbClr val="F26B43"/>
          </p15:clr>
        </p15:guide>
        <p15:guide id="6" pos="2706">
          <p15:clr>
            <a:srgbClr val="F26B43"/>
          </p15:clr>
        </p15:guide>
        <p15:guide id="7" pos="2615">
          <p15:clr>
            <a:srgbClr val="F26B43"/>
          </p15:clr>
        </p15:guide>
        <p15:guide id="8" pos="2116">
          <p15:clr>
            <a:srgbClr val="F26B43"/>
          </p15:clr>
        </p15:guide>
        <p15:guide id="9" pos="2026">
          <p15:clr>
            <a:srgbClr val="F26B43"/>
          </p15:clr>
        </p15:guide>
        <p15:guide id="10" pos="1527">
          <p15:clr>
            <a:srgbClr val="F26B43"/>
          </p15:clr>
        </p15:guide>
        <p15:guide id="11" pos="1436">
          <p15:clr>
            <a:srgbClr val="F26B43"/>
          </p15:clr>
        </p15:guide>
        <p15:guide id="12" pos="937">
          <p15:clr>
            <a:srgbClr val="F26B43"/>
          </p15:clr>
        </p15:guide>
        <p15:guide id="13" pos="846">
          <p15:clr>
            <a:srgbClr val="F26B43"/>
          </p15:clr>
        </p15:guide>
        <p15:guide id="14" pos="347">
          <p15:clr>
            <a:srgbClr val="9FCC3B"/>
          </p15:clr>
        </p15:guide>
        <p15:guide id="15" pos="3885">
          <p15:clr>
            <a:srgbClr val="F26B43"/>
          </p15:clr>
        </p15:guide>
        <p15:guide id="16" pos="4384">
          <p15:clr>
            <a:srgbClr val="F26B43"/>
          </p15:clr>
        </p15:guide>
        <p15:guide id="17" pos="4475">
          <p15:clr>
            <a:srgbClr val="F26B43"/>
          </p15:clr>
        </p15:guide>
        <p15:guide id="18" pos="4974">
          <p15:clr>
            <a:srgbClr val="F26B43"/>
          </p15:clr>
        </p15:guide>
        <p15:guide id="19" pos="5065">
          <p15:clr>
            <a:srgbClr val="F26B43"/>
          </p15:clr>
        </p15:guide>
        <p15:guide id="20" pos="5564">
          <p15:clr>
            <a:srgbClr val="F26B43"/>
          </p15:clr>
        </p15:guide>
        <p15:guide id="21" pos="5654">
          <p15:clr>
            <a:srgbClr val="F26B43"/>
          </p15:clr>
        </p15:guide>
        <p15:guide id="22" pos="6153">
          <p15:clr>
            <a:srgbClr val="F26B43"/>
          </p15:clr>
        </p15:guide>
        <p15:guide id="23" pos="6244">
          <p15:clr>
            <a:srgbClr val="F26B43"/>
          </p15:clr>
        </p15:guide>
        <p15:guide id="24" pos="6743">
          <p15:clr>
            <a:srgbClr val="F26B43"/>
          </p15:clr>
        </p15:guide>
        <p15:guide id="25" pos="6834">
          <p15:clr>
            <a:srgbClr val="F26B43"/>
          </p15:clr>
        </p15:guide>
        <p15:guide id="26" pos="7333">
          <p15:clr>
            <a:srgbClr val="9FCC3B"/>
          </p15:clr>
        </p15:guide>
        <p15:guide id="35" orient="horz" pos="1139">
          <p15:clr>
            <a:srgbClr val="F26B43"/>
          </p15:clr>
        </p15:guide>
        <p15:guide id="41" orient="horz" pos="119">
          <p15:clr>
            <a:srgbClr val="9FCC3B"/>
          </p15:clr>
        </p15:guide>
        <p15:guide id="55" orient="horz" pos="3974">
          <p15:clr>
            <a:srgbClr val="F26B43"/>
          </p15:clr>
        </p15:guide>
        <p15:guide id="59" orient="horz" pos="4201">
          <p15:clr>
            <a:srgbClr val="9FCC3B"/>
          </p15:clr>
        </p15:guide>
        <p15:guide id="60" orient="horz" pos="459">
          <p15:clr>
            <a:srgbClr val="F26B43"/>
          </p15:clr>
        </p15:guide>
        <p15:guide id="62" orient="horz" pos="23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2D1B4D6-09F5-E479-2AED-EDE0974FF279}"/>
              </a:ext>
            </a:extLst>
          </p:cNvPr>
          <p:cNvSpPr>
            <a:spLocks noGrp="1"/>
          </p:cNvSpPr>
          <p:nvPr>
            <p:ph type="title"/>
          </p:nvPr>
        </p:nvSpPr>
        <p:spPr>
          <a:xfrm>
            <a:off x="550864" y="368828"/>
            <a:ext cx="7345362" cy="309766"/>
          </a:xfrm>
          <a:prstGeom prst="rect">
            <a:avLst/>
          </a:prstGeom>
        </p:spPr>
        <p:txBody>
          <a:bodyPr vert="horz" lIns="0" tIns="0" rIns="0" bIns="0" rtlCol="0" anchor="t" anchorCtr="0">
            <a:noAutofit/>
          </a:bodyPr>
          <a:lstStyle/>
          <a:p>
            <a:r>
              <a:rPr lang="en-US"/>
              <a:t>Header avenir demi 24pt</a:t>
            </a:r>
            <a:endParaRPr lang="en-GB"/>
          </a:p>
        </p:txBody>
      </p:sp>
      <p:sp>
        <p:nvSpPr>
          <p:cNvPr id="3" name="Text Placeholder 2">
            <a:extLst>
              <a:ext uri="{FF2B5EF4-FFF2-40B4-BE49-F238E27FC236}">
                <a16:creationId xmlns:a16="http://schemas.microsoft.com/office/drawing/2014/main" id="{5C1B50FF-FF35-77A6-3E05-3419EB2868DE}"/>
              </a:ext>
              <a:ext uri="{C183D7F6-B498-43B3-948B-1728B52AA6E4}">
                <adec:decorative xmlns:adec="http://schemas.microsoft.com/office/drawing/2017/decorative" val="0"/>
              </a:ext>
            </a:extLst>
          </p:cNvPr>
          <p:cNvSpPr>
            <a:spLocks noGrp="1"/>
          </p:cNvSpPr>
          <p:nvPr>
            <p:ph type="body" idx="1"/>
          </p:nvPr>
        </p:nvSpPr>
        <p:spPr>
          <a:xfrm>
            <a:off x="550864" y="1808163"/>
            <a:ext cx="3600449" cy="432117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p:txBody>
      </p:sp>
      <p:pic>
        <p:nvPicPr>
          <p:cNvPr id="4" name="Graphic 3">
            <a:extLst>
              <a:ext uri="{FF2B5EF4-FFF2-40B4-BE49-F238E27FC236}">
                <a16:creationId xmlns:a16="http://schemas.microsoft.com/office/drawing/2014/main" id="{21AB4EAE-82CC-6BB0-4194-18B93B5EF772}"/>
              </a:ext>
            </a:extLst>
          </p:cNvPr>
          <p:cNvPicPr>
            <a:picLocks noChangeAspect="1"/>
          </p:cNvPicPr>
          <p:nvPr userDrawn="1"/>
        </p:nvPicPr>
        <p:blipFill>
          <a:blip r:embed="rId50">
            <a:extLst>
              <a:ext uri="{96DAC541-7B7A-43D3-8B79-37D633B846F1}">
                <asvg:svgBlip xmlns:asvg="http://schemas.microsoft.com/office/drawing/2016/SVG/main" r:embed="rId51"/>
              </a:ext>
            </a:extLst>
          </a:blip>
          <a:srcRect l="9263" t="23870" r="9262" b="23680"/>
          <a:stretch/>
        </p:blipFill>
        <p:spPr>
          <a:xfrm>
            <a:off x="550863" y="6329363"/>
            <a:ext cx="1296000" cy="254793"/>
          </a:xfrm>
          <a:prstGeom prst="rect">
            <a:avLst/>
          </a:prstGeom>
        </p:spPr>
      </p:pic>
      <p:sp>
        <p:nvSpPr>
          <p:cNvPr id="5" name="Footer Placeholder 4">
            <a:extLst>
              <a:ext uri="{FF2B5EF4-FFF2-40B4-BE49-F238E27FC236}">
                <a16:creationId xmlns:a16="http://schemas.microsoft.com/office/drawing/2014/main" id="{6667196C-25D5-C3B8-0D57-612FAF9C5C56}"/>
              </a:ext>
              <a:ext uri="{C183D7F6-B498-43B3-948B-1728B52AA6E4}">
                <adec:decorative xmlns:adec="http://schemas.microsoft.com/office/drawing/2017/decorative" val="1"/>
              </a:ext>
            </a:extLst>
          </p:cNvPr>
          <p:cNvSpPr>
            <a:spLocks noGrp="1"/>
          </p:cNvSpPr>
          <p:nvPr>
            <p:ph type="ftr" sz="quarter" idx="3"/>
          </p:nvPr>
        </p:nvSpPr>
        <p:spPr>
          <a:xfrm>
            <a:off x="8040688" y="6348353"/>
            <a:ext cx="3292473" cy="215901"/>
          </a:xfrm>
          <a:prstGeom prst="rect">
            <a:avLst/>
          </a:prstGeom>
        </p:spPr>
        <p:txBody>
          <a:bodyPr vert="horz" lIns="0" tIns="0" rIns="0" bIns="0" rtlCol="0" anchor="ctr"/>
          <a:lstStyle>
            <a:lvl1pPr algn="r">
              <a:defRPr sz="900">
                <a:solidFill>
                  <a:schemeClr val="tx1"/>
                </a:solidFill>
              </a:defRPr>
            </a:lvl1pPr>
          </a:lstStyle>
          <a:p>
            <a:r>
              <a:rPr lang="en-US"/>
              <a:t>© 2025 Clarivate. All rights reserved.</a:t>
            </a:r>
          </a:p>
        </p:txBody>
      </p:sp>
      <p:sp>
        <p:nvSpPr>
          <p:cNvPr id="6" name="Slide Number Placeholder 5">
            <a:extLst>
              <a:ext uri="{FF2B5EF4-FFF2-40B4-BE49-F238E27FC236}">
                <a16:creationId xmlns:a16="http://schemas.microsoft.com/office/drawing/2014/main" id="{06A1DE54-54E0-3EB1-4173-FB5DCE9D7614}"/>
              </a:ext>
              <a:ext uri="{C183D7F6-B498-43B3-948B-1728B52AA6E4}">
                <adec:decorative xmlns:adec="http://schemas.microsoft.com/office/drawing/2017/decorative" val="1"/>
              </a:ext>
            </a:extLst>
          </p:cNvPr>
          <p:cNvSpPr>
            <a:spLocks noGrp="1"/>
          </p:cNvSpPr>
          <p:nvPr>
            <p:ph type="sldNum" sz="quarter" idx="4"/>
          </p:nvPr>
        </p:nvSpPr>
        <p:spPr>
          <a:xfrm>
            <a:off x="11507792" y="6348353"/>
            <a:ext cx="216000" cy="215900"/>
          </a:xfrm>
          <a:prstGeom prst="rect">
            <a:avLst/>
          </a:prstGeom>
        </p:spPr>
        <p:txBody>
          <a:bodyPr vert="horz" lIns="0" tIns="0" rIns="0" bIns="0" rtlCol="0" anchor="ctr"/>
          <a:lstStyle>
            <a:lvl1pPr algn="l">
              <a:defRPr sz="900">
                <a:solidFill>
                  <a:schemeClr val="tx1"/>
                </a:solidFill>
                <a:latin typeface="+mn-lt"/>
              </a:defRPr>
            </a:lvl1pPr>
          </a:lstStyle>
          <a:p>
            <a:fld id="{F59CD943-D024-467A-B36E-F11E1285ED75}" type="slidenum">
              <a:rPr lang="en-GB" smtClean="0"/>
              <a:pPr/>
              <a:t>‹#›</a:t>
            </a:fld>
            <a:endParaRPr lang="en-GB"/>
          </a:p>
        </p:txBody>
      </p:sp>
    </p:spTree>
    <p:extLst>
      <p:ext uri="{BB962C8B-B14F-4D97-AF65-F5344CB8AC3E}">
        <p14:creationId xmlns:p14="http://schemas.microsoft.com/office/powerpoint/2010/main" val="585177736"/>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7" r:id="rId13"/>
    <p:sldLayoutId id="2147483758" r:id="rId14"/>
    <p:sldLayoutId id="2147483759" r:id="rId15"/>
    <p:sldLayoutId id="2147483760" r:id="rId16"/>
    <p:sldLayoutId id="2147483761" r:id="rId17"/>
    <p:sldLayoutId id="2147483762" r:id="rId18"/>
    <p:sldLayoutId id="2147483763" r:id="rId19"/>
    <p:sldLayoutId id="2147483764" r:id="rId20"/>
    <p:sldLayoutId id="2147483765" r:id="rId21"/>
    <p:sldLayoutId id="2147483766" r:id="rId22"/>
    <p:sldLayoutId id="2147483767" r:id="rId23"/>
    <p:sldLayoutId id="2147483768" r:id="rId24"/>
    <p:sldLayoutId id="2147483769" r:id="rId25"/>
    <p:sldLayoutId id="2147483770" r:id="rId26"/>
    <p:sldLayoutId id="2147483771" r:id="rId27"/>
    <p:sldLayoutId id="2147483772" r:id="rId28"/>
    <p:sldLayoutId id="2147483773" r:id="rId29"/>
    <p:sldLayoutId id="2147483774" r:id="rId30"/>
    <p:sldLayoutId id="2147483775" r:id="rId31"/>
    <p:sldLayoutId id="2147483776" r:id="rId32"/>
    <p:sldLayoutId id="2147483777" r:id="rId33"/>
    <p:sldLayoutId id="2147483778" r:id="rId34"/>
    <p:sldLayoutId id="2147483779" r:id="rId35"/>
    <p:sldLayoutId id="2147483780" r:id="rId36"/>
    <p:sldLayoutId id="2147483781" r:id="rId37"/>
    <p:sldLayoutId id="2147483782" r:id="rId38"/>
    <p:sldLayoutId id="2147483783" r:id="rId39"/>
    <p:sldLayoutId id="2147483784" r:id="rId40"/>
    <p:sldLayoutId id="2147483785" r:id="rId41"/>
    <p:sldLayoutId id="2147483786" r:id="rId42"/>
    <p:sldLayoutId id="2147483787" r:id="rId43"/>
    <p:sldLayoutId id="2147483788" r:id="rId44"/>
    <p:sldLayoutId id="2147483789" r:id="rId45"/>
    <p:sldLayoutId id="2147483790" r:id="rId46"/>
    <p:sldLayoutId id="2147483791" r:id="rId47"/>
    <p:sldLayoutId id="2147483792" r:id="rId48"/>
  </p:sldLayoutIdLst>
  <p:hf hdr="0" dt="0"/>
  <p:txStyles>
    <p:titleStyle>
      <a:lvl1pPr algn="l" defTabSz="914400" rtl="0" eaLnBrk="1" latinLnBrk="0" hangingPunct="1">
        <a:lnSpc>
          <a:spcPct val="90000"/>
        </a:lnSpc>
        <a:spcBef>
          <a:spcPct val="0"/>
        </a:spcBef>
        <a:buNone/>
        <a:defRPr sz="2400" kern="1200">
          <a:solidFill>
            <a:schemeClr val="accent2"/>
          </a:solidFill>
          <a:latin typeface="+mj-lt"/>
          <a:ea typeface="+mj-ea"/>
          <a:cs typeface="+mj-cs"/>
        </a:defRPr>
      </a:lvl1pPr>
    </p:titleStyle>
    <p:bodyStyle>
      <a:lvl1pPr marL="18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1pPr>
      <a:lvl2pPr marL="36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2pPr>
      <a:lvl3pPr marL="540000" indent="-180000" algn="l" defTabSz="914400" rtl="0" eaLnBrk="1" latinLnBrk="0" hangingPunct="1">
        <a:lnSpc>
          <a:spcPct val="100000"/>
        </a:lnSpc>
        <a:spcBef>
          <a:spcPts val="900"/>
        </a:spcBef>
        <a:buFont typeface="Wingdings" panose="05000000000000000000" pitchFamily="2" charset="2"/>
        <a:buChar char="§"/>
        <a:defRPr sz="1500" kern="1200">
          <a:solidFill>
            <a:schemeClr val="tx1"/>
          </a:solidFill>
          <a:latin typeface="+mn-lt"/>
          <a:ea typeface="+mn-ea"/>
          <a:cs typeface="+mn-cs"/>
        </a:defRPr>
      </a:lvl3pPr>
      <a:lvl4pPr marL="720000" indent="-180000" algn="l" defTabSz="914400" rtl="0" eaLnBrk="1" latinLnBrk="0" hangingPunct="1">
        <a:lnSpc>
          <a:spcPct val="100000"/>
        </a:lnSpc>
        <a:spcBef>
          <a:spcPts val="900"/>
        </a:spcBef>
        <a:buClr>
          <a:schemeClr val="tx1"/>
        </a:buClr>
        <a:buFont typeface="Courier New" panose="02070309020205020404" pitchFamily="49" charset="0"/>
        <a:buChar char="o"/>
        <a:defRPr sz="1500" kern="1200">
          <a:solidFill>
            <a:schemeClr val="tx1"/>
          </a:solidFill>
          <a:latin typeface="+mn-lt"/>
          <a:ea typeface="+mn-ea"/>
          <a:cs typeface="+mn-cs"/>
        </a:defRPr>
      </a:lvl4pPr>
      <a:lvl5pPr marL="900000" indent="-180000" algn="l" defTabSz="914400" rtl="0" eaLnBrk="1" latinLnBrk="0" hangingPunct="1">
        <a:lnSpc>
          <a:spcPct val="100000"/>
        </a:lnSpc>
        <a:spcBef>
          <a:spcPts val="900"/>
        </a:spcBef>
        <a:buClr>
          <a:schemeClr val="tx1"/>
        </a:buClr>
        <a:buFont typeface="Avenir Next LT Pro" panose="020B0504020202020204" pitchFamily="34" charset="0"/>
        <a:buChar char="–"/>
        <a:defRPr sz="1500" kern="1200">
          <a:solidFill>
            <a:schemeClr val="tx1"/>
          </a:solidFill>
          <a:latin typeface="+mn-lt"/>
          <a:ea typeface="+mn-ea"/>
          <a:cs typeface="+mn-cs"/>
        </a:defRPr>
      </a:lvl5pPr>
      <a:lvl6pPr marL="72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9FCC3B"/>
          </p15:clr>
        </p15:guide>
        <p15:guide id="2" pos="3840">
          <p15:clr>
            <a:srgbClr val="9FCC3B"/>
          </p15:clr>
        </p15:guide>
        <p15:guide id="3" pos="3795">
          <p15:clr>
            <a:srgbClr val="F26B43"/>
          </p15:clr>
        </p15:guide>
        <p15:guide id="4" pos="3296">
          <p15:clr>
            <a:srgbClr val="F26B43"/>
          </p15:clr>
        </p15:guide>
        <p15:guide id="5" pos="3205">
          <p15:clr>
            <a:srgbClr val="F26B43"/>
          </p15:clr>
        </p15:guide>
        <p15:guide id="6" pos="2706">
          <p15:clr>
            <a:srgbClr val="F26B43"/>
          </p15:clr>
        </p15:guide>
        <p15:guide id="7" pos="2615">
          <p15:clr>
            <a:srgbClr val="F26B43"/>
          </p15:clr>
        </p15:guide>
        <p15:guide id="8" pos="2116">
          <p15:clr>
            <a:srgbClr val="F26B43"/>
          </p15:clr>
        </p15:guide>
        <p15:guide id="9" pos="2026">
          <p15:clr>
            <a:srgbClr val="F26B43"/>
          </p15:clr>
        </p15:guide>
        <p15:guide id="10" pos="1527">
          <p15:clr>
            <a:srgbClr val="F26B43"/>
          </p15:clr>
        </p15:guide>
        <p15:guide id="11" pos="1436">
          <p15:clr>
            <a:srgbClr val="F26B43"/>
          </p15:clr>
        </p15:guide>
        <p15:guide id="12" pos="937">
          <p15:clr>
            <a:srgbClr val="F26B43"/>
          </p15:clr>
        </p15:guide>
        <p15:guide id="13" pos="846">
          <p15:clr>
            <a:srgbClr val="F26B43"/>
          </p15:clr>
        </p15:guide>
        <p15:guide id="14" pos="347">
          <p15:clr>
            <a:srgbClr val="9FCC3B"/>
          </p15:clr>
        </p15:guide>
        <p15:guide id="15" pos="3885">
          <p15:clr>
            <a:srgbClr val="F26B43"/>
          </p15:clr>
        </p15:guide>
        <p15:guide id="16" pos="4384">
          <p15:clr>
            <a:srgbClr val="F26B43"/>
          </p15:clr>
        </p15:guide>
        <p15:guide id="17" pos="4475">
          <p15:clr>
            <a:srgbClr val="F26B43"/>
          </p15:clr>
        </p15:guide>
        <p15:guide id="18" pos="4974">
          <p15:clr>
            <a:srgbClr val="F26B43"/>
          </p15:clr>
        </p15:guide>
        <p15:guide id="19" pos="5065">
          <p15:clr>
            <a:srgbClr val="F26B43"/>
          </p15:clr>
        </p15:guide>
        <p15:guide id="20" pos="5564">
          <p15:clr>
            <a:srgbClr val="F26B43"/>
          </p15:clr>
        </p15:guide>
        <p15:guide id="21" pos="5654">
          <p15:clr>
            <a:srgbClr val="F26B43"/>
          </p15:clr>
        </p15:guide>
        <p15:guide id="22" pos="6153">
          <p15:clr>
            <a:srgbClr val="F26B43"/>
          </p15:clr>
        </p15:guide>
        <p15:guide id="23" pos="6244">
          <p15:clr>
            <a:srgbClr val="F26B43"/>
          </p15:clr>
        </p15:guide>
        <p15:guide id="24" pos="6743">
          <p15:clr>
            <a:srgbClr val="F26B43"/>
          </p15:clr>
        </p15:guide>
        <p15:guide id="25" pos="6834">
          <p15:clr>
            <a:srgbClr val="F26B43"/>
          </p15:clr>
        </p15:guide>
        <p15:guide id="26" pos="7333">
          <p15:clr>
            <a:srgbClr val="9FCC3B"/>
          </p15:clr>
        </p15:guide>
        <p15:guide id="35" orient="horz" pos="1139">
          <p15:clr>
            <a:srgbClr val="F26B43"/>
          </p15:clr>
        </p15:guide>
        <p15:guide id="41" orient="horz" pos="119">
          <p15:clr>
            <a:srgbClr val="9FCC3B"/>
          </p15:clr>
        </p15:guide>
        <p15:guide id="55" orient="horz" pos="3974">
          <p15:clr>
            <a:srgbClr val="F26B43"/>
          </p15:clr>
        </p15:guide>
        <p15:guide id="59" orient="horz" pos="4201">
          <p15:clr>
            <a:srgbClr val="9FCC3B"/>
          </p15:clr>
        </p15:guide>
        <p15:guide id="60" orient="horz" pos="459">
          <p15:clr>
            <a:srgbClr val="F26B43"/>
          </p15:clr>
        </p15:guide>
        <p15:guide id="62" orient="horz" pos="232">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2D1B4D6-09F5-E479-2AED-EDE0974FF279}"/>
              </a:ext>
            </a:extLst>
          </p:cNvPr>
          <p:cNvSpPr>
            <a:spLocks noGrp="1"/>
          </p:cNvSpPr>
          <p:nvPr>
            <p:ph type="title"/>
          </p:nvPr>
        </p:nvSpPr>
        <p:spPr>
          <a:xfrm>
            <a:off x="550864" y="368828"/>
            <a:ext cx="7345362" cy="309766"/>
          </a:xfrm>
          <a:prstGeom prst="rect">
            <a:avLst/>
          </a:prstGeom>
        </p:spPr>
        <p:txBody>
          <a:bodyPr vert="horz" lIns="0" tIns="0" rIns="0" bIns="0" rtlCol="0" anchor="t" anchorCtr="0">
            <a:noAutofit/>
          </a:bodyPr>
          <a:lstStyle/>
          <a:p>
            <a:r>
              <a:rPr lang="en-US"/>
              <a:t>Header avenir demi 24pt</a:t>
            </a:r>
            <a:endParaRPr lang="en-GB"/>
          </a:p>
        </p:txBody>
      </p:sp>
      <p:sp>
        <p:nvSpPr>
          <p:cNvPr id="3" name="Text Placeholder 2">
            <a:extLst>
              <a:ext uri="{FF2B5EF4-FFF2-40B4-BE49-F238E27FC236}">
                <a16:creationId xmlns:a16="http://schemas.microsoft.com/office/drawing/2014/main" id="{5C1B50FF-FF35-77A6-3E05-3419EB2868DE}"/>
              </a:ext>
              <a:ext uri="{C183D7F6-B498-43B3-948B-1728B52AA6E4}">
                <adec:decorative xmlns:adec="http://schemas.microsoft.com/office/drawing/2017/decorative" val="0"/>
              </a:ext>
            </a:extLst>
          </p:cNvPr>
          <p:cNvSpPr>
            <a:spLocks noGrp="1"/>
          </p:cNvSpPr>
          <p:nvPr>
            <p:ph type="body" idx="1"/>
          </p:nvPr>
        </p:nvSpPr>
        <p:spPr>
          <a:xfrm>
            <a:off x="550864" y="1808163"/>
            <a:ext cx="3600449" cy="432117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p:txBody>
      </p:sp>
      <p:pic>
        <p:nvPicPr>
          <p:cNvPr id="4" name="Graphic 3">
            <a:extLst>
              <a:ext uri="{FF2B5EF4-FFF2-40B4-BE49-F238E27FC236}">
                <a16:creationId xmlns:a16="http://schemas.microsoft.com/office/drawing/2014/main" id="{21AB4EAE-82CC-6BB0-4194-18B93B5EF772}"/>
              </a:ext>
            </a:extLst>
          </p:cNvPr>
          <p:cNvPicPr>
            <a:picLocks noChangeAspect="1"/>
          </p:cNvPicPr>
          <p:nvPr userDrawn="1"/>
        </p:nvPicPr>
        <p:blipFill>
          <a:blip r:embed="rId46">
            <a:extLst>
              <a:ext uri="{96DAC541-7B7A-43D3-8B79-37D633B846F1}">
                <asvg:svgBlip xmlns:asvg="http://schemas.microsoft.com/office/drawing/2016/SVG/main" r:embed="rId47"/>
              </a:ext>
            </a:extLst>
          </a:blip>
          <a:srcRect l="9263" t="23870" r="9262" b="23680"/>
          <a:stretch/>
        </p:blipFill>
        <p:spPr>
          <a:xfrm>
            <a:off x="550863" y="6329363"/>
            <a:ext cx="1296000" cy="254793"/>
          </a:xfrm>
          <a:prstGeom prst="rect">
            <a:avLst/>
          </a:prstGeom>
        </p:spPr>
      </p:pic>
      <p:sp>
        <p:nvSpPr>
          <p:cNvPr id="5" name="Footer Placeholder 4">
            <a:extLst>
              <a:ext uri="{FF2B5EF4-FFF2-40B4-BE49-F238E27FC236}">
                <a16:creationId xmlns:a16="http://schemas.microsoft.com/office/drawing/2014/main" id="{6667196C-25D5-C3B8-0D57-612FAF9C5C56}"/>
              </a:ext>
              <a:ext uri="{C183D7F6-B498-43B3-948B-1728B52AA6E4}">
                <adec:decorative xmlns:adec="http://schemas.microsoft.com/office/drawing/2017/decorative" val="1"/>
              </a:ext>
            </a:extLst>
          </p:cNvPr>
          <p:cNvSpPr>
            <a:spLocks noGrp="1"/>
          </p:cNvSpPr>
          <p:nvPr>
            <p:ph type="ftr" sz="quarter" idx="3"/>
          </p:nvPr>
        </p:nvSpPr>
        <p:spPr>
          <a:xfrm>
            <a:off x="8040688" y="6348353"/>
            <a:ext cx="3292473" cy="215901"/>
          </a:xfrm>
          <a:prstGeom prst="rect">
            <a:avLst/>
          </a:prstGeom>
        </p:spPr>
        <p:txBody>
          <a:bodyPr vert="horz" lIns="0" tIns="0" rIns="0" bIns="0" rtlCol="0" anchor="ctr"/>
          <a:lstStyle>
            <a:lvl1pPr algn="r">
              <a:defRPr sz="900">
                <a:solidFill>
                  <a:schemeClr val="tx1"/>
                </a:solidFill>
              </a:defRPr>
            </a:lvl1pPr>
          </a:lstStyle>
          <a:p>
            <a:r>
              <a:rPr lang="en-US"/>
              <a:t>© 2025 Clarivate. All rights reserved.</a:t>
            </a:r>
          </a:p>
        </p:txBody>
      </p:sp>
      <p:sp>
        <p:nvSpPr>
          <p:cNvPr id="6" name="Slide Number Placeholder 5">
            <a:extLst>
              <a:ext uri="{FF2B5EF4-FFF2-40B4-BE49-F238E27FC236}">
                <a16:creationId xmlns:a16="http://schemas.microsoft.com/office/drawing/2014/main" id="{06A1DE54-54E0-3EB1-4173-FB5DCE9D7614}"/>
              </a:ext>
              <a:ext uri="{C183D7F6-B498-43B3-948B-1728B52AA6E4}">
                <adec:decorative xmlns:adec="http://schemas.microsoft.com/office/drawing/2017/decorative" val="1"/>
              </a:ext>
            </a:extLst>
          </p:cNvPr>
          <p:cNvSpPr>
            <a:spLocks noGrp="1"/>
          </p:cNvSpPr>
          <p:nvPr>
            <p:ph type="sldNum" sz="quarter" idx="4"/>
          </p:nvPr>
        </p:nvSpPr>
        <p:spPr>
          <a:xfrm>
            <a:off x="11507792" y="6348353"/>
            <a:ext cx="216000" cy="215900"/>
          </a:xfrm>
          <a:prstGeom prst="rect">
            <a:avLst/>
          </a:prstGeom>
        </p:spPr>
        <p:txBody>
          <a:bodyPr vert="horz" lIns="0" tIns="0" rIns="0" bIns="0" rtlCol="0" anchor="ctr"/>
          <a:lstStyle>
            <a:lvl1pPr algn="l">
              <a:defRPr sz="900">
                <a:solidFill>
                  <a:schemeClr val="tx1"/>
                </a:solidFill>
                <a:latin typeface="+mn-lt"/>
              </a:defRPr>
            </a:lvl1pPr>
          </a:lstStyle>
          <a:p>
            <a:fld id="{F59CD943-D024-467A-B36E-F11E1285ED75}" type="slidenum">
              <a:rPr lang="en-GB" smtClean="0"/>
              <a:pPr/>
              <a:t>‹#›</a:t>
            </a:fld>
            <a:endParaRPr lang="en-GB"/>
          </a:p>
        </p:txBody>
      </p:sp>
    </p:spTree>
    <p:extLst>
      <p:ext uri="{BB962C8B-B14F-4D97-AF65-F5344CB8AC3E}">
        <p14:creationId xmlns:p14="http://schemas.microsoft.com/office/powerpoint/2010/main" val="3331465178"/>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 id="2147483805" r:id="rId12"/>
    <p:sldLayoutId id="2147483806" r:id="rId13"/>
    <p:sldLayoutId id="2147483807" r:id="rId14"/>
    <p:sldLayoutId id="2147483808" r:id="rId15"/>
    <p:sldLayoutId id="2147483809" r:id="rId16"/>
    <p:sldLayoutId id="2147483810" r:id="rId17"/>
    <p:sldLayoutId id="2147483811" r:id="rId18"/>
    <p:sldLayoutId id="2147483812" r:id="rId19"/>
    <p:sldLayoutId id="2147483813" r:id="rId20"/>
    <p:sldLayoutId id="2147483814" r:id="rId21"/>
    <p:sldLayoutId id="2147483815" r:id="rId22"/>
    <p:sldLayoutId id="2147483816" r:id="rId23"/>
    <p:sldLayoutId id="2147483817" r:id="rId24"/>
    <p:sldLayoutId id="2147483818" r:id="rId25"/>
    <p:sldLayoutId id="2147483819" r:id="rId26"/>
    <p:sldLayoutId id="2147483820" r:id="rId27"/>
    <p:sldLayoutId id="2147483821" r:id="rId28"/>
    <p:sldLayoutId id="2147483822" r:id="rId29"/>
    <p:sldLayoutId id="2147483823" r:id="rId30"/>
    <p:sldLayoutId id="2147483824" r:id="rId31"/>
    <p:sldLayoutId id="2147483825" r:id="rId32"/>
    <p:sldLayoutId id="2147483826" r:id="rId33"/>
    <p:sldLayoutId id="2147483827" r:id="rId34"/>
    <p:sldLayoutId id="2147483828" r:id="rId35"/>
    <p:sldLayoutId id="2147483829" r:id="rId36"/>
    <p:sldLayoutId id="2147483830" r:id="rId37"/>
    <p:sldLayoutId id="2147483831" r:id="rId38"/>
    <p:sldLayoutId id="2147483832" r:id="rId39"/>
    <p:sldLayoutId id="2147483833" r:id="rId40"/>
    <p:sldLayoutId id="2147483834" r:id="rId41"/>
    <p:sldLayoutId id="2147483835" r:id="rId42"/>
    <p:sldLayoutId id="2147483836" r:id="rId43"/>
    <p:sldLayoutId id="2147483837" r:id="rId44"/>
  </p:sldLayoutIdLst>
  <p:hf hdr="0" dt="0"/>
  <p:txStyles>
    <p:titleStyle>
      <a:lvl1pPr algn="l" defTabSz="914400" rtl="0" eaLnBrk="1" latinLnBrk="0" hangingPunct="1">
        <a:lnSpc>
          <a:spcPct val="90000"/>
        </a:lnSpc>
        <a:spcBef>
          <a:spcPct val="0"/>
        </a:spcBef>
        <a:buNone/>
        <a:defRPr sz="2400" kern="1200">
          <a:solidFill>
            <a:schemeClr val="accent2"/>
          </a:solidFill>
          <a:latin typeface="+mj-lt"/>
          <a:ea typeface="+mj-ea"/>
          <a:cs typeface="+mj-cs"/>
        </a:defRPr>
      </a:lvl1pPr>
    </p:titleStyle>
    <p:bodyStyle>
      <a:lvl1pPr marL="18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1pPr>
      <a:lvl2pPr marL="36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2pPr>
      <a:lvl3pPr marL="540000" indent="-180000" algn="l" defTabSz="914400" rtl="0" eaLnBrk="1" latinLnBrk="0" hangingPunct="1">
        <a:lnSpc>
          <a:spcPct val="100000"/>
        </a:lnSpc>
        <a:spcBef>
          <a:spcPts val="900"/>
        </a:spcBef>
        <a:buFont typeface="Wingdings" panose="05000000000000000000" pitchFamily="2" charset="2"/>
        <a:buChar char="§"/>
        <a:defRPr sz="1500" kern="1200">
          <a:solidFill>
            <a:schemeClr val="tx1"/>
          </a:solidFill>
          <a:latin typeface="+mn-lt"/>
          <a:ea typeface="+mn-ea"/>
          <a:cs typeface="+mn-cs"/>
        </a:defRPr>
      </a:lvl3pPr>
      <a:lvl4pPr marL="720000" indent="-180000" algn="l" defTabSz="914400" rtl="0" eaLnBrk="1" latinLnBrk="0" hangingPunct="1">
        <a:lnSpc>
          <a:spcPct val="100000"/>
        </a:lnSpc>
        <a:spcBef>
          <a:spcPts val="900"/>
        </a:spcBef>
        <a:buClr>
          <a:schemeClr val="tx1"/>
        </a:buClr>
        <a:buFont typeface="Courier New" panose="02070309020205020404" pitchFamily="49" charset="0"/>
        <a:buChar char="o"/>
        <a:defRPr sz="1500" kern="1200">
          <a:solidFill>
            <a:schemeClr val="tx1"/>
          </a:solidFill>
          <a:latin typeface="+mn-lt"/>
          <a:ea typeface="+mn-ea"/>
          <a:cs typeface="+mn-cs"/>
        </a:defRPr>
      </a:lvl4pPr>
      <a:lvl5pPr marL="900000" indent="-180000" algn="l" defTabSz="914400" rtl="0" eaLnBrk="1" latinLnBrk="0" hangingPunct="1">
        <a:lnSpc>
          <a:spcPct val="100000"/>
        </a:lnSpc>
        <a:spcBef>
          <a:spcPts val="900"/>
        </a:spcBef>
        <a:buClr>
          <a:schemeClr val="tx1"/>
        </a:buClr>
        <a:buFont typeface="Avenir Next LT Pro" panose="020B0504020202020204" pitchFamily="34" charset="0"/>
        <a:buChar char="–"/>
        <a:defRPr sz="1500" kern="1200">
          <a:solidFill>
            <a:schemeClr val="tx1"/>
          </a:solidFill>
          <a:latin typeface="+mn-lt"/>
          <a:ea typeface="+mn-ea"/>
          <a:cs typeface="+mn-cs"/>
        </a:defRPr>
      </a:lvl5pPr>
      <a:lvl6pPr marL="72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9FCC3B"/>
          </p15:clr>
        </p15:guide>
        <p15:guide id="2" pos="3840">
          <p15:clr>
            <a:srgbClr val="9FCC3B"/>
          </p15:clr>
        </p15:guide>
        <p15:guide id="3" pos="3795">
          <p15:clr>
            <a:srgbClr val="F26B43"/>
          </p15:clr>
        </p15:guide>
        <p15:guide id="4" pos="3296">
          <p15:clr>
            <a:srgbClr val="F26B43"/>
          </p15:clr>
        </p15:guide>
        <p15:guide id="5" pos="3205">
          <p15:clr>
            <a:srgbClr val="F26B43"/>
          </p15:clr>
        </p15:guide>
        <p15:guide id="6" pos="2706">
          <p15:clr>
            <a:srgbClr val="F26B43"/>
          </p15:clr>
        </p15:guide>
        <p15:guide id="7" pos="2615">
          <p15:clr>
            <a:srgbClr val="F26B43"/>
          </p15:clr>
        </p15:guide>
        <p15:guide id="8" pos="2116">
          <p15:clr>
            <a:srgbClr val="F26B43"/>
          </p15:clr>
        </p15:guide>
        <p15:guide id="9" pos="2026">
          <p15:clr>
            <a:srgbClr val="F26B43"/>
          </p15:clr>
        </p15:guide>
        <p15:guide id="10" pos="1527">
          <p15:clr>
            <a:srgbClr val="F26B43"/>
          </p15:clr>
        </p15:guide>
        <p15:guide id="11" pos="1436">
          <p15:clr>
            <a:srgbClr val="F26B43"/>
          </p15:clr>
        </p15:guide>
        <p15:guide id="12" pos="937">
          <p15:clr>
            <a:srgbClr val="F26B43"/>
          </p15:clr>
        </p15:guide>
        <p15:guide id="13" pos="846">
          <p15:clr>
            <a:srgbClr val="F26B43"/>
          </p15:clr>
        </p15:guide>
        <p15:guide id="14" pos="347">
          <p15:clr>
            <a:srgbClr val="9FCC3B"/>
          </p15:clr>
        </p15:guide>
        <p15:guide id="15" pos="3885">
          <p15:clr>
            <a:srgbClr val="F26B43"/>
          </p15:clr>
        </p15:guide>
        <p15:guide id="16" pos="4384">
          <p15:clr>
            <a:srgbClr val="F26B43"/>
          </p15:clr>
        </p15:guide>
        <p15:guide id="17" pos="4475">
          <p15:clr>
            <a:srgbClr val="F26B43"/>
          </p15:clr>
        </p15:guide>
        <p15:guide id="18" pos="4974">
          <p15:clr>
            <a:srgbClr val="F26B43"/>
          </p15:clr>
        </p15:guide>
        <p15:guide id="19" pos="5065">
          <p15:clr>
            <a:srgbClr val="F26B43"/>
          </p15:clr>
        </p15:guide>
        <p15:guide id="20" pos="5564">
          <p15:clr>
            <a:srgbClr val="F26B43"/>
          </p15:clr>
        </p15:guide>
        <p15:guide id="21" pos="5654">
          <p15:clr>
            <a:srgbClr val="F26B43"/>
          </p15:clr>
        </p15:guide>
        <p15:guide id="22" pos="6153">
          <p15:clr>
            <a:srgbClr val="F26B43"/>
          </p15:clr>
        </p15:guide>
        <p15:guide id="23" pos="6244">
          <p15:clr>
            <a:srgbClr val="F26B43"/>
          </p15:clr>
        </p15:guide>
        <p15:guide id="24" pos="6743">
          <p15:clr>
            <a:srgbClr val="F26B43"/>
          </p15:clr>
        </p15:guide>
        <p15:guide id="25" pos="6834">
          <p15:clr>
            <a:srgbClr val="F26B43"/>
          </p15:clr>
        </p15:guide>
        <p15:guide id="26" pos="7333">
          <p15:clr>
            <a:srgbClr val="9FCC3B"/>
          </p15:clr>
        </p15:guide>
        <p15:guide id="35" orient="horz" pos="1139">
          <p15:clr>
            <a:srgbClr val="F26B43"/>
          </p15:clr>
        </p15:guide>
        <p15:guide id="41" orient="horz" pos="119">
          <p15:clr>
            <a:srgbClr val="9FCC3B"/>
          </p15:clr>
        </p15:guide>
        <p15:guide id="55" orient="horz" pos="3974">
          <p15:clr>
            <a:srgbClr val="F26B43"/>
          </p15:clr>
        </p15:guide>
        <p15:guide id="59" orient="horz" pos="4201">
          <p15:clr>
            <a:srgbClr val="9FCC3B"/>
          </p15:clr>
        </p15:guide>
        <p15:guide id="60" orient="horz" pos="459">
          <p15:clr>
            <a:srgbClr val="F26B43"/>
          </p15:clr>
        </p15:guide>
        <p15:guide id="62" orient="horz" pos="23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image" Target="../media/image30.svg"/><Relationship Id="rId7" Type="http://schemas.openxmlformats.org/officeDocument/2006/relationships/image" Target="../media/image34.jpeg"/><Relationship Id="rId2" Type="http://schemas.openxmlformats.org/officeDocument/2006/relationships/image" Target="../media/image29.png"/><Relationship Id="rId1" Type="http://schemas.openxmlformats.org/officeDocument/2006/relationships/slideLayout" Target="../slideLayouts/slideLayout2.xml"/><Relationship Id="rId6" Type="http://schemas.openxmlformats.org/officeDocument/2006/relationships/image" Target="../media/image33.jpeg"/><Relationship Id="rId5" Type="http://schemas.openxmlformats.org/officeDocument/2006/relationships/image" Target="../media/image32.jpeg"/><Relationship Id="rId4" Type="http://schemas.openxmlformats.org/officeDocument/2006/relationships/image" Target="../media/image31.png"/></Relationships>
</file>

<file path=ppt/slides/_rels/slide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xml"/><Relationship Id="rId1" Type="http://schemas.openxmlformats.org/officeDocument/2006/relationships/slideLayout" Target="../slideLayouts/slideLayout8.xml"/><Relationship Id="rId5" Type="http://schemas.openxmlformats.org/officeDocument/2006/relationships/image" Target="../media/image35.svg"/><Relationship Id="rId4" Type="http://schemas.openxmlformats.org/officeDocument/2006/relationships/image" Target="../media/image29.png"/></Relationships>
</file>

<file path=ppt/slides/_rels/slide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xml"/><Relationship Id="rId1" Type="http://schemas.openxmlformats.org/officeDocument/2006/relationships/slideLayout" Target="../slideLayouts/slideLayout8.xml"/><Relationship Id="rId5" Type="http://schemas.openxmlformats.org/officeDocument/2006/relationships/image" Target="../media/image37.png"/><Relationship Id="rId4" Type="http://schemas.openxmlformats.org/officeDocument/2006/relationships/image" Target="../media/image35.svg"/></Relationships>
</file>

<file path=ppt/slides/_rels/slide6.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29.png"/><Relationship Id="rId1" Type="http://schemas.openxmlformats.org/officeDocument/2006/relationships/slideLayout" Target="../slideLayouts/slideLayout43.xml"/><Relationship Id="rId4" Type="http://schemas.openxmlformats.org/officeDocument/2006/relationships/image" Target="../media/image38.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5.svg"/><Relationship Id="rId7" Type="http://schemas.openxmlformats.org/officeDocument/2006/relationships/image" Target="../media/image42.svg"/><Relationship Id="rId2" Type="http://schemas.openxmlformats.org/officeDocument/2006/relationships/image" Target="../media/image29.png"/><Relationship Id="rId1" Type="http://schemas.openxmlformats.org/officeDocument/2006/relationships/slideLayout" Target="../slideLayouts/slideLayout43.xml"/><Relationship Id="rId6" Type="http://schemas.openxmlformats.org/officeDocument/2006/relationships/image" Target="../media/image41.png"/><Relationship Id="rId11" Type="http://schemas.openxmlformats.org/officeDocument/2006/relationships/image" Target="../media/image46.svg"/><Relationship Id="rId5" Type="http://schemas.openxmlformats.org/officeDocument/2006/relationships/image" Target="../media/image40.svg"/><Relationship Id="rId10" Type="http://schemas.openxmlformats.org/officeDocument/2006/relationships/image" Target="../media/image45.png"/><Relationship Id="rId4" Type="http://schemas.openxmlformats.org/officeDocument/2006/relationships/image" Target="../media/image39.png"/><Relationship Id="rId9" Type="http://schemas.openxmlformats.org/officeDocument/2006/relationships/image" Target="../media/image44.svg"/></Relationships>
</file>

<file path=ppt/slides/_rels/slide9.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35.svg"/><Relationship Id="rId7" Type="http://schemas.openxmlformats.org/officeDocument/2006/relationships/image" Target="../media/image50.svg"/><Relationship Id="rId2" Type="http://schemas.openxmlformats.org/officeDocument/2006/relationships/image" Target="../media/image29.png"/><Relationship Id="rId1" Type="http://schemas.openxmlformats.org/officeDocument/2006/relationships/slideLayout" Target="../slideLayouts/slideLayout43.xml"/><Relationship Id="rId6" Type="http://schemas.openxmlformats.org/officeDocument/2006/relationships/image" Target="../media/image49.png"/><Relationship Id="rId5" Type="http://schemas.openxmlformats.org/officeDocument/2006/relationships/image" Target="../media/image48.svg"/><Relationship Id="rId4" Type="http://schemas.openxmlformats.org/officeDocument/2006/relationships/image" Target="../media/image47.png"/><Relationship Id="rId9" Type="http://schemas.openxmlformats.org/officeDocument/2006/relationships/image" Target="../media/image52.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8D0028-2EB2-C5FC-AC2D-FBE71D9DFDDA}"/>
            </a:ext>
          </a:extLst>
        </p:cNvPr>
        <p:cNvGrpSpPr/>
        <p:nvPr/>
      </p:nvGrpSpPr>
      <p:grpSpPr>
        <a:xfrm>
          <a:off x="0" y="0"/>
          <a:ext cx="0" cy="0"/>
          <a:chOff x="0" y="0"/>
          <a:chExt cx="0" cy="0"/>
        </a:xfrm>
      </p:grpSpPr>
      <p:pic>
        <p:nvPicPr>
          <p:cNvPr id="2" name="object 2">
            <a:extLst>
              <a:ext uri="{FF2B5EF4-FFF2-40B4-BE49-F238E27FC236}">
                <a16:creationId xmlns:a16="http://schemas.microsoft.com/office/drawing/2014/main" id="{284AF004-351C-E75D-F576-0F52DE5A87A4}"/>
              </a:ext>
            </a:extLst>
          </p:cNvPr>
          <p:cNvPicPr/>
          <p:nvPr/>
        </p:nvPicPr>
        <p:blipFill>
          <a:blip r:embed="rId2" cstate="print"/>
          <a:stretch>
            <a:fillRect/>
          </a:stretch>
        </p:blipFill>
        <p:spPr>
          <a:xfrm>
            <a:off x="0" y="12697"/>
            <a:ext cx="12192000" cy="6845301"/>
          </a:xfrm>
          <a:prstGeom prst="rect">
            <a:avLst/>
          </a:prstGeom>
        </p:spPr>
      </p:pic>
      <p:sp>
        <p:nvSpPr>
          <p:cNvPr id="3" name="object 3">
            <a:extLst>
              <a:ext uri="{FF2B5EF4-FFF2-40B4-BE49-F238E27FC236}">
                <a16:creationId xmlns:a16="http://schemas.microsoft.com/office/drawing/2014/main" id="{198BD0E1-511D-02D0-8D26-761C65E938BE}"/>
              </a:ext>
            </a:extLst>
          </p:cNvPr>
          <p:cNvSpPr txBox="1">
            <a:spLocks noGrp="1"/>
          </p:cNvSpPr>
          <p:nvPr>
            <p:ph type="title"/>
          </p:nvPr>
        </p:nvSpPr>
        <p:spPr>
          <a:xfrm>
            <a:off x="609600" y="1981200"/>
            <a:ext cx="10972800" cy="2268763"/>
          </a:xfrm>
          <a:prstGeom prst="rect">
            <a:avLst/>
          </a:prstGeom>
        </p:spPr>
        <p:txBody>
          <a:bodyPr vert="horz" wrap="square" lIns="0" tIns="163830" rIns="0" bIns="0" rtlCol="0">
            <a:spAutoFit/>
          </a:bodyPr>
          <a:lstStyle/>
          <a:p>
            <a:pPr algn="ctr">
              <a:lnSpc>
                <a:spcPct val="100000"/>
              </a:lnSpc>
              <a:spcBef>
                <a:spcPts val="1290"/>
              </a:spcBef>
            </a:pPr>
            <a:r>
              <a:rPr sz="5400" spc="-245" dirty="0">
                <a:solidFill>
                  <a:srgbClr val="92FF9E"/>
                </a:solidFill>
              </a:rPr>
              <a:t>P</a:t>
            </a:r>
            <a:r>
              <a:rPr sz="5400" spc="-5" dirty="0">
                <a:solidFill>
                  <a:srgbClr val="92FF9E"/>
                </a:solidFill>
              </a:rPr>
              <a:t>r</a:t>
            </a:r>
            <a:r>
              <a:rPr sz="5400" spc="200" dirty="0">
                <a:solidFill>
                  <a:srgbClr val="92FF9E"/>
                </a:solidFill>
              </a:rPr>
              <a:t>o</a:t>
            </a:r>
            <a:r>
              <a:rPr sz="5400" spc="210" dirty="0">
                <a:solidFill>
                  <a:srgbClr val="92FF9E"/>
                </a:solidFill>
              </a:rPr>
              <a:t>Q</a:t>
            </a:r>
            <a:r>
              <a:rPr sz="5400" spc="195" dirty="0">
                <a:solidFill>
                  <a:srgbClr val="92FF9E"/>
                </a:solidFill>
              </a:rPr>
              <a:t>u</a:t>
            </a:r>
            <a:r>
              <a:rPr sz="5400" spc="204" dirty="0">
                <a:solidFill>
                  <a:srgbClr val="92FF9E"/>
                </a:solidFill>
              </a:rPr>
              <a:t>e</a:t>
            </a:r>
            <a:r>
              <a:rPr sz="5400" spc="195" dirty="0">
                <a:solidFill>
                  <a:srgbClr val="92FF9E"/>
                </a:solidFill>
              </a:rPr>
              <a:t>s</a:t>
            </a:r>
            <a:r>
              <a:rPr sz="5400" spc="295" dirty="0">
                <a:solidFill>
                  <a:srgbClr val="92FF9E"/>
                </a:solidFill>
              </a:rPr>
              <a:t>t</a:t>
            </a:r>
            <a:r>
              <a:rPr sz="5400" spc="-70" dirty="0">
                <a:solidFill>
                  <a:srgbClr val="92FF9E"/>
                </a:solidFill>
              </a:rPr>
              <a:t> </a:t>
            </a:r>
            <a:r>
              <a:rPr sz="5400" spc="500" dirty="0">
                <a:solidFill>
                  <a:srgbClr val="92FF9E"/>
                </a:solidFill>
              </a:rPr>
              <a:t>ETD</a:t>
            </a:r>
            <a:r>
              <a:rPr sz="5400" spc="-275" dirty="0">
                <a:solidFill>
                  <a:srgbClr val="92FF9E"/>
                </a:solidFill>
              </a:rPr>
              <a:t> </a:t>
            </a:r>
            <a:r>
              <a:rPr sz="5400" spc="85" dirty="0">
                <a:solidFill>
                  <a:srgbClr val="92FF9E"/>
                </a:solidFill>
              </a:rPr>
              <a:t>Administrator</a:t>
            </a:r>
            <a:endParaRPr sz="5400" dirty="0"/>
          </a:p>
          <a:p>
            <a:pPr marL="2162175" marR="2165350" algn="ctr">
              <a:lnSpc>
                <a:spcPct val="116199"/>
              </a:lnSpc>
              <a:spcBef>
                <a:spcPts val="65"/>
              </a:spcBef>
            </a:pPr>
            <a:r>
              <a:rPr lang="en-US" spc="185" dirty="0">
                <a:solidFill>
                  <a:srgbClr val="FFFF00"/>
                </a:solidFill>
                <a:latin typeface="Calibri"/>
                <a:cs typeface="Calibri"/>
              </a:rPr>
              <a:t>User Group Meeting</a:t>
            </a:r>
            <a:br>
              <a:rPr lang="en-US" spc="80" dirty="0">
                <a:solidFill>
                  <a:srgbClr val="FFFF00"/>
                </a:solidFill>
                <a:latin typeface="Calibri"/>
                <a:cs typeface="Calibri"/>
              </a:rPr>
            </a:br>
            <a:r>
              <a:rPr lang="en-US" spc="80" dirty="0">
                <a:solidFill>
                  <a:srgbClr val="FFFF00"/>
                </a:solidFill>
                <a:latin typeface="Calibri"/>
                <a:cs typeface="Calibri"/>
              </a:rPr>
              <a:t>Mark Dill, Product Manager, Dissertations</a:t>
            </a:r>
            <a:br>
              <a:rPr lang="en-US" spc="80" dirty="0">
                <a:solidFill>
                  <a:srgbClr val="FFFF00"/>
                </a:solidFill>
              </a:rPr>
            </a:br>
            <a:r>
              <a:rPr spc="155" dirty="0">
                <a:solidFill>
                  <a:srgbClr val="FFFF00"/>
                </a:solidFill>
                <a:latin typeface="Calibri"/>
                <a:cs typeface="Calibri"/>
              </a:rPr>
              <a:t>September</a:t>
            </a:r>
            <a:r>
              <a:rPr spc="55" dirty="0">
                <a:solidFill>
                  <a:srgbClr val="FFFF00"/>
                </a:solidFill>
                <a:latin typeface="Calibri"/>
                <a:cs typeface="Calibri"/>
              </a:rPr>
              <a:t> </a:t>
            </a:r>
            <a:r>
              <a:rPr spc="120" dirty="0">
                <a:solidFill>
                  <a:srgbClr val="FFFF00"/>
                </a:solidFill>
                <a:latin typeface="Calibri"/>
                <a:cs typeface="Calibri"/>
              </a:rPr>
              <a:t>2</a:t>
            </a:r>
            <a:r>
              <a:rPr lang="en-US" spc="120" dirty="0">
                <a:solidFill>
                  <a:srgbClr val="FFFF00"/>
                </a:solidFill>
                <a:latin typeface="Calibri"/>
                <a:cs typeface="Calibri"/>
              </a:rPr>
              <a:t>6</a:t>
            </a:r>
            <a:r>
              <a:rPr spc="120" dirty="0">
                <a:solidFill>
                  <a:srgbClr val="FFFF00"/>
                </a:solidFill>
                <a:latin typeface="Calibri"/>
                <a:cs typeface="Calibri"/>
              </a:rPr>
              <a:t>,</a:t>
            </a:r>
            <a:r>
              <a:rPr spc="-20" dirty="0">
                <a:solidFill>
                  <a:srgbClr val="FFFF00"/>
                </a:solidFill>
                <a:latin typeface="Calibri"/>
                <a:cs typeface="Calibri"/>
              </a:rPr>
              <a:t> </a:t>
            </a:r>
            <a:r>
              <a:rPr spc="140" dirty="0">
                <a:solidFill>
                  <a:srgbClr val="FFFF00"/>
                </a:solidFill>
                <a:latin typeface="Calibri"/>
                <a:cs typeface="Calibri"/>
              </a:rPr>
              <a:t>202</a:t>
            </a:r>
            <a:r>
              <a:rPr lang="en-US" spc="140" dirty="0">
                <a:solidFill>
                  <a:srgbClr val="FFFF00"/>
                </a:solidFill>
              </a:rPr>
              <a:t>5</a:t>
            </a:r>
            <a:endParaRPr spc="140" dirty="0">
              <a:solidFill>
                <a:srgbClr val="FFFF00"/>
              </a:solidFill>
              <a:latin typeface="Calibri"/>
              <a:cs typeface="Calibri"/>
            </a:endParaRPr>
          </a:p>
        </p:txBody>
      </p:sp>
    </p:spTree>
    <p:extLst>
      <p:ext uri="{BB962C8B-B14F-4D97-AF65-F5344CB8AC3E}">
        <p14:creationId xmlns:p14="http://schemas.microsoft.com/office/powerpoint/2010/main" val="21356527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C1C6983-A307-5898-8123-1FF68401094E}"/>
              </a:ext>
            </a:extLst>
          </p:cNvPr>
          <p:cNvSpPr>
            <a:spLocks noGrp="1"/>
          </p:cNvSpPr>
          <p:nvPr>
            <p:ph type="body" sz="quarter" idx="13"/>
          </p:nvPr>
        </p:nvSpPr>
        <p:spPr/>
        <p:txBody>
          <a:bodyPr/>
          <a:lstStyle/>
          <a:p>
            <a:r>
              <a:rPr lang="en-US" dirty="0"/>
              <a:t>Mark Dill</a:t>
            </a:r>
          </a:p>
        </p:txBody>
      </p:sp>
      <p:sp>
        <p:nvSpPr>
          <p:cNvPr id="7" name="Text Placeholder 6">
            <a:extLst>
              <a:ext uri="{FF2B5EF4-FFF2-40B4-BE49-F238E27FC236}">
                <a16:creationId xmlns:a16="http://schemas.microsoft.com/office/drawing/2014/main" id="{A3EE06EB-6366-9715-0F9B-2AD6F372DC4C}"/>
              </a:ext>
            </a:extLst>
          </p:cNvPr>
          <p:cNvSpPr>
            <a:spLocks noGrp="1"/>
          </p:cNvSpPr>
          <p:nvPr>
            <p:ph type="body" sz="quarter" idx="14"/>
          </p:nvPr>
        </p:nvSpPr>
        <p:spPr/>
        <p:txBody>
          <a:bodyPr/>
          <a:lstStyle/>
          <a:p>
            <a:r>
              <a:rPr lang="en-US" dirty="0"/>
              <a:t>Mark.dill@clarivate.com</a:t>
            </a:r>
          </a:p>
        </p:txBody>
      </p:sp>
      <p:sp>
        <p:nvSpPr>
          <p:cNvPr id="5" name="Text Placeholder 4">
            <a:extLst>
              <a:ext uri="{FF2B5EF4-FFF2-40B4-BE49-F238E27FC236}">
                <a16:creationId xmlns:a16="http://schemas.microsoft.com/office/drawing/2014/main" id="{765E7447-15ED-0D6E-FDBC-8A17E8DC9AB2}"/>
              </a:ext>
            </a:extLst>
          </p:cNvPr>
          <p:cNvSpPr>
            <a:spLocks noGrp="1"/>
          </p:cNvSpPr>
          <p:nvPr>
            <p:ph type="body" sz="quarter" idx="16"/>
          </p:nvPr>
        </p:nvSpPr>
        <p:spPr/>
        <p:txBody>
          <a:bodyPr/>
          <a:lstStyle/>
          <a:p>
            <a:r>
              <a:rPr lang="en-US" dirty="0"/>
              <a:t>Questions?</a:t>
            </a:r>
          </a:p>
        </p:txBody>
      </p:sp>
    </p:spTree>
    <p:extLst>
      <p:ext uri="{BB962C8B-B14F-4D97-AF65-F5344CB8AC3E}">
        <p14:creationId xmlns:p14="http://schemas.microsoft.com/office/powerpoint/2010/main" val="10190631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567718" y="6343906"/>
            <a:ext cx="210820" cy="226695"/>
            <a:chOff x="567718" y="6343906"/>
            <a:chExt cx="210820" cy="226695"/>
          </a:xfrm>
        </p:grpSpPr>
        <p:sp>
          <p:nvSpPr>
            <p:cNvPr id="3" name="object 3"/>
            <p:cNvSpPr/>
            <p:nvPr/>
          </p:nvSpPr>
          <p:spPr>
            <a:xfrm>
              <a:off x="632981" y="6457023"/>
              <a:ext cx="146050" cy="113664"/>
            </a:xfrm>
            <a:custGeom>
              <a:avLst/>
              <a:gdLst/>
              <a:ahLst/>
              <a:cxnLst/>
              <a:rect l="l" t="t" r="r" b="b"/>
              <a:pathLst>
                <a:path w="146050" h="113665">
                  <a:moveTo>
                    <a:pt x="116535" y="0"/>
                  </a:moveTo>
                  <a:lnTo>
                    <a:pt x="92297" y="23863"/>
                  </a:lnTo>
                  <a:lnTo>
                    <a:pt x="64325" y="43024"/>
                  </a:lnTo>
                  <a:lnTo>
                    <a:pt x="33323" y="57085"/>
                  </a:lnTo>
                  <a:lnTo>
                    <a:pt x="0" y="65648"/>
                  </a:lnTo>
                  <a:lnTo>
                    <a:pt x="5320" y="78189"/>
                  </a:lnTo>
                  <a:lnTo>
                    <a:pt x="11550" y="90306"/>
                  </a:lnTo>
                  <a:lnTo>
                    <a:pt x="18664" y="101951"/>
                  </a:lnTo>
                  <a:lnTo>
                    <a:pt x="26637" y="113078"/>
                  </a:lnTo>
                  <a:lnTo>
                    <a:pt x="59792" y="102650"/>
                  </a:lnTo>
                  <a:lnTo>
                    <a:pt x="90954" y="87848"/>
                  </a:lnTo>
                  <a:lnTo>
                    <a:pt x="119672" y="68927"/>
                  </a:lnTo>
                  <a:lnTo>
                    <a:pt x="145493" y="46141"/>
                  </a:lnTo>
                  <a:lnTo>
                    <a:pt x="139549" y="33865"/>
                  </a:lnTo>
                  <a:lnTo>
                    <a:pt x="132725" y="22052"/>
                  </a:lnTo>
                  <a:lnTo>
                    <a:pt x="125045" y="10749"/>
                  </a:lnTo>
                  <a:lnTo>
                    <a:pt x="116535" y="0"/>
                  </a:lnTo>
                  <a:close/>
                </a:path>
              </a:pathLst>
            </a:custGeom>
            <a:solidFill>
              <a:srgbClr val="16AB03"/>
            </a:solidFill>
          </p:spPr>
          <p:txBody>
            <a:bodyPr wrap="square" lIns="0" tIns="0" rIns="0" bIns="0" rtlCol="0"/>
            <a:lstStyle/>
            <a:p>
              <a:endParaRPr/>
            </a:p>
          </p:txBody>
        </p:sp>
        <p:sp>
          <p:nvSpPr>
            <p:cNvPr id="4" name="object 4"/>
            <p:cNvSpPr/>
            <p:nvPr/>
          </p:nvSpPr>
          <p:spPr>
            <a:xfrm>
              <a:off x="632950" y="6343906"/>
              <a:ext cx="146050" cy="113664"/>
            </a:xfrm>
            <a:custGeom>
              <a:avLst/>
              <a:gdLst/>
              <a:ahLst/>
              <a:cxnLst/>
              <a:rect l="l" t="t" r="r" b="b"/>
              <a:pathLst>
                <a:path w="146050" h="113664">
                  <a:moveTo>
                    <a:pt x="26529" y="0"/>
                  </a:moveTo>
                  <a:lnTo>
                    <a:pt x="18584" y="11132"/>
                  </a:lnTo>
                  <a:lnTo>
                    <a:pt x="11497" y="22782"/>
                  </a:lnTo>
                  <a:lnTo>
                    <a:pt x="5293" y="34901"/>
                  </a:lnTo>
                  <a:lnTo>
                    <a:pt x="0" y="47445"/>
                  </a:lnTo>
                  <a:lnTo>
                    <a:pt x="33333" y="56008"/>
                  </a:lnTo>
                  <a:lnTo>
                    <a:pt x="64345" y="70072"/>
                  </a:lnTo>
                  <a:lnTo>
                    <a:pt x="92326" y="89241"/>
                  </a:lnTo>
                  <a:lnTo>
                    <a:pt x="116567" y="113117"/>
                  </a:lnTo>
                  <a:lnTo>
                    <a:pt x="125077" y="102361"/>
                  </a:lnTo>
                  <a:lnTo>
                    <a:pt x="132757" y="91053"/>
                  </a:lnTo>
                  <a:lnTo>
                    <a:pt x="139581" y="79236"/>
                  </a:lnTo>
                  <a:lnTo>
                    <a:pt x="145525" y="66956"/>
                  </a:lnTo>
                  <a:lnTo>
                    <a:pt x="119676" y="44152"/>
                  </a:lnTo>
                  <a:lnTo>
                    <a:pt x="90924" y="25221"/>
                  </a:lnTo>
                  <a:lnTo>
                    <a:pt x="59724" y="10418"/>
                  </a:lnTo>
                  <a:lnTo>
                    <a:pt x="26529" y="0"/>
                  </a:lnTo>
                  <a:close/>
                </a:path>
              </a:pathLst>
            </a:custGeom>
            <a:solidFill>
              <a:srgbClr val="5E33BE"/>
            </a:solidFill>
          </p:spPr>
          <p:txBody>
            <a:bodyPr wrap="square" lIns="0" tIns="0" rIns="0" bIns="0" rtlCol="0"/>
            <a:lstStyle/>
            <a:p>
              <a:endParaRPr/>
            </a:p>
          </p:txBody>
        </p:sp>
        <p:sp>
          <p:nvSpPr>
            <p:cNvPr id="5" name="object 5"/>
            <p:cNvSpPr/>
            <p:nvPr/>
          </p:nvSpPr>
          <p:spPr>
            <a:xfrm>
              <a:off x="567718" y="6388779"/>
              <a:ext cx="65405" cy="136525"/>
            </a:xfrm>
            <a:custGeom>
              <a:avLst/>
              <a:gdLst/>
              <a:ahLst/>
              <a:cxnLst/>
              <a:rect l="l" t="t" r="r" b="b"/>
              <a:pathLst>
                <a:path w="65404" h="136525">
                  <a:moveTo>
                    <a:pt x="37560" y="0"/>
                  </a:moveTo>
                  <a:lnTo>
                    <a:pt x="23662" y="170"/>
                  </a:lnTo>
                  <a:lnTo>
                    <a:pt x="9795" y="1318"/>
                  </a:lnTo>
                  <a:lnTo>
                    <a:pt x="2452" y="34519"/>
                  </a:lnTo>
                  <a:lnTo>
                    <a:pt x="0" y="68234"/>
                  </a:lnTo>
                  <a:lnTo>
                    <a:pt x="2438" y="101951"/>
                  </a:lnTo>
                  <a:lnTo>
                    <a:pt x="9768" y="135161"/>
                  </a:lnTo>
                  <a:lnTo>
                    <a:pt x="23651" y="136304"/>
                  </a:lnTo>
                  <a:lnTo>
                    <a:pt x="37563" y="136473"/>
                  </a:lnTo>
                  <a:lnTo>
                    <a:pt x="51452" y="135668"/>
                  </a:lnTo>
                  <a:lnTo>
                    <a:pt x="65263" y="133891"/>
                  </a:lnTo>
                  <a:lnTo>
                    <a:pt x="56969" y="105869"/>
                  </a:lnTo>
                  <a:lnTo>
                    <a:pt x="53259" y="77104"/>
                  </a:lnTo>
                  <a:lnTo>
                    <a:pt x="54160" y="48126"/>
                  </a:lnTo>
                  <a:lnTo>
                    <a:pt x="59697" y="19466"/>
                  </a:lnTo>
                  <a:lnTo>
                    <a:pt x="61277" y="13721"/>
                  </a:lnTo>
                  <a:lnTo>
                    <a:pt x="65231" y="2572"/>
                  </a:lnTo>
                  <a:lnTo>
                    <a:pt x="51434" y="802"/>
                  </a:lnTo>
                  <a:lnTo>
                    <a:pt x="37560" y="0"/>
                  </a:lnTo>
                  <a:close/>
                </a:path>
              </a:pathLst>
            </a:custGeom>
            <a:solidFill>
              <a:srgbClr val="000000"/>
            </a:solidFill>
          </p:spPr>
          <p:txBody>
            <a:bodyPr wrap="square" lIns="0" tIns="0" rIns="0" bIns="0" rtlCol="0"/>
            <a:lstStyle/>
            <a:p>
              <a:endParaRPr/>
            </a:p>
          </p:txBody>
        </p:sp>
      </p:grpSp>
      <p:sp>
        <p:nvSpPr>
          <p:cNvPr id="6" name="object 6"/>
          <p:cNvSpPr/>
          <p:nvPr/>
        </p:nvSpPr>
        <p:spPr>
          <a:xfrm>
            <a:off x="839330" y="6363284"/>
            <a:ext cx="210820" cy="187960"/>
          </a:xfrm>
          <a:custGeom>
            <a:avLst/>
            <a:gdLst/>
            <a:ahLst/>
            <a:cxnLst/>
            <a:rect l="l" t="t" r="r" b="b"/>
            <a:pathLst>
              <a:path w="210819" h="187959">
                <a:moveTo>
                  <a:pt x="188099" y="67576"/>
                </a:moveTo>
                <a:lnTo>
                  <a:pt x="154736" y="18186"/>
                </a:lnTo>
                <a:lnTo>
                  <a:pt x="96977" y="12"/>
                </a:lnTo>
                <a:lnTo>
                  <a:pt x="91859" y="0"/>
                </a:lnTo>
                <a:lnTo>
                  <a:pt x="55435" y="8013"/>
                </a:lnTo>
                <a:lnTo>
                  <a:pt x="26009" y="28321"/>
                </a:lnTo>
                <a:lnTo>
                  <a:pt x="6540" y="57899"/>
                </a:lnTo>
                <a:lnTo>
                  <a:pt x="0" y="93726"/>
                </a:lnTo>
                <a:lnTo>
                  <a:pt x="25" y="98704"/>
                </a:lnTo>
                <a:lnTo>
                  <a:pt x="8559" y="134124"/>
                </a:lnTo>
                <a:lnTo>
                  <a:pt x="29641" y="162623"/>
                </a:lnTo>
                <a:lnTo>
                  <a:pt x="60147" y="181343"/>
                </a:lnTo>
                <a:lnTo>
                  <a:pt x="96977" y="187426"/>
                </a:lnTo>
                <a:lnTo>
                  <a:pt x="127850" y="183032"/>
                </a:lnTo>
                <a:lnTo>
                  <a:pt x="154736" y="169265"/>
                </a:lnTo>
                <a:lnTo>
                  <a:pt x="175526" y="147688"/>
                </a:lnTo>
                <a:lnTo>
                  <a:pt x="188099" y="119862"/>
                </a:lnTo>
                <a:lnTo>
                  <a:pt x="147459" y="119862"/>
                </a:lnTo>
                <a:lnTo>
                  <a:pt x="139954" y="134442"/>
                </a:lnTo>
                <a:lnTo>
                  <a:pt x="128295" y="145542"/>
                </a:lnTo>
                <a:lnTo>
                  <a:pt x="113588" y="152425"/>
                </a:lnTo>
                <a:lnTo>
                  <a:pt x="96977" y="154292"/>
                </a:lnTo>
                <a:lnTo>
                  <a:pt x="73050" y="149707"/>
                </a:lnTo>
                <a:lnTo>
                  <a:pt x="54597" y="137020"/>
                </a:lnTo>
                <a:lnTo>
                  <a:pt x="42722" y="117817"/>
                </a:lnTo>
                <a:lnTo>
                  <a:pt x="38519" y="93726"/>
                </a:lnTo>
                <a:lnTo>
                  <a:pt x="42722" y="69634"/>
                </a:lnTo>
                <a:lnTo>
                  <a:pt x="54597" y="50431"/>
                </a:lnTo>
                <a:lnTo>
                  <a:pt x="73050" y="37744"/>
                </a:lnTo>
                <a:lnTo>
                  <a:pt x="96977" y="33147"/>
                </a:lnTo>
                <a:lnTo>
                  <a:pt x="113588" y="35026"/>
                </a:lnTo>
                <a:lnTo>
                  <a:pt x="128295" y="41897"/>
                </a:lnTo>
                <a:lnTo>
                  <a:pt x="139954" y="53009"/>
                </a:lnTo>
                <a:lnTo>
                  <a:pt x="147459" y="67576"/>
                </a:lnTo>
                <a:lnTo>
                  <a:pt x="188099" y="67576"/>
                </a:lnTo>
                <a:close/>
              </a:path>
              <a:path w="210819" h="187959">
                <a:moveTo>
                  <a:pt x="210413" y="3136"/>
                </a:moveTo>
                <a:lnTo>
                  <a:pt x="207251" y="3136"/>
                </a:lnTo>
                <a:lnTo>
                  <a:pt x="207251" y="184315"/>
                </a:lnTo>
                <a:lnTo>
                  <a:pt x="210413" y="184315"/>
                </a:lnTo>
                <a:lnTo>
                  <a:pt x="210413" y="3136"/>
                </a:lnTo>
                <a:close/>
              </a:path>
            </a:pathLst>
          </a:custGeom>
          <a:solidFill>
            <a:srgbClr val="000000"/>
          </a:solidFill>
        </p:spPr>
        <p:txBody>
          <a:bodyPr wrap="square" lIns="0" tIns="0" rIns="0" bIns="0" rtlCol="0"/>
          <a:lstStyle/>
          <a:p>
            <a:endParaRPr/>
          </a:p>
        </p:txBody>
      </p:sp>
      <p:grpSp>
        <p:nvGrpSpPr>
          <p:cNvPr id="7" name="object 7"/>
          <p:cNvGrpSpPr/>
          <p:nvPr/>
        </p:nvGrpSpPr>
        <p:grpSpPr>
          <a:xfrm>
            <a:off x="0" y="-1"/>
            <a:ext cx="4151629" cy="6858000"/>
            <a:chOff x="0" y="-1"/>
            <a:chExt cx="4151629" cy="6858000"/>
          </a:xfrm>
        </p:grpSpPr>
        <p:sp>
          <p:nvSpPr>
            <p:cNvPr id="8" name="object 8"/>
            <p:cNvSpPr/>
            <p:nvPr/>
          </p:nvSpPr>
          <p:spPr>
            <a:xfrm>
              <a:off x="1099439" y="6366408"/>
              <a:ext cx="818515" cy="184785"/>
            </a:xfrm>
            <a:custGeom>
              <a:avLst/>
              <a:gdLst/>
              <a:ahLst/>
              <a:cxnLst/>
              <a:rect l="l" t="t" r="r" b="b"/>
              <a:pathLst>
                <a:path w="818514" h="184784">
                  <a:moveTo>
                    <a:pt x="111061" y="103276"/>
                  </a:moveTo>
                  <a:lnTo>
                    <a:pt x="107784" y="88265"/>
                  </a:lnTo>
                  <a:lnTo>
                    <a:pt x="106692" y="83235"/>
                  </a:lnTo>
                  <a:lnTo>
                    <a:pt x="94983" y="69672"/>
                  </a:lnTo>
                  <a:lnTo>
                    <a:pt x="78105" y="61976"/>
                  </a:lnTo>
                  <a:lnTo>
                    <a:pt x="58191" y="59537"/>
                  </a:lnTo>
                  <a:lnTo>
                    <a:pt x="44513" y="60617"/>
                  </a:lnTo>
                  <a:lnTo>
                    <a:pt x="31165" y="63423"/>
                  </a:lnTo>
                  <a:lnTo>
                    <a:pt x="18313" y="67919"/>
                  </a:lnTo>
                  <a:lnTo>
                    <a:pt x="6121" y="74041"/>
                  </a:lnTo>
                  <a:lnTo>
                    <a:pt x="19659" y="99402"/>
                  </a:lnTo>
                  <a:lnTo>
                    <a:pt x="28270" y="95059"/>
                  </a:lnTo>
                  <a:lnTo>
                    <a:pt x="37325" y="91732"/>
                  </a:lnTo>
                  <a:lnTo>
                    <a:pt x="46697" y="89458"/>
                  </a:lnTo>
                  <a:lnTo>
                    <a:pt x="56324" y="88265"/>
                  </a:lnTo>
                  <a:lnTo>
                    <a:pt x="69608" y="88265"/>
                  </a:lnTo>
                  <a:lnTo>
                    <a:pt x="76504" y="93700"/>
                  </a:lnTo>
                  <a:lnTo>
                    <a:pt x="76504" y="107937"/>
                  </a:lnTo>
                  <a:lnTo>
                    <a:pt x="76504" y="130200"/>
                  </a:lnTo>
                  <a:lnTo>
                    <a:pt x="52882" y="159715"/>
                  </a:lnTo>
                  <a:lnTo>
                    <a:pt x="42240" y="159715"/>
                  </a:lnTo>
                  <a:lnTo>
                    <a:pt x="35598" y="153758"/>
                  </a:lnTo>
                  <a:lnTo>
                    <a:pt x="35598" y="137452"/>
                  </a:lnTo>
                  <a:lnTo>
                    <a:pt x="41973" y="132791"/>
                  </a:lnTo>
                  <a:lnTo>
                    <a:pt x="65887" y="132791"/>
                  </a:lnTo>
                  <a:lnTo>
                    <a:pt x="69646" y="133261"/>
                  </a:lnTo>
                  <a:lnTo>
                    <a:pt x="71589" y="132791"/>
                  </a:lnTo>
                  <a:lnTo>
                    <a:pt x="73444" y="132334"/>
                  </a:lnTo>
                  <a:lnTo>
                    <a:pt x="76504" y="130200"/>
                  </a:lnTo>
                  <a:lnTo>
                    <a:pt x="76504" y="107937"/>
                  </a:lnTo>
                  <a:lnTo>
                    <a:pt x="73850" y="110528"/>
                  </a:lnTo>
                  <a:lnTo>
                    <a:pt x="44107" y="110528"/>
                  </a:lnTo>
                  <a:lnTo>
                    <a:pt x="25781" y="113068"/>
                  </a:lnTo>
                  <a:lnTo>
                    <a:pt x="11887" y="120332"/>
                  </a:lnTo>
                  <a:lnTo>
                    <a:pt x="3086" y="131826"/>
                  </a:lnTo>
                  <a:lnTo>
                    <a:pt x="0" y="147027"/>
                  </a:lnTo>
                  <a:lnTo>
                    <a:pt x="63" y="148107"/>
                  </a:lnTo>
                  <a:lnTo>
                    <a:pt x="4216" y="163004"/>
                  </a:lnTo>
                  <a:lnTo>
                    <a:pt x="13589" y="174777"/>
                  </a:lnTo>
                  <a:lnTo>
                    <a:pt x="26809" y="182257"/>
                  </a:lnTo>
                  <a:lnTo>
                    <a:pt x="42519" y="184302"/>
                  </a:lnTo>
                  <a:lnTo>
                    <a:pt x="52146" y="183781"/>
                  </a:lnTo>
                  <a:lnTo>
                    <a:pt x="61048" y="181190"/>
                  </a:lnTo>
                  <a:lnTo>
                    <a:pt x="69507" y="176517"/>
                  </a:lnTo>
                  <a:lnTo>
                    <a:pt x="76504" y="170065"/>
                  </a:lnTo>
                  <a:lnTo>
                    <a:pt x="76504" y="181190"/>
                  </a:lnTo>
                  <a:lnTo>
                    <a:pt x="111061" y="181190"/>
                  </a:lnTo>
                  <a:lnTo>
                    <a:pt x="111061" y="170065"/>
                  </a:lnTo>
                  <a:lnTo>
                    <a:pt x="111061" y="159715"/>
                  </a:lnTo>
                  <a:lnTo>
                    <a:pt x="111061" y="130200"/>
                  </a:lnTo>
                  <a:lnTo>
                    <a:pt x="111061" y="103276"/>
                  </a:lnTo>
                  <a:close/>
                </a:path>
                <a:path w="818514" h="184784">
                  <a:moveTo>
                    <a:pt x="206171" y="62128"/>
                  </a:moveTo>
                  <a:lnTo>
                    <a:pt x="203034" y="61404"/>
                  </a:lnTo>
                  <a:lnTo>
                    <a:pt x="199834" y="61048"/>
                  </a:lnTo>
                  <a:lnTo>
                    <a:pt x="196621" y="61087"/>
                  </a:lnTo>
                  <a:lnTo>
                    <a:pt x="186448" y="62204"/>
                  </a:lnTo>
                  <a:lnTo>
                    <a:pt x="177355" y="66268"/>
                  </a:lnTo>
                  <a:lnTo>
                    <a:pt x="169989" y="72847"/>
                  </a:lnTo>
                  <a:lnTo>
                    <a:pt x="164985" y="81534"/>
                  </a:lnTo>
                  <a:lnTo>
                    <a:pt x="164985" y="62636"/>
                  </a:lnTo>
                  <a:lnTo>
                    <a:pt x="131521" y="62636"/>
                  </a:lnTo>
                  <a:lnTo>
                    <a:pt x="131521" y="181190"/>
                  </a:lnTo>
                  <a:lnTo>
                    <a:pt x="166052" y="181190"/>
                  </a:lnTo>
                  <a:lnTo>
                    <a:pt x="166052" y="124510"/>
                  </a:lnTo>
                  <a:lnTo>
                    <a:pt x="167576" y="111277"/>
                  </a:lnTo>
                  <a:lnTo>
                    <a:pt x="172237" y="102374"/>
                  </a:lnTo>
                  <a:lnTo>
                    <a:pt x="180187" y="97358"/>
                  </a:lnTo>
                  <a:lnTo>
                    <a:pt x="191566" y="95783"/>
                  </a:lnTo>
                  <a:lnTo>
                    <a:pt x="206171" y="95783"/>
                  </a:lnTo>
                  <a:lnTo>
                    <a:pt x="206171" y="62128"/>
                  </a:lnTo>
                  <a:close/>
                </a:path>
                <a:path w="818514" h="184784">
                  <a:moveTo>
                    <a:pt x="273926" y="62636"/>
                  </a:moveTo>
                  <a:lnTo>
                    <a:pt x="222377" y="62636"/>
                  </a:lnTo>
                  <a:lnTo>
                    <a:pt x="222377" y="91122"/>
                  </a:lnTo>
                  <a:lnTo>
                    <a:pt x="239382" y="91122"/>
                  </a:lnTo>
                  <a:lnTo>
                    <a:pt x="239382" y="181190"/>
                  </a:lnTo>
                  <a:lnTo>
                    <a:pt x="273926" y="181190"/>
                  </a:lnTo>
                  <a:lnTo>
                    <a:pt x="273926" y="62636"/>
                  </a:lnTo>
                  <a:close/>
                </a:path>
                <a:path w="818514" h="184784">
                  <a:moveTo>
                    <a:pt x="277355" y="21742"/>
                  </a:moveTo>
                  <a:lnTo>
                    <a:pt x="275628" y="13335"/>
                  </a:lnTo>
                  <a:lnTo>
                    <a:pt x="270891" y="6438"/>
                  </a:lnTo>
                  <a:lnTo>
                    <a:pt x="263829" y="1765"/>
                  </a:lnTo>
                  <a:lnTo>
                    <a:pt x="264071" y="1765"/>
                  </a:lnTo>
                  <a:lnTo>
                    <a:pt x="255054" y="0"/>
                  </a:lnTo>
                  <a:lnTo>
                    <a:pt x="246443" y="1765"/>
                  </a:lnTo>
                  <a:lnTo>
                    <a:pt x="239433" y="6438"/>
                  </a:lnTo>
                  <a:lnTo>
                    <a:pt x="234721" y="13335"/>
                  </a:lnTo>
                  <a:lnTo>
                    <a:pt x="233019" y="21742"/>
                  </a:lnTo>
                  <a:lnTo>
                    <a:pt x="234823" y="30149"/>
                  </a:lnTo>
                  <a:lnTo>
                    <a:pt x="239649" y="36995"/>
                  </a:lnTo>
                  <a:lnTo>
                    <a:pt x="246608" y="41579"/>
                  </a:lnTo>
                  <a:lnTo>
                    <a:pt x="246862" y="41579"/>
                  </a:lnTo>
                  <a:lnTo>
                    <a:pt x="255054" y="43243"/>
                  </a:lnTo>
                  <a:lnTo>
                    <a:pt x="263702" y="41579"/>
                  </a:lnTo>
                  <a:lnTo>
                    <a:pt x="270789" y="36995"/>
                  </a:lnTo>
                  <a:lnTo>
                    <a:pt x="275577" y="30149"/>
                  </a:lnTo>
                  <a:lnTo>
                    <a:pt x="277355" y="21742"/>
                  </a:lnTo>
                  <a:close/>
                </a:path>
                <a:path w="818514" h="184784">
                  <a:moveTo>
                    <a:pt x="415531" y="62636"/>
                  </a:moveTo>
                  <a:lnTo>
                    <a:pt x="379133" y="62636"/>
                  </a:lnTo>
                  <a:lnTo>
                    <a:pt x="351510" y="144957"/>
                  </a:lnTo>
                  <a:lnTo>
                    <a:pt x="325462" y="62636"/>
                  </a:lnTo>
                  <a:lnTo>
                    <a:pt x="288010" y="62636"/>
                  </a:lnTo>
                  <a:lnTo>
                    <a:pt x="329450" y="181190"/>
                  </a:lnTo>
                  <a:lnTo>
                    <a:pt x="372224" y="181190"/>
                  </a:lnTo>
                  <a:lnTo>
                    <a:pt x="415531" y="62636"/>
                  </a:lnTo>
                  <a:close/>
                </a:path>
                <a:path w="818514" h="184784">
                  <a:moveTo>
                    <a:pt x="528193" y="103276"/>
                  </a:moveTo>
                  <a:lnTo>
                    <a:pt x="495236" y="61976"/>
                  </a:lnTo>
                  <a:lnTo>
                    <a:pt x="475322" y="59537"/>
                  </a:lnTo>
                  <a:lnTo>
                    <a:pt x="461645" y="60617"/>
                  </a:lnTo>
                  <a:lnTo>
                    <a:pt x="448297" y="63423"/>
                  </a:lnTo>
                  <a:lnTo>
                    <a:pt x="435432" y="67919"/>
                  </a:lnTo>
                  <a:lnTo>
                    <a:pt x="423240" y="74041"/>
                  </a:lnTo>
                  <a:lnTo>
                    <a:pt x="436803" y="99402"/>
                  </a:lnTo>
                  <a:lnTo>
                    <a:pt x="445414" y="95059"/>
                  </a:lnTo>
                  <a:lnTo>
                    <a:pt x="454456" y="91732"/>
                  </a:lnTo>
                  <a:lnTo>
                    <a:pt x="463842" y="89458"/>
                  </a:lnTo>
                  <a:lnTo>
                    <a:pt x="473468" y="88265"/>
                  </a:lnTo>
                  <a:lnTo>
                    <a:pt x="486752" y="88265"/>
                  </a:lnTo>
                  <a:lnTo>
                    <a:pt x="493649" y="93700"/>
                  </a:lnTo>
                  <a:lnTo>
                    <a:pt x="493649" y="107937"/>
                  </a:lnTo>
                  <a:lnTo>
                    <a:pt x="493649" y="130200"/>
                  </a:lnTo>
                  <a:lnTo>
                    <a:pt x="470001" y="159715"/>
                  </a:lnTo>
                  <a:lnTo>
                    <a:pt x="459384" y="159715"/>
                  </a:lnTo>
                  <a:lnTo>
                    <a:pt x="452729" y="153758"/>
                  </a:lnTo>
                  <a:lnTo>
                    <a:pt x="452729" y="137452"/>
                  </a:lnTo>
                  <a:lnTo>
                    <a:pt x="459117" y="132791"/>
                  </a:lnTo>
                  <a:lnTo>
                    <a:pt x="483019" y="132791"/>
                  </a:lnTo>
                  <a:lnTo>
                    <a:pt x="486765" y="133261"/>
                  </a:lnTo>
                  <a:lnTo>
                    <a:pt x="488708" y="132791"/>
                  </a:lnTo>
                  <a:lnTo>
                    <a:pt x="490562" y="132334"/>
                  </a:lnTo>
                  <a:lnTo>
                    <a:pt x="493649" y="130200"/>
                  </a:lnTo>
                  <a:lnTo>
                    <a:pt x="493649" y="107937"/>
                  </a:lnTo>
                  <a:lnTo>
                    <a:pt x="490994" y="110528"/>
                  </a:lnTo>
                  <a:lnTo>
                    <a:pt x="461238" y="110528"/>
                  </a:lnTo>
                  <a:lnTo>
                    <a:pt x="442912" y="113068"/>
                  </a:lnTo>
                  <a:lnTo>
                    <a:pt x="429018" y="120332"/>
                  </a:lnTo>
                  <a:lnTo>
                    <a:pt x="420217" y="131826"/>
                  </a:lnTo>
                  <a:lnTo>
                    <a:pt x="417144" y="147027"/>
                  </a:lnTo>
                  <a:lnTo>
                    <a:pt x="417207" y="148107"/>
                  </a:lnTo>
                  <a:lnTo>
                    <a:pt x="421360" y="163004"/>
                  </a:lnTo>
                  <a:lnTo>
                    <a:pt x="430733" y="174777"/>
                  </a:lnTo>
                  <a:lnTo>
                    <a:pt x="443953" y="182257"/>
                  </a:lnTo>
                  <a:lnTo>
                    <a:pt x="459638" y="184302"/>
                  </a:lnTo>
                  <a:lnTo>
                    <a:pt x="469265" y="183781"/>
                  </a:lnTo>
                  <a:lnTo>
                    <a:pt x="478167" y="181190"/>
                  </a:lnTo>
                  <a:lnTo>
                    <a:pt x="486638" y="176517"/>
                  </a:lnTo>
                  <a:lnTo>
                    <a:pt x="493649" y="170065"/>
                  </a:lnTo>
                  <a:lnTo>
                    <a:pt x="493649" y="181190"/>
                  </a:lnTo>
                  <a:lnTo>
                    <a:pt x="528193" y="181190"/>
                  </a:lnTo>
                  <a:lnTo>
                    <a:pt x="528193" y="170065"/>
                  </a:lnTo>
                  <a:lnTo>
                    <a:pt x="528193" y="159715"/>
                  </a:lnTo>
                  <a:lnTo>
                    <a:pt x="528193" y="130200"/>
                  </a:lnTo>
                  <a:lnTo>
                    <a:pt x="528193" y="103276"/>
                  </a:lnTo>
                  <a:close/>
                </a:path>
                <a:path w="818514" h="184784">
                  <a:moveTo>
                    <a:pt x="622249" y="152463"/>
                  </a:moveTo>
                  <a:lnTo>
                    <a:pt x="615061" y="153238"/>
                  </a:lnTo>
                  <a:lnTo>
                    <a:pt x="601002" y="153238"/>
                  </a:lnTo>
                  <a:lnTo>
                    <a:pt x="594880" y="152209"/>
                  </a:lnTo>
                  <a:lnTo>
                    <a:pt x="594880" y="91122"/>
                  </a:lnTo>
                  <a:lnTo>
                    <a:pt x="621182" y="91122"/>
                  </a:lnTo>
                  <a:lnTo>
                    <a:pt x="621182" y="62636"/>
                  </a:lnTo>
                  <a:lnTo>
                    <a:pt x="594880" y="62636"/>
                  </a:lnTo>
                  <a:lnTo>
                    <a:pt x="594880" y="17614"/>
                  </a:lnTo>
                  <a:lnTo>
                    <a:pt x="560336" y="17614"/>
                  </a:lnTo>
                  <a:lnTo>
                    <a:pt x="560336" y="62636"/>
                  </a:lnTo>
                  <a:lnTo>
                    <a:pt x="541223" y="62636"/>
                  </a:lnTo>
                  <a:lnTo>
                    <a:pt x="541223" y="91122"/>
                  </a:lnTo>
                  <a:lnTo>
                    <a:pt x="560336" y="91122"/>
                  </a:lnTo>
                  <a:lnTo>
                    <a:pt x="560336" y="156083"/>
                  </a:lnTo>
                  <a:lnTo>
                    <a:pt x="563397" y="170307"/>
                  </a:lnTo>
                  <a:lnTo>
                    <a:pt x="571398" y="178346"/>
                  </a:lnTo>
                  <a:lnTo>
                    <a:pt x="582777" y="181978"/>
                  </a:lnTo>
                  <a:lnTo>
                    <a:pt x="583285" y="181978"/>
                  </a:lnTo>
                  <a:lnTo>
                    <a:pt x="595414" y="182753"/>
                  </a:lnTo>
                  <a:lnTo>
                    <a:pt x="603872" y="182511"/>
                  </a:lnTo>
                  <a:lnTo>
                    <a:pt x="612609" y="181978"/>
                  </a:lnTo>
                  <a:lnTo>
                    <a:pt x="622249" y="181190"/>
                  </a:lnTo>
                  <a:lnTo>
                    <a:pt x="622249" y="153238"/>
                  </a:lnTo>
                  <a:lnTo>
                    <a:pt x="622249" y="152463"/>
                  </a:lnTo>
                  <a:close/>
                </a:path>
                <a:path w="818514" h="184784">
                  <a:moveTo>
                    <a:pt x="759079" y="130467"/>
                  </a:moveTo>
                  <a:lnTo>
                    <a:pt x="755586" y="109232"/>
                  </a:lnTo>
                  <a:lnTo>
                    <a:pt x="753821" y="98412"/>
                  </a:lnTo>
                  <a:lnTo>
                    <a:pt x="746848" y="87490"/>
                  </a:lnTo>
                  <a:lnTo>
                    <a:pt x="739736" y="76365"/>
                  </a:lnTo>
                  <a:lnTo>
                    <a:pt x="722147" y="65366"/>
                  </a:lnTo>
                  <a:lnTo>
                    <a:pt x="722147" y="109232"/>
                  </a:lnTo>
                  <a:lnTo>
                    <a:pt x="667689" y="109232"/>
                  </a:lnTo>
                  <a:lnTo>
                    <a:pt x="671080" y="100393"/>
                  </a:lnTo>
                  <a:lnTo>
                    <a:pt x="672820" y="98412"/>
                  </a:lnTo>
                  <a:lnTo>
                    <a:pt x="677265" y="93433"/>
                  </a:lnTo>
                  <a:lnTo>
                    <a:pt x="685546" y="88938"/>
                  </a:lnTo>
                  <a:lnTo>
                    <a:pt x="685279" y="88938"/>
                  </a:lnTo>
                  <a:lnTo>
                    <a:pt x="695312" y="87490"/>
                  </a:lnTo>
                  <a:lnTo>
                    <a:pt x="704824" y="88938"/>
                  </a:lnTo>
                  <a:lnTo>
                    <a:pt x="712952" y="93433"/>
                  </a:lnTo>
                  <a:lnTo>
                    <a:pt x="718959" y="100393"/>
                  </a:lnTo>
                  <a:lnTo>
                    <a:pt x="722147" y="109232"/>
                  </a:lnTo>
                  <a:lnTo>
                    <a:pt x="722147" y="65366"/>
                  </a:lnTo>
                  <a:lnTo>
                    <a:pt x="719391" y="63639"/>
                  </a:lnTo>
                  <a:lnTo>
                    <a:pt x="695401" y="59563"/>
                  </a:lnTo>
                  <a:lnTo>
                    <a:pt x="691235" y="59563"/>
                  </a:lnTo>
                  <a:lnTo>
                    <a:pt x="667461" y="65189"/>
                  </a:lnTo>
                  <a:lnTo>
                    <a:pt x="648411" y="78803"/>
                  </a:lnTo>
                  <a:lnTo>
                    <a:pt x="635977" y="98412"/>
                  </a:lnTo>
                  <a:lnTo>
                    <a:pt x="632079" y="121920"/>
                  </a:lnTo>
                  <a:lnTo>
                    <a:pt x="635025" y="139700"/>
                  </a:lnTo>
                  <a:lnTo>
                    <a:pt x="642785" y="155676"/>
                  </a:lnTo>
                  <a:lnTo>
                    <a:pt x="654761" y="168948"/>
                  </a:lnTo>
                  <a:lnTo>
                    <a:pt x="670344" y="178638"/>
                  </a:lnTo>
                  <a:lnTo>
                    <a:pt x="695579" y="184315"/>
                  </a:lnTo>
                  <a:lnTo>
                    <a:pt x="720229" y="180251"/>
                  </a:lnTo>
                  <a:lnTo>
                    <a:pt x="741527" y="167487"/>
                  </a:lnTo>
                  <a:lnTo>
                    <a:pt x="750595" y="155244"/>
                  </a:lnTo>
                  <a:lnTo>
                    <a:pt x="756691" y="147027"/>
                  </a:lnTo>
                  <a:lnTo>
                    <a:pt x="720813" y="143408"/>
                  </a:lnTo>
                  <a:lnTo>
                    <a:pt x="716305" y="149771"/>
                  </a:lnTo>
                  <a:lnTo>
                    <a:pt x="709320" y="154051"/>
                  </a:lnTo>
                  <a:lnTo>
                    <a:pt x="701471" y="155244"/>
                  </a:lnTo>
                  <a:lnTo>
                    <a:pt x="690016" y="154736"/>
                  </a:lnTo>
                  <a:lnTo>
                    <a:pt x="679983" y="150152"/>
                  </a:lnTo>
                  <a:lnTo>
                    <a:pt x="672452" y="142240"/>
                  </a:lnTo>
                  <a:lnTo>
                    <a:pt x="668477" y="131749"/>
                  </a:lnTo>
                  <a:lnTo>
                    <a:pt x="759079" y="131749"/>
                  </a:lnTo>
                  <a:lnTo>
                    <a:pt x="759079" y="130467"/>
                  </a:lnTo>
                  <a:close/>
                </a:path>
                <a:path w="818514" h="184784">
                  <a:moveTo>
                    <a:pt x="777798" y="152"/>
                  </a:moveTo>
                  <a:lnTo>
                    <a:pt x="749490" y="152"/>
                  </a:lnTo>
                  <a:lnTo>
                    <a:pt x="749490" y="8534"/>
                  </a:lnTo>
                  <a:lnTo>
                    <a:pt x="758799" y="8534"/>
                  </a:lnTo>
                  <a:lnTo>
                    <a:pt x="758799" y="32397"/>
                  </a:lnTo>
                  <a:lnTo>
                    <a:pt x="768477" y="32397"/>
                  </a:lnTo>
                  <a:lnTo>
                    <a:pt x="768477" y="8534"/>
                  </a:lnTo>
                  <a:lnTo>
                    <a:pt x="777798" y="8534"/>
                  </a:lnTo>
                  <a:lnTo>
                    <a:pt x="777798" y="152"/>
                  </a:lnTo>
                  <a:close/>
                </a:path>
                <a:path w="818514" h="184784">
                  <a:moveTo>
                    <a:pt x="817905" y="152"/>
                  </a:moveTo>
                  <a:lnTo>
                    <a:pt x="805891" y="152"/>
                  </a:lnTo>
                  <a:lnTo>
                    <a:pt x="800735" y="13614"/>
                  </a:lnTo>
                  <a:lnTo>
                    <a:pt x="795896" y="152"/>
                  </a:lnTo>
                  <a:lnTo>
                    <a:pt x="783132" y="152"/>
                  </a:lnTo>
                  <a:lnTo>
                    <a:pt x="783132" y="32397"/>
                  </a:lnTo>
                  <a:lnTo>
                    <a:pt x="792429" y="32397"/>
                  </a:lnTo>
                  <a:lnTo>
                    <a:pt x="792429" y="13970"/>
                  </a:lnTo>
                  <a:lnTo>
                    <a:pt x="796696" y="25488"/>
                  </a:lnTo>
                  <a:lnTo>
                    <a:pt x="804164" y="25488"/>
                  </a:lnTo>
                  <a:lnTo>
                    <a:pt x="808418" y="13970"/>
                  </a:lnTo>
                  <a:lnTo>
                    <a:pt x="808418" y="32397"/>
                  </a:lnTo>
                  <a:lnTo>
                    <a:pt x="817905" y="32397"/>
                  </a:lnTo>
                  <a:lnTo>
                    <a:pt x="817905" y="152"/>
                  </a:lnTo>
                  <a:close/>
                </a:path>
              </a:pathLst>
            </a:custGeom>
            <a:solidFill>
              <a:srgbClr val="000000"/>
            </a:solidFill>
          </p:spPr>
          <p:txBody>
            <a:bodyPr wrap="square" lIns="0" tIns="0" rIns="0" bIns="0" rtlCol="0"/>
            <a:lstStyle/>
            <a:p>
              <a:endParaRPr/>
            </a:p>
          </p:txBody>
        </p:sp>
        <p:pic>
          <p:nvPicPr>
            <p:cNvPr id="9" name="object 9"/>
            <p:cNvPicPr/>
            <p:nvPr/>
          </p:nvPicPr>
          <p:blipFill>
            <a:blip r:embed="rId2" cstate="print"/>
            <a:stretch>
              <a:fillRect/>
            </a:stretch>
          </p:blipFill>
          <p:spPr>
            <a:xfrm>
              <a:off x="0" y="-1"/>
              <a:ext cx="4151375" cy="6857999"/>
            </a:xfrm>
            <a:prstGeom prst="rect">
              <a:avLst/>
            </a:prstGeom>
          </p:spPr>
        </p:pic>
        <p:sp>
          <p:nvSpPr>
            <p:cNvPr id="10" name="object 10"/>
            <p:cNvSpPr/>
            <p:nvPr/>
          </p:nvSpPr>
          <p:spPr>
            <a:xfrm>
              <a:off x="571881" y="6345567"/>
              <a:ext cx="1346835" cy="222885"/>
            </a:xfrm>
            <a:custGeom>
              <a:avLst/>
              <a:gdLst/>
              <a:ahLst/>
              <a:cxnLst/>
              <a:rect l="l" t="t" r="r" b="b"/>
              <a:pathLst>
                <a:path w="1346835" h="222884">
                  <a:moveTo>
                    <a:pt x="65151" y="46774"/>
                  </a:moveTo>
                  <a:lnTo>
                    <a:pt x="57264" y="45643"/>
                  </a:lnTo>
                  <a:lnTo>
                    <a:pt x="49263" y="44843"/>
                  </a:lnTo>
                  <a:lnTo>
                    <a:pt x="41160" y="44373"/>
                  </a:lnTo>
                  <a:lnTo>
                    <a:pt x="25146" y="44221"/>
                  </a:lnTo>
                  <a:lnTo>
                    <a:pt x="17360" y="44678"/>
                  </a:lnTo>
                  <a:lnTo>
                    <a:pt x="9766" y="45593"/>
                  </a:lnTo>
                  <a:lnTo>
                    <a:pt x="2514" y="77914"/>
                  </a:lnTo>
                  <a:lnTo>
                    <a:pt x="0" y="110985"/>
                  </a:lnTo>
                  <a:lnTo>
                    <a:pt x="2362" y="144310"/>
                  </a:lnTo>
                  <a:lnTo>
                    <a:pt x="9766" y="177393"/>
                  </a:lnTo>
                  <a:lnTo>
                    <a:pt x="17360" y="178308"/>
                  </a:lnTo>
                  <a:lnTo>
                    <a:pt x="25057" y="178765"/>
                  </a:lnTo>
                  <a:lnTo>
                    <a:pt x="41109" y="178600"/>
                  </a:lnTo>
                  <a:lnTo>
                    <a:pt x="49225" y="178104"/>
                  </a:lnTo>
                  <a:lnTo>
                    <a:pt x="57251" y="177304"/>
                  </a:lnTo>
                  <a:lnTo>
                    <a:pt x="65151" y="176212"/>
                  </a:lnTo>
                  <a:lnTo>
                    <a:pt x="65151" y="176034"/>
                  </a:lnTo>
                  <a:lnTo>
                    <a:pt x="56908" y="148590"/>
                  </a:lnTo>
                  <a:lnTo>
                    <a:pt x="53200" y="120396"/>
                  </a:lnTo>
                  <a:lnTo>
                    <a:pt x="54089" y="91859"/>
                  </a:lnTo>
                  <a:lnTo>
                    <a:pt x="59639" y="63398"/>
                  </a:lnTo>
                  <a:lnTo>
                    <a:pt x="63055" y="52171"/>
                  </a:lnTo>
                  <a:lnTo>
                    <a:pt x="65151" y="46774"/>
                  </a:lnTo>
                  <a:close/>
                </a:path>
                <a:path w="1346835" h="222884">
                  <a:moveTo>
                    <a:pt x="210235" y="156933"/>
                  </a:moveTo>
                  <a:lnTo>
                    <a:pt x="204292" y="144780"/>
                  </a:lnTo>
                  <a:lnTo>
                    <a:pt x="197459" y="133146"/>
                  </a:lnTo>
                  <a:lnTo>
                    <a:pt x="189801" y="122047"/>
                  </a:lnTo>
                  <a:lnTo>
                    <a:pt x="181343" y="111544"/>
                  </a:lnTo>
                  <a:lnTo>
                    <a:pt x="157518" y="134721"/>
                  </a:lnTo>
                  <a:lnTo>
                    <a:pt x="129794" y="153606"/>
                  </a:lnTo>
                  <a:lnTo>
                    <a:pt x="98767" y="167627"/>
                  </a:lnTo>
                  <a:lnTo>
                    <a:pt x="65201" y="176187"/>
                  </a:lnTo>
                  <a:lnTo>
                    <a:pt x="68084" y="183184"/>
                  </a:lnTo>
                  <a:lnTo>
                    <a:pt x="87007" y="216763"/>
                  </a:lnTo>
                  <a:lnTo>
                    <a:pt x="91655" y="222796"/>
                  </a:lnTo>
                  <a:lnTo>
                    <a:pt x="125120" y="212394"/>
                  </a:lnTo>
                  <a:lnTo>
                    <a:pt x="156286" y="197713"/>
                  </a:lnTo>
                  <a:lnTo>
                    <a:pt x="184785" y="179108"/>
                  </a:lnTo>
                  <a:lnTo>
                    <a:pt x="210235" y="156933"/>
                  </a:lnTo>
                  <a:close/>
                </a:path>
                <a:path w="1346835" h="222884">
                  <a:moveTo>
                    <a:pt x="210312" y="66052"/>
                  </a:moveTo>
                  <a:lnTo>
                    <a:pt x="184861" y="43776"/>
                  </a:lnTo>
                  <a:lnTo>
                    <a:pt x="156337" y="25107"/>
                  </a:lnTo>
                  <a:lnTo>
                    <a:pt x="125133" y="10414"/>
                  </a:lnTo>
                  <a:lnTo>
                    <a:pt x="91655" y="0"/>
                  </a:lnTo>
                  <a:lnTo>
                    <a:pt x="83794" y="10909"/>
                  </a:lnTo>
                  <a:lnTo>
                    <a:pt x="76733" y="22364"/>
                  </a:lnTo>
                  <a:lnTo>
                    <a:pt x="70510" y="34328"/>
                  </a:lnTo>
                  <a:lnTo>
                    <a:pt x="65151" y="46774"/>
                  </a:lnTo>
                  <a:lnTo>
                    <a:pt x="98894" y="55359"/>
                  </a:lnTo>
                  <a:lnTo>
                    <a:pt x="129921" y="69380"/>
                  </a:lnTo>
                  <a:lnTo>
                    <a:pt x="157632" y="88265"/>
                  </a:lnTo>
                  <a:lnTo>
                    <a:pt x="181444" y="111442"/>
                  </a:lnTo>
                  <a:lnTo>
                    <a:pt x="189890" y="100926"/>
                  </a:lnTo>
                  <a:lnTo>
                    <a:pt x="197561" y="89814"/>
                  </a:lnTo>
                  <a:lnTo>
                    <a:pt x="204381" y="78168"/>
                  </a:lnTo>
                  <a:lnTo>
                    <a:pt x="210312" y="66052"/>
                  </a:lnTo>
                  <a:close/>
                </a:path>
                <a:path w="1346835" h="222884">
                  <a:moveTo>
                    <a:pt x="458774" y="85598"/>
                  </a:moveTo>
                  <a:lnTo>
                    <a:pt x="445897" y="57480"/>
                  </a:lnTo>
                  <a:lnTo>
                    <a:pt x="424967" y="36601"/>
                  </a:lnTo>
                  <a:lnTo>
                    <a:pt x="398208" y="23583"/>
                  </a:lnTo>
                  <a:lnTo>
                    <a:pt x="367842" y="19100"/>
                  </a:lnTo>
                  <a:lnTo>
                    <a:pt x="329730" y="25946"/>
                  </a:lnTo>
                  <a:lnTo>
                    <a:pt x="299046" y="45046"/>
                  </a:lnTo>
                  <a:lnTo>
                    <a:pt x="278574" y="74244"/>
                  </a:lnTo>
                  <a:lnTo>
                    <a:pt x="271132" y="111353"/>
                  </a:lnTo>
                  <a:lnTo>
                    <a:pt x="278561" y="148475"/>
                  </a:lnTo>
                  <a:lnTo>
                    <a:pt x="299008" y="177660"/>
                  </a:lnTo>
                  <a:lnTo>
                    <a:pt x="329692" y="196761"/>
                  </a:lnTo>
                  <a:lnTo>
                    <a:pt x="367842" y="203619"/>
                  </a:lnTo>
                  <a:lnTo>
                    <a:pt x="398208" y="199136"/>
                  </a:lnTo>
                  <a:lnTo>
                    <a:pt x="424967" y="186118"/>
                  </a:lnTo>
                  <a:lnTo>
                    <a:pt x="445897" y="165239"/>
                  </a:lnTo>
                  <a:lnTo>
                    <a:pt x="458774" y="137121"/>
                  </a:lnTo>
                  <a:lnTo>
                    <a:pt x="418211" y="137121"/>
                  </a:lnTo>
                  <a:lnTo>
                    <a:pt x="410908" y="151320"/>
                  </a:lnTo>
                  <a:lnTo>
                    <a:pt x="399694" y="161975"/>
                  </a:lnTo>
                  <a:lnTo>
                    <a:pt x="385127" y="168681"/>
                  </a:lnTo>
                  <a:lnTo>
                    <a:pt x="367842" y="171005"/>
                  </a:lnTo>
                  <a:lnTo>
                    <a:pt x="343979" y="166484"/>
                  </a:lnTo>
                  <a:lnTo>
                    <a:pt x="325577" y="153987"/>
                  </a:lnTo>
                  <a:lnTo>
                    <a:pt x="313715" y="135089"/>
                  </a:lnTo>
                  <a:lnTo>
                    <a:pt x="309511" y="111353"/>
                  </a:lnTo>
                  <a:lnTo>
                    <a:pt x="313715" y="87630"/>
                  </a:lnTo>
                  <a:lnTo>
                    <a:pt x="325577" y="68719"/>
                  </a:lnTo>
                  <a:lnTo>
                    <a:pt x="343979" y="56222"/>
                  </a:lnTo>
                  <a:lnTo>
                    <a:pt x="367842" y="51701"/>
                  </a:lnTo>
                  <a:lnTo>
                    <a:pt x="385114" y="54013"/>
                  </a:lnTo>
                  <a:lnTo>
                    <a:pt x="399656" y="60706"/>
                  </a:lnTo>
                  <a:lnTo>
                    <a:pt x="410870" y="71361"/>
                  </a:lnTo>
                  <a:lnTo>
                    <a:pt x="418211" y="85598"/>
                  </a:lnTo>
                  <a:lnTo>
                    <a:pt x="458774" y="85598"/>
                  </a:lnTo>
                  <a:close/>
                </a:path>
                <a:path w="1346835" h="222884">
                  <a:moveTo>
                    <a:pt x="512076" y="22212"/>
                  </a:moveTo>
                  <a:lnTo>
                    <a:pt x="477862" y="22212"/>
                  </a:lnTo>
                  <a:lnTo>
                    <a:pt x="477862" y="200596"/>
                  </a:lnTo>
                  <a:lnTo>
                    <a:pt x="512076" y="200596"/>
                  </a:lnTo>
                  <a:lnTo>
                    <a:pt x="512076" y="22212"/>
                  </a:lnTo>
                  <a:close/>
                </a:path>
                <a:path w="1346835" h="222884">
                  <a:moveTo>
                    <a:pt x="641477" y="123964"/>
                  </a:moveTo>
                  <a:lnTo>
                    <a:pt x="608609" y="83248"/>
                  </a:lnTo>
                  <a:lnTo>
                    <a:pt x="588746" y="80848"/>
                  </a:lnTo>
                  <a:lnTo>
                    <a:pt x="568198" y="83070"/>
                  </a:lnTo>
                  <a:lnTo>
                    <a:pt x="551713" y="87972"/>
                  </a:lnTo>
                  <a:lnTo>
                    <a:pt x="540753" y="92875"/>
                  </a:lnTo>
                  <a:lnTo>
                    <a:pt x="536778" y="95097"/>
                  </a:lnTo>
                  <a:lnTo>
                    <a:pt x="550265" y="120040"/>
                  </a:lnTo>
                  <a:lnTo>
                    <a:pt x="558076" y="116166"/>
                  </a:lnTo>
                  <a:lnTo>
                    <a:pt x="567385" y="112636"/>
                  </a:lnTo>
                  <a:lnTo>
                    <a:pt x="577265" y="110070"/>
                  </a:lnTo>
                  <a:lnTo>
                    <a:pt x="586841" y="109080"/>
                  </a:lnTo>
                  <a:lnTo>
                    <a:pt x="600049" y="109080"/>
                  </a:lnTo>
                  <a:lnTo>
                    <a:pt x="606983" y="114465"/>
                  </a:lnTo>
                  <a:lnTo>
                    <a:pt x="606983" y="128524"/>
                  </a:lnTo>
                  <a:lnTo>
                    <a:pt x="606983" y="150368"/>
                  </a:lnTo>
                  <a:lnTo>
                    <a:pt x="583323" y="179501"/>
                  </a:lnTo>
                  <a:lnTo>
                    <a:pt x="572782" y="179501"/>
                  </a:lnTo>
                  <a:lnTo>
                    <a:pt x="566127" y="173926"/>
                  </a:lnTo>
                  <a:lnTo>
                    <a:pt x="566127" y="157492"/>
                  </a:lnTo>
                  <a:lnTo>
                    <a:pt x="572503" y="152920"/>
                  </a:lnTo>
                  <a:lnTo>
                    <a:pt x="601192" y="152920"/>
                  </a:lnTo>
                  <a:lnTo>
                    <a:pt x="604901" y="152374"/>
                  </a:lnTo>
                  <a:lnTo>
                    <a:pt x="606983" y="150368"/>
                  </a:lnTo>
                  <a:lnTo>
                    <a:pt x="606983" y="128524"/>
                  </a:lnTo>
                  <a:lnTo>
                    <a:pt x="604329" y="131089"/>
                  </a:lnTo>
                  <a:lnTo>
                    <a:pt x="574687" y="131089"/>
                  </a:lnTo>
                  <a:lnTo>
                    <a:pt x="556425" y="133578"/>
                  </a:lnTo>
                  <a:lnTo>
                    <a:pt x="542569" y="140716"/>
                  </a:lnTo>
                  <a:lnTo>
                    <a:pt x="533768" y="152019"/>
                  </a:lnTo>
                  <a:lnTo>
                    <a:pt x="530694" y="166992"/>
                  </a:lnTo>
                  <a:lnTo>
                    <a:pt x="533692" y="180771"/>
                  </a:lnTo>
                  <a:lnTo>
                    <a:pt x="542226" y="192506"/>
                  </a:lnTo>
                  <a:lnTo>
                    <a:pt x="555650" y="200698"/>
                  </a:lnTo>
                  <a:lnTo>
                    <a:pt x="555802" y="200698"/>
                  </a:lnTo>
                  <a:lnTo>
                    <a:pt x="573062" y="203708"/>
                  </a:lnTo>
                  <a:lnTo>
                    <a:pt x="583285" y="202806"/>
                  </a:lnTo>
                  <a:lnTo>
                    <a:pt x="592810" y="200139"/>
                  </a:lnTo>
                  <a:lnTo>
                    <a:pt x="600938" y="195770"/>
                  </a:lnTo>
                  <a:lnTo>
                    <a:pt x="606983" y="189725"/>
                  </a:lnTo>
                  <a:lnTo>
                    <a:pt x="606983" y="200698"/>
                  </a:lnTo>
                  <a:lnTo>
                    <a:pt x="641477" y="200698"/>
                  </a:lnTo>
                  <a:lnTo>
                    <a:pt x="641477" y="189725"/>
                  </a:lnTo>
                  <a:lnTo>
                    <a:pt x="641477" y="179501"/>
                  </a:lnTo>
                  <a:lnTo>
                    <a:pt x="641477" y="150368"/>
                  </a:lnTo>
                  <a:lnTo>
                    <a:pt x="641477" y="123964"/>
                  </a:lnTo>
                  <a:close/>
                </a:path>
                <a:path w="1346835" h="222884">
                  <a:moveTo>
                    <a:pt x="736295" y="83400"/>
                  </a:moveTo>
                  <a:lnTo>
                    <a:pt x="733158" y="82677"/>
                  </a:lnTo>
                  <a:lnTo>
                    <a:pt x="729932" y="82397"/>
                  </a:lnTo>
                  <a:lnTo>
                    <a:pt x="726795" y="82397"/>
                  </a:lnTo>
                  <a:lnTo>
                    <a:pt x="716153" y="83781"/>
                  </a:lnTo>
                  <a:lnTo>
                    <a:pt x="707136" y="87757"/>
                  </a:lnTo>
                  <a:lnTo>
                    <a:pt x="700049" y="94081"/>
                  </a:lnTo>
                  <a:lnTo>
                    <a:pt x="695248" y="102501"/>
                  </a:lnTo>
                  <a:lnTo>
                    <a:pt x="695248" y="83858"/>
                  </a:lnTo>
                  <a:lnTo>
                    <a:pt x="661809" y="83858"/>
                  </a:lnTo>
                  <a:lnTo>
                    <a:pt x="661809" y="200596"/>
                  </a:lnTo>
                  <a:lnTo>
                    <a:pt x="696290" y="200596"/>
                  </a:lnTo>
                  <a:lnTo>
                    <a:pt x="696290" y="144792"/>
                  </a:lnTo>
                  <a:lnTo>
                    <a:pt x="697814" y="131737"/>
                  </a:lnTo>
                  <a:lnTo>
                    <a:pt x="702462" y="122961"/>
                  </a:lnTo>
                  <a:lnTo>
                    <a:pt x="710399" y="118021"/>
                  </a:lnTo>
                  <a:lnTo>
                    <a:pt x="721753" y="116471"/>
                  </a:lnTo>
                  <a:lnTo>
                    <a:pt x="736295" y="116560"/>
                  </a:lnTo>
                  <a:lnTo>
                    <a:pt x="736295" y="83400"/>
                  </a:lnTo>
                  <a:close/>
                </a:path>
                <a:path w="1346835" h="222884">
                  <a:moveTo>
                    <a:pt x="803846" y="83858"/>
                  </a:moveTo>
                  <a:lnTo>
                    <a:pt x="752449" y="83858"/>
                  </a:lnTo>
                  <a:lnTo>
                    <a:pt x="752449" y="111912"/>
                  </a:lnTo>
                  <a:lnTo>
                    <a:pt x="769454" y="111912"/>
                  </a:lnTo>
                  <a:lnTo>
                    <a:pt x="769454" y="200596"/>
                  </a:lnTo>
                  <a:lnTo>
                    <a:pt x="803846" y="200596"/>
                  </a:lnTo>
                  <a:lnTo>
                    <a:pt x="803846" y="83858"/>
                  </a:lnTo>
                  <a:close/>
                </a:path>
                <a:path w="1346835" h="222884">
                  <a:moveTo>
                    <a:pt x="807364" y="43586"/>
                  </a:moveTo>
                  <a:lnTo>
                    <a:pt x="805637" y="35318"/>
                  </a:lnTo>
                  <a:lnTo>
                    <a:pt x="800912" y="28511"/>
                  </a:lnTo>
                  <a:lnTo>
                    <a:pt x="793851" y="23901"/>
                  </a:lnTo>
                  <a:lnTo>
                    <a:pt x="785139" y="22212"/>
                  </a:lnTo>
                  <a:lnTo>
                    <a:pt x="776249" y="23901"/>
                  </a:lnTo>
                  <a:lnTo>
                    <a:pt x="776439" y="23901"/>
                  </a:lnTo>
                  <a:lnTo>
                    <a:pt x="769505" y="28371"/>
                  </a:lnTo>
                  <a:lnTo>
                    <a:pt x="764806" y="35153"/>
                  </a:lnTo>
                  <a:lnTo>
                    <a:pt x="763079" y="43586"/>
                  </a:lnTo>
                  <a:lnTo>
                    <a:pt x="764743" y="51828"/>
                  </a:lnTo>
                  <a:lnTo>
                    <a:pt x="785139" y="64770"/>
                  </a:lnTo>
                  <a:lnTo>
                    <a:pt x="793597" y="63157"/>
                  </a:lnTo>
                  <a:lnTo>
                    <a:pt x="793775" y="63157"/>
                  </a:lnTo>
                  <a:lnTo>
                    <a:pt x="800912" y="58559"/>
                  </a:lnTo>
                  <a:lnTo>
                    <a:pt x="805535" y="51981"/>
                  </a:lnTo>
                  <a:lnTo>
                    <a:pt x="805637" y="51828"/>
                  </a:lnTo>
                  <a:lnTo>
                    <a:pt x="807364" y="43586"/>
                  </a:lnTo>
                  <a:close/>
                </a:path>
                <a:path w="1346835" h="222884">
                  <a:moveTo>
                    <a:pt x="945222" y="83858"/>
                  </a:moveTo>
                  <a:lnTo>
                    <a:pt x="908926" y="83858"/>
                  </a:lnTo>
                  <a:lnTo>
                    <a:pt x="881278" y="164884"/>
                  </a:lnTo>
                  <a:lnTo>
                    <a:pt x="855345" y="83858"/>
                  </a:lnTo>
                  <a:lnTo>
                    <a:pt x="817994" y="83858"/>
                  </a:lnTo>
                  <a:lnTo>
                    <a:pt x="859332" y="200596"/>
                  </a:lnTo>
                  <a:lnTo>
                    <a:pt x="901992" y="200596"/>
                  </a:lnTo>
                  <a:lnTo>
                    <a:pt x="945222" y="83858"/>
                  </a:lnTo>
                  <a:close/>
                </a:path>
                <a:path w="1346835" h="222884">
                  <a:moveTo>
                    <a:pt x="1057605" y="123964"/>
                  </a:moveTo>
                  <a:lnTo>
                    <a:pt x="1054315" y="109080"/>
                  </a:lnTo>
                  <a:lnTo>
                    <a:pt x="1053249" y="104203"/>
                  </a:lnTo>
                  <a:lnTo>
                    <a:pt x="1041577" y="90830"/>
                  </a:lnTo>
                  <a:lnTo>
                    <a:pt x="1024737" y="83248"/>
                  </a:lnTo>
                  <a:lnTo>
                    <a:pt x="1004874" y="80848"/>
                  </a:lnTo>
                  <a:lnTo>
                    <a:pt x="984338" y="83070"/>
                  </a:lnTo>
                  <a:lnTo>
                    <a:pt x="967854" y="87972"/>
                  </a:lnTo>
                  <a:lnTo>
                    <a:pt x="956894" y="92875"/>
                  </a:lnTo>
                  <a:lnTo>
                    <a:pt x="952919" y="95097"/>
                  </a:lnTo>
                  <a:lnTo>
                    <a:pt x="966406" y="120040"/>
                  </a:lnTo>
                  <a:lnTo>
                    <a:pt x="974217" y="116166"/>
                  </a:lnTo>
                  <a:lnTo>
                    <a:pt x="983513" y="112636"/>
                  </a:lnTo>
                  <a:lnTo>
                    <a:pt x="993406" y="110070"/>
                  </a:lnTo>
                  <a:lnTo>
                    <a:pt x="1002982" y="109080"/>
                  </a:lnTo>
                  <a:lnTo>
                    <a:pt x="1016190" y="109080"/>
                  </a:lnTo>
                  <a:lnTo>
                    <a:pt x="1023124" y="114465"/>
                  </a:lnTo>
                  <a:lnTo>
                    <a:pt x="1023124" y="128524"/>
                  </a:lnTo>
                  <a:lnTo>
                    <a:pt x="1023124" y="150368"/>
                  </a:lnTo>
                  <a:lnTo>
                    <a:pt x="999477" y="179501"/>
                  </a:lnTo>
                  <a:lnTo>
                    <a:pt x="988923" y="179501"/>
                  </a:lnTo>
                  <a:lnTo>
                    <a:pt x="982281" y="173926"/>
                  </a:lnTo>
                  <a:lnTo>
                    <a:pt x="982281" y="157492"/>
                  </a:lnTo>
                  <a:lnTo>
                    <a:pt x="988631" y="152920"/>
                  </a:lnTo>
                  <a:lnTo>
                    <a:pt x="1017333" y="152920"/>
                  </a:lnTo>
                  <a:lnTo>
                    <a:pt x="1021029" y="152374"/>
                  </a:lnTo>
                  <a:lnTo>
                    <a:pt x="1023124" y="150368"/>
                  </a:lnTo>
                  <a:lnTo>
                    <a:pt x="1023124" y="128524"/>
                  </a:lnTo>
                  <a:lnTo>
                    <a:pt x="1020470" y="131089"/>
                  </a:lnTo>
                  <a:lnTo>
                    <a:pt x="990815" y="131089"/>
                  </a:lnTo>
                  <a:lnTo>
                    <a:pt x="972566" y="133578"/>
                  </a:lnTo>
                  <a:lnTo>
                    <a:pt x="958710" y="140716"/>
                  </a:lnTo>
                  <a:lnTo>
                    <a:pt x="949921" y="152019"/>
                  </a:lnTo>
                  <a:lnTo>
                    <a:pt x="946848" y="166992"/>
                  </a:lnTo>
                  <a:lnTo>
                    <a:pt x="949845" y="180771"/>
                  </a:lnTo>
                  <a:lnTo>
                    <a:pt x="958367" y="192506"/>
                  </a:lnTo>
                  <a:lnTo>
                    <a:pt x="971791" y="200698"/>
                  </a:lnTo>
                  <a:lnTo>
                    <a:pt x="971943" y="200698"/>
                  </a:lnTo>
                  <a:lnTo>
                    <a:pt x="989215" y="203708"/>
                  </a:lnTo>
                  <a:lnTo>
                    <a:pt x="999426" y="202806"/>
                  </a:lnTo>
                  <a:lnTo>
                    <a:pt x="1008951" y="200139"/>
                  </a:lnTo>
                  <a:lnTo>
                    <a:pt x="1017079" y="195770"/>
                  </a:lnTo>
                  <a:lnTo>
                    <a:pt x="1023124" y="189725"/>
                  </a:lnTo>
                  <a:lnTo>
                    <a:pt x="1023124" y="200698"/>
                  </a:lnTo>
                  <a:lnTo>
                    <a:pt x="1057605" y="200698"/>
                  </a:lnTo>
                  <a:lnTo>
                    <a:pt x="1057605" y="189725"/>
                  </a:lnTo>
                  <a:lnTo>
                    <a:pt x="1057605" y="179501"/>
                  </a:lnTo>
                  <a:lnTo>
                    <a:pt x="1057605" y="150368"/>
                  </a:lnTo>
                  <a:lnTo>
                    <a:pt x="1057605" y="123964"/>
                  </a:lnTo>
                  <a:close/>
                </a:path>
                <a:path w="1346835" h="222884">
                  <a:moveTo>
                    <a:pt x="1151382" y="172288"/>
                  </a:moveTo>
                  <a:lnTo>
                    <a:pt x="1144257" y="173012"/>
                  </a:lnTo>
                  <a:lnTo>
                    <a:pt x="1130198" y="173012"/>
                  </a:lnTo>
                  <a:lnTo>
                    <a:pt x="1124115" y="172008"/>
                  </a:lnTo>
                  <a:lnTo>
                    <a:pt x="1124115" y="111810"/>
                  </a:lnTo>
                  <a:lnTo>
                    <a:pt x="1150340" y="111810"/>
                  </a:lnTo>
                  <a:lnTo>
                    <a:pt x="1150340" y="83769"/>
                  </a:lnTo>
                  <a:lnTo>
                    <a:pt x="1124115" y="83769"/>
                  </a:lnTo>
                  <a:lnTo>
                    <a:pt x="1124115" y="39471"/>
                  </a:lnTo>
                  <a:lnTo>
                    <a:pt x="1089634" y="39471"/>
                  </a:lnTo>
                  <a:lnTo>
                    <a:pt x="1089634" y="83959"/>
                  </a:lnTo>
                  <a:lnTo>
                    <a:pt x="1070533" y="83959"/>
                  </a:lnTo>
                  <a:lnTo>
                    <a:pt x="1070533" y="112001"/>
                  </a:lnTo>
                  <a:lnTo>
                    <a:pt x="1089634" y="112001"/>
                  </a:lnTo>
                  <a:lnTo>
                    <a:pt x="1089634" y="175933"/>
                  </a:lnTo>
                  <a:lnTo>
                    <a:pt x="1092682" y="189903"/>
                  </a:lnTo>
                  <a:lnTo>
                    <a:pt x="1100658" y="197815"/>
                  </a:lnTo>
                  <a:lnTo>
                    <a:pt x="1111973" y="201383"/>
                  </a:lnTo>
                  <a:lnTo>
                    <a:pt x="1112380" y="201383"/>
                  </a:lnTo>
                  <a:lnTo>
                    <a:pt x="1124597" y="202158"/>
                  </a:lnTo>
                  <a:lnTo>
                    <a:pt x="1133030" y="201917"/>
                  </a:lnTo>
                  <a:lnTo>
                    <a:pt x="1141768" y="201383"/>
                  </a:lnTo>
                  <a:lnTo>
                    <a:pt x="1151382" y="200596"/>
                  </a:lnTo>
                  <a:lnTo>
                    <a:pt x="1151382" y="173012"/>
                  </a:lnTo>
                  <a:lnTo>
                    <a:pt x="1151382" y="172288"/>
                  </a:lnTo>
                  <a:close/>
                </a:path>
                <a:path w="1346835" h="222884">
                  <a:moveTo>
                    <a:pt x="1288110" y="150723"/>
                  </a:moveTo>
                  <a:lnTo>
                    <a:pt x="1284617" y="129717"/>
                  </a:lnTo>
                  <a:lnTo>
                    <a:pt x="1282865" y="119202"/>
                  </a:lnTo>
                  <a:lnTo>
                    <a:pt x="1275829" y="108343"/>
                  </a:lnTo>
                  <a:lnTo>
                    <a:pt x="1268818" y="97510"/>
                  </a:lnTo>
                  <a:lnTo>
                    <a:pt x="1251153" y="86614"/>
                  </a:lnTo>
                  <a:lnTo>
                    <a:pt x="1251153" y="129717"/>
                  </a:lnTo>
                  <a:lnTo>
                    <a:pt x="1196797" y="129717"/>
                  </a:lnTo>
                  <a:lnTo>
                    <a:pt x="1200048" y="121450"/>
                  </a:lnTo>
                  <a:lnTo>
                    <a:pt x="1200175" y="121132"/>
                  </a:lnTo>
                  <a:lnTo>
                    <a:pt x="1206093" y="114376"/>
                  </a:lnTo>
                  <a:lnTo>
                    <a:pt x="1214056" y="110032"/>
                  </a:lnTo>
                  <a:lnTo>
                    <a:pt x="1213599" y="110032"/>
                  </a:lnTo>
                  <a:lnTo>
                    <a:pt x="1224356" y="108343"/>
                  </a:lnTo>
                  <a:lnTo>
                    <a:pt x="1234440" y="110032"/>
                  </a:lnTo>
                  <a:lnTo>
                    <a:pt x="1242529" y="114642"/>
                  </a:lnTo>
                  <a:lnTo>
                    <a:pt x="1248219" y="121450"/>
                  </a:lnTo>
                  <a:lnTo>
                    <a:pt x="1251153" y="129717"/>
                  </a:lnTo>
                  <a:lnTo>
                    <a:pt x="1251153" y="86614"/>
                  </a:lnTo>
                  <a:lnTo>
                    <a:pt x="1248498" y="84975"/>
                  </a:lnTo>
                  <a:lnTo>
                    <a:pt x="1224445" y="80937"/>
                  </a:lnTo>
                  <a:lnTo>
                    <a:pt x="1199273" y="85521"/>
                  </a:lnTo>
                  <a:lnTo>
                    <a:pt x="1179296" y="98272"/>
                  </a:lnTo>
                  <a:lnTo>
                    <a:pt x="1166114" y="117703"/>
                  </a:lnTo>
                  <a:lnTo>
                    <a:pt x="1161364" y="142328"/>
                  </a:lnTo>
                  <a:lnTo>
                    <a:pt x="1165504" y="163423"/>
                  </a:lnTo>
                  <a:lnTo>
                    <a:pt x="1166228" y="166992"/>
                  </a:lnTo>
                  <a:lnTo>
                    <a:pt x="1179576" y="186372"/>
                  </a:lnTo>
                  <a:lnTo>
                    <a:pt x="1199756" y="199123"/>
                  </a:lnTo>
                  <a:lnTo>
                    <a:pt x="1225029" y="203708"/>
                  </a:lnTo>
                  <a:lnTo>
                    <a:pt x="1244409" y="201472"/>
                  </a:lnTo>
                  <a:lnTo>
                    <a:pt x="1261465" y="194703"/>
                  </a:lnTo>
                  <a:lnTo>
                    <a:pt x="1275486" y="183248"/>
                  </a:lnTo>
                  <a:lnTo>
                    <a:pt x="1280439" y="175387"/>
                  </a:lnTo>
                  <a:lnTo>
                    <a:pt x="1285735" y="166992"/>
                  </a:lnTo>
                  <a:lnTo>
                    <a:pt x="1249908" y="163423"/>
                  </a:lnTo>
                  <a:lnTo>
                    <a:pt x="1245463" y="168605"/>
                  </a:lnTo>
                  <a:lnTo>
                    <a:pt x="1239659" y="172351"/>
                  </a:lnTo>
                  <a:lnTo>
                    <a:pt x="1232877" y="174625"/>
                  </a:lnTo>
                  <a:lnTo>
                    <a:pt x="1225486" y="175387"/>
                  </a:lnTo>
                  <a:lnTo>
                    <a:pt x="1214920" y="173545"/>
                  </a:lnTo>
                  <a:lnTo>
                    <a:pt x="1206665" y="168605"/>
                  </a:lnTo>
                  <a:lnTo>
                    <a:pt x="1205318" y="166992"/>
                  </a:lnTo>
                  <a:lnTo>
                    <a:pt x="1200645" y="161048"/>
                  </a:lnTo>
                  <a:lnTo>
                    <a:pt x="1197698" y="152006"/>
                  </a:lnTo>
                  <a:lnTo>
                    <a:pt x="1288110" y="152006"/>
                  </a:lnTo>
                  <a:lnTo>
                    <a:pt x="1288110" y="150723"/>
                  </a:lnTo>
                  <a:close/>
                </a:path>
                <a:path w="1346835" h="222884">
                  <a:moveTo>
                    <a:pt x="1306525" y="22377"/>
                  </a:moveTo>
                  <a:lnTo>
                    <a:pt x="1278318" y="22377"/>
                  </a:lnTo>
                  <a:lnTo>
                    <a:pt x="1278318" y="30607"/>
                  </a:lnTo>
                  <a:lnTo>
                    <a:pt x="1287627" y="30607"/>
                  </a:lnTo>
                  <a:lnTo>
                    <a:pt x="1287627" y="54089"/>
                  </a:lnTo>
                  <a:lnTo>
                    <a:pt x="1297330" y="54089"/>
                  </a:lnTo>
                  <a:lnTo>
                    <a:pt x="1297330" y="30607"/>
                  </a:lnTo>
                  <a:lnTo>
                    <a:pt x="1306525" y="30607"/>
                  </a:lnTo>
                  <a:lnTo>
                    <a:pt x="1306525" y="22377"/>
                  </a:lnTo>
                  <a:close/>
                </a:path>
                <a:path w="1346835" h="222884">
                  <a:moveTo>
                    <a:pt x="1346631" y="22301"/>
                  </a:moveTo>
                  <a:lnTo>
                    <a:pt x="1334668" y="22301"/>
                  </a:lnTo>
                  <a:lnTo>
                    <a:pt x="1329537" y="35547"/>
                  </a:lnTo>
                  <a:lnTo>
                    <a:pt x="1324686" y="22301"/>
                  </a:lnTo>
                  <a:lnTo>
                    <a:pt x="1311948" y="22301"/>
                  </a:lnTo>
                  <a:lnTo>
                    <a:pt x="1311948" y="53987"/>
                  </a:lnTo>
                  <a:lnTo>
                    <a:pt x="1321269" y="53987"/>
                  </a:lnTo>
                  <a:lnTo>
                    <a:pt x="1321269" y="35915"/>
                  </a:lnTo>
                  <a:lnTo>
                    <a:pt x="1325549" y="47231"/>
                  </a:lnTo>
                  <a:lnTo>
                    <a:pt x="1332865" y="47231"/>
                  </a:lnTo>
                  <a:lnTo>
                    <a:pt x="1337132" y="35915"/>
                  </a:lnTo>
                  <a:lnTo>
                    <a:pt x="1337132" y="53987"/>
                  </a:lnTo>
                  <a:lnTo>
                    <a:pt x="1346631" y="53987"/>
                  </a:lnTo>
                  <a:lnTo>
                    <a:pt x="1346631" y="22301"/>
                  </a:lnTo>
                  <a:close/>
                </a:path>
              </a:pathLst>
            </a:custGeom>
            <a:solidFill>
              <a:srgbClr val="FFFFFF"/>
            </a:solidFill>
          </p:spPr>
          <p:txBody>
            <a:bodyPr wrap="square" lIns="0" tIns="0" rIns="0" bIns="0" rtlCol="0"/>
            <a:lstStyle/>
            <a:p>
              <a:endParaRPr/>
            </a:p>
          </p:txBody>
        </p:sp>
      </p:grpSp>
      <p:sp>
        <p:nvSpPr>
          <p:cNvPr id="11" name="object 11"/>
          <p:cNvSpPr txBox="1"/>
          <p:nvPr/>
        </p:nvSpPr>
        <p:spPr>
          <a:xfrm>
            <a:off x="5209794" y="1549145"/>
            <a:ext cx="5079365" cy="3186193"/>
          </a:xfrm>
          <a:prstGeom prst="rect">
            <a:avLst/>
          </a:prstGeom>
        </p:spPr>
        <p:txBody>
          <a:bodyPr vert="horz" wrap="square" lIns="0" tIns="12065" rIns="0" bIns="0" rtlCol="0">
            <a:spAutoFit/>
          </a:bodyPr>
          <a:lstStyle/>
          <a:p>
            <a:pPr marL="12700">
              <a:lnSpc>
                <a:spcPct val="100000"/>
              </a:lnSpc>
              <a:spcBef>
                <a:spcPts val="95"/>
              </a:spcBef>
            </a:pPr>
            <a:r>
              <a:rPr sz="2800" b="1" spc="95" dirty="0">
                <a:solidFill>
                  <a:srgbClr val="B175E1"/>
                </a:solidFill>
                <a:latin typeface="Avenir Next LT Pro Demi" panose="020B0704020202020204" pitchFamily="34" charset="0"/>
                <a:cs typeface="Calibri"/>
              </a:rPr>
              <a:t>Introductions</a:t>
            </a:r>
            <a:endParaRPr sz="2800" dirty="0">
              <a:solidFill>
                <a:srgbClr val="B175E1"/>
              </a:solidFill>
              <a:latin typeface="Avenir Next LT Pro Demi" panose="020B0704020202020204" pitchFamily="34" charset="0"/>
              <a:cs typeface="Calibri"/>
            </a:endParaRPr>
          </a:p>
          <a:p>
            <a:pPr marL="12700" marR="5080">
              <a:lnSpc>
                <a:spcPct val="223800"/>
              </a:lnSpc>
              <a:spcBef>
                <a:spcPts val="25"/>
              </a:spcBef>
            </a:pPr>
            <a:r>
              <a:rPr sz="2800" b="1" spc="85" dirty="0">
                <a:solidFill>
                  <a:srgbClr val="B175E1"/>
                </a:solidFill>
                <a:latin typeface="Avenir Next LT Pro Demi" panose="020B0704020202020204" pitchFamily="34" charset="0"/>
                <a:cs typeface="Calibri"/>
              </a:rPr>
              <a:t>What’s</a:t>
            </a:r>
            <a:r>
              <a:rPr sz="2800" b="1" spc="100" dirty="0">
                <a:solidFill>
                  <a:srgbClr val="B175E1"/>
                </a:solidFill>
                <a:latin typeface="Avenir Next LT Pro Demi" panose="020B0704020202020204" pitchFamily="34" charset="0"/>
                <a:cs typeface="Calibri"/>
              </a:rPr>
              <a:t> </a:t>
            </a:r>
            <a:r>
              <a:rPr sz="2800" b="1" spc="165" dirty="0">
                <a:solidFill>
                  <a:srgbClr val="B175E1"/>
                </a:solidFill>
                <a:latin typeface="Avenir Next LT Pro Demi" panose="020B0704020202020204" pitchFamily="34" charset="0"/>
                <a:cs typeface="Calibri"/>
              </a:rPr>
              <a:t>new</a:t>
            </a:r>
            <a:r>
              <a:rPr sz="2800" b="1" spc="85" dirty="0">
                <a:solidFill>
                  <a:srgbClr val="B175E1"/>
                </a:solidFill>
                <a:latin typeface="Avenir Next LT Pro Demi" panose="020B0704020202020204" pitchFamily="34" charset="0"/>
                <a:cs typeface="Calibri"/>
              </a:rPr>
              <a:t> </a:t>
            </a:r>
            <a:r>
              <a:rPr sz="2800" b="1" spc="95" dirty="0">
                <a:solidFill>
                  <a:srgbClr val="B175E1"/>
                </a:solidFill>
                <a:latin typeface="Avenir Next LT Pro Demi" panose="020B0704020202020204" pitchFamily="34" charset="0"/>
                <a:cs typeface="Calibri"/>
              </a:rPr>
              <a:t>in</a:t>
            </a:r>
            <a:r>
              <a:rPr sz="2800" b="1" spc="85" dirty="0">
                <a:solidFill>
                  <a:srgbClr val="B175E1"/>
                </a:solidFill>
                <a:latin typeface="Avenir Next LT Pro Demi" panose="020B0704020202020204" pitchFamily="34" charset="0"/>
                <a:cs typeface="Calibri"/>
              </a:rPr>
              <a:t> </a:t>
            </a:r>
            <a:r>
              <a:rPr sz="2800" b="1" spc="340" dirty="0">
                <a:solidFill>
                  <a:srgbClr val="B175E1"/>
                </a:solidFill>
                <a:latin typeface="Avenir Next LT Pro Demi" panose="020B0704020202020204" pitchFamily="34" charset="0"/>
                <a:cs typeface="Calibri"/>
              </a:rPr>
              <a:t>ETD</a:t>
            </a:r>
            <a:r>
              <a:rPr sz="2800" b="1" spc="-30" dirty="0">
                <a:solidFill>
                  <a:srgbClr val="B175E1"/>
                </a:solidFill>
                <a:latin typeface="Avenir Next LT Pro Demi" panose="020B0704020202020204" pitchFamily="34" charset="0"/>
                <a:cs typeface="Calibri"/>
              </a:rPr>
              <a:t> </a:t>
            </a:r>
            <a:r>
              <a:rPr sz="2800" b="1" spc="185" dirty="0">
                <a:solidFill>
                  <a:srgbClr val="B175E1"/>
                </a:solidFill>
                <a:latin typeface="Avenir Next LT Pro Demi" panose="020B0704020202020204" pitchFamily="34" charset="0"/>
                <a:cs typeface="Calibri"/>
              </a:rPr>
              <a:t>Admin? </a:t>
            </a:r>
            <a:r>
              <a:rPr sz="2800" b="1" spc="215" dirty="0">
                <a:solidFill>
                  <a:srgbClr val="B175E1"/>
                </a:solidFill>
                <a:latin typeface="Avenir Next LT Pro Demi" panose="020B0704020202020204" pitchFamily="34" charset="0"/>
                <a:cs typeface="Calibri"/>
              </a:rPr>
              <a:t>Roadmap</a:t>
            </a:r>
            <a:r>
              <a:rPr sz="2800" b="1" spc="110" dirty="0">
                <a:solidFill>
                  <a:srgbClr val="B175E1"/>
                </a:solidFill>
                <a:latin typeface="Avenir Next LT Pro Demi" panose="020B0704020202020204" pitchFamily="34" charset="0"/>
                <a:cs typeface="Calibri"/>
              </a:rPr>
              <a:t> </a:t>
            </a:r>
            <a:r>
              <a:rPr sz="2800" b="1" spc="135" dirty="0">
                <a:solidFill>
                  <a:srgbClr val="B175E1"/>
                </a:solidFill>
                <a:latin typeface="Avenir Next LT Pro Demi" panose="020B0704020202020204" pitchFamily="34" charset="0"/>
                <a:cs typeface="Calibri"/>
              </a:rPr>
              <a:t>Review </a:t>
            </a:r>
            <a:endParaRPr lang="en-US" sz="2800" b="1" spc="160" dirty="0">
              <a:solidFill>
                <a:srgbClr val="B175E1"/>
              </a:solidFill>
              <a:latin typeface="Avenir Next LT Pro Demi" panose="020B0704020202020204" pitchFamily="34" charset="0"/>
              <a:cs typeface="Calibri"/>
            </a:endParaRPr>
          </a:p>
          <a:p>
            <a:pPr marL="12700" marR="5080">
              <a:lnSpc>
                <a:spcPct val="223800"/>
              </a:lnSpc>
              <a:spcBef>
                <a:spcPts val="25"/>
              </a:spcBef>
            </a:pPr>
            <a:r>
              <a:rPr lang="en-US" sz="2800" b="1" spc="160" dirty="0">
                <a:solidFill>
                  <a:srgbClr val="B175E1"/>
                </a:solidFill>
                <a:latin typeface="Avenir Next LT Pro Demi" panose="020B0704020202020204" pitchFamily="34" charset="0"/>
                <a:cs typeface="Calibri"/>
              </a:rPr>
              <a:t>Questions</a:t>
            </a:r>
            <a:endParaRPr sz="2800" dirty="0">
              <a:solidFill>
                <a:srgbClr val="B175E1"/>
              </a:solidFill>
              <a:latin typeface="Avenir Next LT Pro Demi" panose="020B0704020202020204" pitchFamily="34" charset="0"/>
              <a:cs typeface="Calibri"/>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534B72DA-6069-B6DA-DCD4-998B8062D864}"/>
              </a:ext>
            </a:extLst>
          </p:cNvPr>
          <p:cNvSpPr/>
          <p:nvPr/>
        </p:nvSpPr>
        <p:spPr>
          <a:xfrm rot="10800000">
            <a:off x="-1" y="2895600"/>
            <a:ext cx="12192001" cy="3957885"/>
          </a:xfrm>
          <a:prstGeom prst="rect">
            <a:avLst/>
          </a:prstGeom>
          <a:gradFill>
            <a:gsLst>
              <a:gs pos="50000">
                <a:srgbClr val="7188E9"/>
              </a:gs>
              <a:gs pos="85000">
                <a:srgbClr val="319AF0"/>
              </a:gs>
              <a:gs pos="15000">
                <a:srgbClr val="B175E1"/>
              </a:gs>
            </a:gsLst>
            <a:lin ang="3600000" scaled="0"/>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venir Next LT Pro"/>
              <a:ea typeface="+mn-ea"/>
              <a:cs typeface="+mn-cs"/>
            </a:endParaRPr>
          </a:p>
        </p:txBody>
      </p:sp>
      <p:sp>
        <p:nvSpPr>
          <p:cNvPr id="27" name="Footer Placeholder 6">
            <a:extLst>
              <a:ext uri="{FF2B5EF4-FFF2-40B4-BE49-F238E27FC236}">
                <a16:creationId xmlns:a16="http://schemas.microsoft.com/office/drawing/2014/main" id="{0AB4261B-AAAB-867B-6FCA-9952FFFB1A7C}"/>
              </a:ext>
            </a:extLst>
          </p:cNvPr>
          <p:cNvSpPr txBox="1">
            <a:spLocks/>
          </p:cNvSpPr>
          <p:nvPr/>
        </p:nvSpPr>
        <p:spPr>
          <a:xfrm>
            <a:off x="8040691" y="6348353"/>
            <a:ext cx="3292473" cy="215901"/>
          </a:xfrm>
          <a:prstGeom prst="rect">
            <a:avLst/>
          </a:prstGeom>
        </p:spPr>
        <p:txBody>
          <a:bodyPr vert="horz" lIns="0" tIns="0" rIns="0" bIns="0" rtlCol="0" anchor="ctr"/>
          <a:lstStyle>
            <a:defPPr>
              <a:defRPr kern="0"/>
            </a:defPPr>
            <a:lvl1pPr algn="r">
              <a:defRPr sz="900">
                <a:solidFill>
                  <a:schemeClr val="tx1"/>
                </a:solidFill>
              </a:defRPr>
            </a:lvl1pPr>
          </a:lstStyle>
          <a:p>
            <a:pPr rtl="0">
              <a:defRPr/>
            </a:pPr>
            <a:r>
              <a:rPr lang="en-GB" kern="1200">
                <a:solidFill>
                  <a:prstClr val="white"/>
                </a:solidFill>
                <a:latin typeface="Avenir Next LT Pro"/>
                <a:ea typeface="+mn-ea"/>
                <a:cs typeface="+mn-cs"/>
              </a:rPr>
              <a:t>© 2023 Clarivate</a:t>
            </a:r>
          </a:p>
        </p:txBody>
      </p:sp>
      <p:sp>
        <p:nvSpPr>
          <p:cNvPr id="28" name="Slide Number Placeholder 3">
            <a:extLst>
              <a:ext uri="{FF2B5EF4-FFF2-40B4-BE49-F238E27FC236}">
                <a16:creationId xmlns:a16="http://schemas.microsoft.com/office/drawing/2014/main" id="{045B4835-FB0F-657C-6DDA-CA0FEC2DD18F}"/>
              </a:ext>
            </a:extLst>
          </p:cNvPr>
          <p:cNvSpPr txBox="1">
            <a:spLocks/>
          </p:cNvSpPr>
          <p:nvPr/>
        </p:nvSpPr>
        <p:spPr>
          <a:xfrm>
            <a:off x="11506203" y="6348353"/>
            <a:ext cx="216000" cy="215900"/>
          </a:xfrm>
          <a:prstGeom prst="rect">
            <a:avLst/>
          </a:prstGeom>
        </p:spPr>
        <p:txBody>
          <a:bodyPr vert="horz" lIns="0" tIns="0" rIns="0" bIns="0" rtlCol="0" anchor="ctr"/>
          <a:lstStyle>
            <a:defPPr>
              <a:defRPr kern="0"/>
            </a:defPPr>
            <a:lvl1pPr algn="l">
              <a:defRPr sz="900">
                <a:solidFill>
                  <a:schemeClr val="tx1"/>
                </a:solidFill>
                <a:latin typeface="+mn-lt"/>
              </a:defRPr>
            </a:lvl1pPr>
          </a:lstStyle>
          <a:p>
            <a:pPr rtl="0">
              <a:defRPr/>
            </a:pPr>
            <a:fld id="{F59CD943-D024-467A-B36E-F11E1285ED75}" type="slidenum">
              <a:rPr lang="en-US" kern="1200" smtClean="0">
                <a:solidFill>
                  <a:prstClr val="white"/>
                </a:solidFill>
                <a:latin typeface="Avenir Next LT Pro"/>
                <a:ea typeface="+mn-ea"/>
                <a:cs typeface="+mn-cs"/>
              </a:rPr>
              <a:pPr rtl="0">
                <a:defRPr/>
              </a:pPr>
              <a:t>3</a:t>
            </a:fld>
            <a:endParaRPr lang="en-US" kern="1200">
              <a:solidFill>
                <a:prstClr val="white"/>
              </a:solidFill>
              <a:latin typeface="Avenir Next LT Pro"/>
              <a:ea typeface="+mn-ea"/>
              <a:cs typeface="+mn-cs"/>
            </a:endParaRPr>
          </a:p>
        </p:txBody>
      </p:sp>
      <p:pic>
        <p:nvPicPr>
          <p:cNvPr id="29" name="Picture Placeholder 13">
            <a:extLst>
              <a:ext uri="{FF2B5EF4-FFF2-40B4-BE49-F238E27FC236}">
                <a16:creationId xmlns:a16="http://schemas.microsoft.com/office/drawing/2014/main" id="{257D70ED-64BD-89C7-C659-FB2B135D113E}"/>
              </a:ext>
            </a:extLst>
          </p:cNvPr>
          <p:cNvPicPr>
            <a:picLocks noChangeAspect="1"/>
          </p:cNvPicPr>
          <p:nvPr/>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l="6945" t="19498" r="6909" b="15243"/>
          <a:stretch/>
        </p:blipFill>
        <p:spPr>
          <a:xfrm>
            <a:off x="548485" y="6308725"/>
            <a:ext cx="1381418" cy="309766"/>
          </a:xfrm>
          <a:prstGeom prst="rect">
            <a:avLst/>
          </a:prstGeom>
        </p:spPr>
      </p:pic>
      <p:sp>
        <p:nvSpPr>
          <p:cNvPr id="2" name="object 2"/>
          <p:cNvSpPr txBox="1"/>
          <p:nvPr/>
        </p:nvSpPr>
        <p:spPr>
          <a:xfrm>
            <a:off x="11494261" y="6370320"/>
            <a:ext cx="92075" cy="162560"/>
          </a:xfrm>
          <a:prstGeom prst="rect">
            <a:avLst/>
          </a:prstGeom>
        </p:spPr>
        <p:txBody>
          <a:bodyPr vert="horz" wrap="square" lIns="0" tIns="12700" rIns="0" bIns="0" rtlCol="0">
            <a:spAutoFit/>
          </a:bodyPr>
          <a:lstStyle/>
          <a:p>
            <a:pPr marL="12700">
              <a:lnSpc>
                <a:spcPct val="100000"/>
              </a:lnSpc>
              <a:spcBef>
                <a:spcPts val="100"/>
              </a:spcBef>
            </a:pPr>
            <a:r>
              <a:rPr sz="900" spc="20" dirty="0">
                <a:latin typeface="Calibri"/>
                <a:cs typeface="Calibri"/>
              </a:rPr>
              <a:t>3</a:t>
            </a:r>
            <a:endParaRPr sz="900">
              <a:latin typeface="Calibri"/>
              <a:cs typeface="Calibri"/>
            </a:endParaRPr>
          </a:p>
        </p:txBody>
      </p:sp>
      <p:sp>
        <p:nvSpPr>
          <p:cNvPr id="6" name="object 6"/>
          <p:cNvSpPr txBox="1"/>
          <p:nvPr/>
        </p:nvSpPr>
        <p:spPr>
          <a:xfrm>
            <a:off x="3892511" y="4161250"/>
            <a:ext cx="1998345" cy="889987"/>
          </a:xfrm>
          <a:prstGeom prst="rect">
            <a:avLst/>
          </a:prstGeom>
        </p:spPr>
        <p:txBody>
          <a:bodyPr vert="horz" wrap="square" lIns="0" tIns="12700" rIns="0" bIns="0" rtlCol="0">
            <a:spAutoFit/>
          </a:bodyPr>
          <a:lstStyle/>
          <a:p>
            <a:pPr marL="12700">
              <a:lnSpc>
                <a:spcPct val="100000"/>
              </a:lnSpc>
              <a:spcBef>
                <a:spcPts val="100"/>
              </a:spcBef>
            </a:pPr>
            <a:r>
              <a:rPr sz="1800" b="1" spc="65" dirty="0">
                <a:solidFill>
                  <a:schemeClr val="bg1"/>
                </a:solidFill>
                <a:latin typeface="Calibri"/>
                <a:cs typeface="Calibri"/>
              </a:rPr>
              <a:t>Austin</a:t>
            </a:r>
            <a:r>
              <a:rPr sz="1800" b="1" spc="70" dirty="0">
                <a:solidFill>
                  <a:schemeClr val="bg1"/>
                </a:solidFill>
                <a:latin typeface="Calibri"/>
                <a:cs typeface="Calibri"/>
              </a:rPr>
              <a:t> </a:t>
            </a:r>
            <a:r>
              <a:rPr sz="1800" b="1" spc="75" dirty="0">
                <a:solidFill>
                  <a:schemeClr val="bg1"/>
                </a:solidFill>
                <a:latin typeface="Calibri"/>
                <a:cs typeface="Calibri"/>
              </a:rPr>
              <a:t>McLean</a:t>
            </a:r>
            <a:endParaRPr sz="1800" dirty="0">
              <a:solidFill>
                <a:schemeClr val="bg1"/>
              </a:solidFill>
              <a:latin typeface="Calibri"/>
              <a:cs typeface="Calibri"/>
            </a:endParaRPr>
          </a:p>
          <a:p>
            <a:pPr marL="12700">
              <a:lnSpc>
                <a:spcPct val="100000"/>
              </a:lnSpc>
              <a:spcBef>
                <a:spcPts val="915"/>
              </a:spcBef>
            </a:pPr>
            <a:r>
              <a:rPr sz="1200" b="1" spc="55" dirty="0">
                <a:solidFill>
                  <a:schemeClr val="bg1"/>
                </a:solidFill>
                <a:latin typeface="Calibri"/>
                <a:cs typeface="Calibri"/>
              </a:rPr>
              <a:t>Senior</a:t>
            </a:r>
            <a:r>
              <a:rPr sz="1200" b="1" spc="140" dirty="0">
                <a:solidFill>
                  <a:schemeClr val="bg1"/>
                </a:solidFill>
                <a:latin typeface="Calibri"/>
                <a:cs typeface="Calibri"/>
              </a:rPr>
              <a:t> </a:t>
            </a:r>
            <a:r>
              <a:rPr sz="1200" b="1" spc="10" dirty="0">
                <a:solidFill>
                  <a:schemeClr val="bg1"/>
                </a:solidFill>
                <a:latin typeface="Calibri"/>
                <a:cs typeface="Calibri"/>
              </a:rPr>
              <a:t>Director,</a:t>
            </a:r>
            <a:r>
              <a:rPr sz="1200" b="1" spc="35" dirty="0">
                <a:solidFill>
                  <a:schemeClr val="bg1"/>
                </a:solidFill>
                <a:latin typeface="Calibri"/>
                <a:cs typeface="Calibri"/>
              </a:rPr>
              <a:t> </a:t>
            </a:r>
            <a:r>
              <a:rPr sz="1200" b="1" spc="-10" dirty="0">
                <a:solidFill>
                  <a:schemeClr val="bg1"/>
                </a:solidFill>
                <a:latin typeface="Calibri"/>
                <a:cs typeface="Calibri"/>
              </a:rPr>
              <a:t>Partnerships</a:t>
            </a:r>
            <a:endParaRPr lang="en-US" sz="1200" b="1" spc="-10" dirty="0">
              <a:solidFill>
                <a:schemeClr val="bg1"/>
              </a:solidFill>
              <a:latin typeface="Calibri"/>
              <a:cs typeface="Calibri"/>
            </a:endParaRPr>
          </a:p>
          <a:p>
            <a:pPr marL="12700">
              <a:lnSpc>
                <a:spcPct val="100000"/>
              </a:lnSpc>
              <a:spcBef>
                <a:spcPts val="915"/>
              </a:spcBef>
            </a:pPr>
            <a:r>
              <a:rPr lang="en-US" sz="1200" b="1" spc="-10" dirty="0">
                <a:solidFill>
                  <a:schemeClr val="bg1"/>
                </a:solidFill>
                <a:latin typeface="Calibri"/>
                <a:cs typeface="Calibri"/>
              </a:rPr>
              <a:t>austin.mclean@proquest.com</a:t>
            </a:r>
            <a:endParaRPr sz="1200" dirty="0">
              <a:solidFill>
                <a:schemeClr val="bg1"/>
              </a:solidFill>
              <a:latin typeface="Calibri"/>
              <a:cs typeface="Calibri"/>
            </a:endParaRPr>
          </a:p>
        </p:txBody>
      </p:sp>
      <p:sp>
        <p:nvSpPr>
          <p:cNvPr id="9" name="object 9"/>
          <p:cNvSpPr txBox="1"/>
          <p:nvPr/>
        </p:nvSpPr>
        <p:spPr>
          <a:xfrm>
            <a:off x="9472220" y="4153191"/>
            <a:ext cx="2639060" cy="889987"/>
          </a:xfrm>
          <a:prstGeom prst="rect">
            <a:avLst/>
          </a:prstGeom>
        </p:spPr>
        <p:txBody>
          <a:bodyPr vert="horz" wrap="square" lIns="0" tIns="12700" rIns="0" bIns="0" rtlCol="0">
            <a:spAutoFit/>
          </a:bodyPr>
          <a:lstStyle/>
          <a:p>
            <a:pPr marL="12700">
              <a:lnSpc>
                <a:spcPct val="100000"/>
              </a:lnSpc>
              <a:spcBef>
                <a:spcPts val="100"/>
              </a:spcBef>
            </a:pPr>
            <a:r>
              <a:rPr lang="en-US" sz="1800" b="1" spc="85" dirty="0">
                <a:solidFill>
                  <a:schemeClr val="bg1"/>
                </a:solidFill>
                <a:latin typeface="Calibri"/>
                <a:cs typeface="Calibri"/>
              </a:rPr>
              <a:t>Mark Dill</a:t>
            </a:r>
            <a:endParaRPr sz="1800" dirty="0">
              <a:solidFill>
                <a:schemeClr val="bg1"/>
              </a:solidFill>
              <a:latin typeface="Calibri"/>
              <a:cs typeface="Calibri"/>
            </a:endParaRPr>
          </a:p>
          <a:p>
            <a:pPr marL="12700">
              <a:lnSpc>
                <a:spcPct val="100000"/>
              </a:lnSpc>
              <a:spcBef>
                <a:spcPts val="915"/>
              </a:spcBef>
            </a:pPr>
            <a:r>
              <a:rPr sz="1200" b="1" dirty="0">
                <a:solidFill>
                  <a:schemeClr val="bg1"/>
                </a:solidFill>
                <a:latin typeface="Calibri"/>
                <a:cs typeface="Calibri"/>
              </a:rPr>
              <a:t>Product</a:t>
            </a:r>
            <a:r>
              <a:rPr sz="1200" b="1" spc="145" dirty="0">
                <a:solidFill>
                  <a:schemeClr val="bg1"/>
                </a:solidFill>
                <a:latin typeface="Calibri"/>
                <a:cs typeface="Calibri"/>
              </a:rPr>
              <a:t> </a:t>
            </a:r>
            <a:r>
              <a:rPr sz="1200" b="1" spc="45" dirty="0">
                <a:solidFill>
                  <a:schemeClr val="bg1"/>
                </a:solidFill>
                <a:latin typeface="Calibri"/>
                <a:cs typeface="Calibri"/>
              </a:rPr>
              <a:t>Manager,</a:t>
            </a:r>
            <a:r>
              <a:rPr sz="1200" b="1" spc="40" dirty="0">
                <a:solidFill>
                  <a:schemeClr val="bg1"/>
                </a:solidFill>
                <a:latin typeface="Calibri"/>
                <a:cs typeface="Calibri"/>
              </a:rPr>
              <a:t> </a:t>
            </a:r>
            <a:r>
              <a:rPr sz="1200" b="1" spc="60" dirty="0">
                <a:solidFill>
                  <a:schemeClr val="bg1"/>
                </a:solidFill>
                <a:latin typeface="Calibri"/>
                <a:cs typeface="Calibri"/>
              </a:rPr>
              <a:t>Graduate</a:t>
            </a:r>
            <a:r>
              <a:rPr sz="1200" b="1" spc="125" dirty="0">
                <a:solidFill>
                  <a:schemeClr val="bg1"/>
                </a:solidFill>
                <a:latin typeface="Calibri"/>
                <a:cs typeface="Calibri"/>
              </a:rPr>
              <a:t> </a:t>
            </a:r>
            <a:r>
              <a:rPr sz="1200" b="1" spc="40" dirty="0">
                <a:solidFill>
                  <a:schemeClr val="bg1"/>
                </a:solidFill>
                <a:latin typeface="Calibri"/>
                <a:cs typeface="Calibri"/>
              </a:rPr>
              <a:t>Solutions</a:t>
            </a:r>
            <a:endParaRPr lang="en-US" sz="1200" b="1" spc="40" dirty="0">
              <a:solidFill>
                <a:schemeClr val="bg1"/>
              </a:solidFill>
              <a:latin typeface="Calibri"/>
              <a:cs typeface="Calibri"/>
            </a:endParaRPr>
          </a:p>
          <a:p>
            <a:pPr marL="12700">
              <a:lnSpc>
                <a:spcPct val="100000"/>
              </a:lnSpc>
              <a:spcBef>
                <a:spcPts val="915"/>
              </a:spcBef>
            </a:pPr>
            <a:r>
              <a:rPr lang="en-US" sz="1200" b="1" spc="40" dirty="0">
                <a:solidFill>
                  <a:schemeClr val="bg1"/>
                </a:solidFill>
                <a:latin typeface="Calibri"/>
                <a:cs typeface="Calibri"/>
              </a:rPr>
              <a:t>mark.dill@clarivate.com</a:t>
            </a:r>
            <a:endParaRPr sz="1200" dirty="0">
              <a:solidFill>
                <a:schemeClr val="bg1"/>
              </a:solidFill>
              <a:latin typeface="Calibri"/>
              <a:cs typeface="Calibri"/>
            </a:endParaRPr>
          </a:p>
        </p:txBody>
      </p:sp>
      <p:pic>
        <p:nvPicPr>
          <p:cNvPr id="12" name="object 12" descr="An image of Gilia Smith"/>
          <p:cNvPicPr/>
          <p:nvPr/>
        </p:nvPicPr>
        <p:blipFill>
          <a:blip r:embed="rId4" cstate="print"/>
          <a:stretch>
            <a:fillRect/>
          </a:stretch>
        </p:blipFill>
        <p:spPr>
          <a:xfrm>
            <a:off x="6772984" y="1930728"/>
            <a:ext cx="1783770" cy="1783770"/>
          </a:xfrm>
          <a:prstGeom prst="ellipse">
            <a:avLst/>
          </a:prstGeom>
          <a:ln w="63500" cap="rnd">
            <a:solidFill>
              <a:srgbClr val="FF0000"/>
            </a:solidFill>
          </a:ln>
          <a:effectLst/>
          <a:scene3d>
            <a:camera prst="orthographicFront"/>
            <a:lightRig rig="contrasting" dir="t">
              <a:rot lat="0" lon="0" rev="3000000"/>
            </a:lightRig>
          </a:scene3d>
          <a:sp3d contourW="7620">
            <a:bevelT w="95250" h="31750"/>
            <a:contourClr>
              <a:srgbClr val="333333"/>
            </a:contourClr>
          </a:sp3d>
        </p:spPr>
      </p:pic>
      <p:sp>
        <p:nvSpPr>
          <p:cNvPr id="13" name="object 13"/>
          <p:cNvSpPr txBox="1"/>
          <p:nvPr/>
        </p:nvSpPr>
        <p:spPr>
          <a:xfrm>
            <a:off x="6772984" y="4160885"/>
            <a:ext cx="2335629" cy="851515"/>
          </a:xfrm>
          <a:prstGeom prst="rect">
            <a:avLst/>
          </a:prstGeom>
        </p:spPr>
        <p:txBody>
          <a:bodyPr vert="horz" wrap="square" lIns="0" tIns="12700" rIns="0" bIns="0" rtlCol="0">
            <a:spAutoFit/>
          </a:bodyPr>
          <a:lstStyle/>
          <a:p>
            <a:pPr marL="12700">
              <a:lnSpc>
                <a:spcPct val="100000"/>
              </a:lnSpc>
              <a:spcBef>
                <a:spcPts val="600"/>
              </a:spcBef>
            </a:pPr>
            <a:r>
              <a:rPr sz="1800" b="1" spc="85" dirty="0">
                <a:solidFill>
                  <a:schemeClr val="bg1"/>
                </a:solidFill>
                <a:latin typeface="Calibri"/>
                <a:cs typeface="Calibri"/>
              </a:rPr>
              <a:t>Gilia</a:t>
            </a:r>
            <a:r>
              <a:rPr sz="1800" b="1" spc="70" dirty="0">
                <a:solidFill>
                  <a:schemeClr val="bg1"/>
                </a:solidFill>
                <a:latin typeface="Calibri"/>
                <a:cs typeface="Calibri"/>
              </a:rPr>
              <a:t> </a:t>
            </a:r>
            <a:r>
              <a:rPr sz="1800" b="1" spc="75" dirty="0">
                <a:solidFill>
                  <a:schemeClr val="bg1"/>
                </a:solidFill>
                <a:latin typeface="Calibri"/>
                <a:cs typeface="Calibri"/>
              </a:rPr>
              <a:t>Smith</a:t>
            </a:r>
            <a:endParaRPr lang="en-US" dirty="0">
              <a:solidFill>
                <a:schemeClr val="bg1"/>
              </a:solidFill>
              <a:latin typeface="Calibri"/>
              <a:cs typeface="Calibri"/>
            </a:endParaRPr>
          </a:p>
          <a:p>
            <a:pPr marL="12700">
              <a:lnSpc>
                <a:spcPct val="100000"/>
              </a:lnSpc>
              <a:spcBef>
                <a:spcPts val="600"/>
              </a:spcBef>
            </a:pPr>
            <a:r>
              <a:rPr sz="1200" b="1" dirty="0">
                <a:solidFill>
                  <a:schemeClr val="bg1"/>
                </a:solidFill>
                <a:latin typeface="Calibri"/>
                <a:cs typeface="Calibri"/>
              </a:rPr>
              <a:t>Director &amp; Partnerships Manager</a:t>
            </a:r>
            <a:endParaRPr lang="en-US" sz="1200" b="1" dirty="0">
              <a:solidFill>
                <a:schemeClr val="bg1"/>
              </a:solidFill>
              <a:latin typeface="Calibri"/>
              <a:cs typeface="Calibri"/>
            </a:endParaRPr>
          </a:p>
          <a:p>
            <a:pPr marL="12700">
              <a:lnSpc>
                <a:spcPct val="100000"/>
              </a:lnSpc>
              <a:spcBef>
                <a:spcPts val="915"/>
              </a:spcBef>
            </a:pPr>
            <a:r>
              <a:rPr lang="en-US" sz="1200" b="1" spc="60" dirty="0">
                <a:solidFill>
                  <a:schemeClr val="bg1"/>
                </a:solidFill>
                <a:latin typeface="Calibri"/>
                <a:cs typeface="Calibri"/>
              </a:rPr>
              <a:t>gilia.smith@clarivate.com</a:t>
            </a:r>
            <a:endParaRPr sz="1200" dirty="0">
              <a:solidFill>
                <a:schemeClr val="bg1"/>
              </a:solidFill>
              <a:latin typeface="Calibri"/>
              <a:cs typeface="Calibri"/>
            </a:endParaRPr>
          </a:p>
        </p:txBody>
      </p:sp>
      <p:sp>
        <p:nvSpPr>
          <p:cNvPr id="16" name="object 16"/>
          <p:cNvSpPr txBox="1"/>
          <p:nvPr/>
        </p:nvSpPr>
        <p:spPr>
          <a:xfrm>
            <a:off x="797574" y="4153191"/>
            <a:ext cx="2659380" cy="889987"/>
          </a:xfrm>
          <a:prstGeom prst="rect">
            <a:avLst/>
          </a:prstGeom>
        </p:spPr>
        <p:txBody>
          <a:bodyPr vert="horz" wrap="square" lIns="0" tIns="12700" rIns="0" bIns="0" rtlCol="0">
            <a:spAutoFit/>
          </a:bodyPr>
          <a:lstStyle/>
          <a:p>
            <a:pPr marL="12700">
              <a:lnSpc>
                <a:spcPct val="100000"/>
              </a:lnSpc>
              <a:spcBef>
                <a:spcPts val="100"/>
              </a:spcBef>
            </a:pPr>
            <a:r>
              <a:rPr sz="1800" b="1" spc="85" dirty="0">
                <a:solidFill>
                  <a:schemeClr val="bg1"/>
                </a:solidFill>
                <a:latin typeface="Calibri"/>
                <a:cs typeface="Calibri"/>
              </a:rPr>
              <a:t>April</a:t>
            </a:r>
            <a:r>
              <a:rPr sz="1800" b="1" spc="65" dirty="0">
                <a:solidFill>
                  <a:schemeClr val="bg1"/>
                </a:solidFill>
                <a:latin typeface="Calibri"/>
                <a:cs typeface="Calibri"/>
              </a:rPr>
              <a:t> </a:t>
            </a:r>
            <a:r>
              <a:rPr lang="en-US" sz="1800" b="1" spc="80" dirty="0">
                <a:solidFill>
                  <a:schemeClr val="bg1"/>
                </a:solidFill>
                <a:latin typeface="Calibri"/>
                <a:cs typeface="Calibri"/>
              </a:rPr>
              <a:t>Dawn</a:t>
            </a:r>
            <a:endParaRPr sz="1800" dirty="0">
              <a:solidFill>
                <a:schemeClr val="bg1"/>
              </a:solidFill>
              <a:latin typeface="Calibri"/>
              <a:cs typeface="Calibri"/>
            </a:endParaRPr>
          </a:p>
          <a:p>
            <a:pPr marL="12700">
              <a:lnSpc>
                <a:spcPct val="100000"/>
              </a:lnSpc>
              <a:spcBef>
                <a:spcPts val="915"/>
              </a:spcBef>
            </a:pPr>
            <a:r>
              <a:rPr sz="1200" b="1" spc="55" dirty="0">
                <a:solidFill>
                  <a:schemeClr val="bg1"/>
                </a:solidFill>
                <a:latin typeface="Calibri"/>
                <a:cs typeface="Calibri"/>
              </a:rPr>
              <a:t>Senior</a:t>
            </a:r>
            <a:r>
              <a:rPr sz="1200" b="1" spc="165" dirty="0">
                <a:solidFill>
                  <a:schemeClr val="bg1"/>
                </a:solidFill>
                <a:latin typeface="Calibri"/>
                <a:cs typeface="Calibri"/>
              </a:rPr>
              <a:t> </a:t>
            </a:r>
            <a:r>
              <a:rPr sz="1200" b="1" spc="10" dirty="0">
                <a:solidFill>
                  <a:schemeClr val="bg1"/>
                </a:solidFill>
                <a:latin typeface="Calibri"/>
                <a:cs typeface="Calibri"/>
              </a:rPr>
              <a:t>Director,</a:t>
            </a:r>
            <a:r>
              <a:rPr sz="1200" b="1" spc="55" dirty="0">
                <a:solidFill>
                  <a:schemeClr val="bg1"/>
                </a:solidFill>
                <a:latin typeface="Calibri"/>
                <a:cs typeface="Calibri"/>
              </a:rPr>
              <a:t> </a:t>
            </a:r>
            <a:r>
              <a:rPr sz="1200" b="1" spc="10" dirty="0">
                <a:solidFill>
                  <a:schemeClr val="bg1"/>
                </a:solidFill>
                <a:latin typeface="Calibri"/>
                <a:cs typeface="Calibri"/>
              </a:rPr>
              <a:t>Product</a:t>
            </a:r>
            <a:r>
              <a:rPr sz="1200" b="1" spc="185" dirty="0">
                <a:solidFill>
                  <a:schemeClr val="bg1"/>
                </a:solidFill>
                <a:latin typeface="Calibri"/>
                <a:cs typeface="Calibri"/>
              </a:rPr>
              <a:t> </a:t>
            </a:r>
            <a:r>
              <a:rPr sz="1200" b="1" spc="60" dirty="0">
                <a:solidFill>
                  <a:schemeClr val="bg1"/>
                </a:solidFill>
                <a:latin typeface="Calibri"/>
                <a:cs typeface="Calibri"/>
              </a:rPr>
              <a:t>Management</a:t>
            </a:r>
            <a:endParaRPr lang="en-US" sz="1200" b="1" spc="60" dirty="0">
              <a:solidFill>
                <a:schemeClr val="bg1"/>
              </a:solidFill>
              <a:latin typeface="Calibri"/>
              <a:cs typeface="Calibri"/>
            </a:endParaRPr>
          </a:p>
          <a:p>
            <a:pPr marL="12700">
              <a:lnSpc>
                <a:spcPct val="100000"/>
              </a:lnSpc>
              <a:spcBef>
                <a:spcPts val="915"/>
              </a:spcBef>
            </a:pPr>
            <a:r>
              <a:rPr lang="en-US" sz="1200" b="1" spc="60" dirty="0">
                <a:solidFill>
                  <a:schemeClr val="bg1"/>
                </a:solidFill>
                <a:latin typeface="Calibri"/>
                <a:cs typeface="Calibri"/>
              </a:rPr>
              <a:t>april.dawn@clarivate.com</a:t>
            </a:r>
            <a:endParaRPr sz="1200" dirty="0">
              <a:solidFill>
                <a:schemeClr val="bg1"/>
              </a:solidFill>
              <a:latin typeface="Calibri"/>
              <a:cs typeface="Calibri"/>
            </a:endParaRPr>
          </a:p>
        </p:txBody>
      </p:sp>
      <p:pic>
        <p:nvPicPr>
          <p:cNvPr id="17" name="Picture 16" descr="An Image of Mark Dill">
            <a:extLst>
              <a:ext uri="{FF2B5EF4-FFF2-40B4-BE49-F238E27FC236}">
                <a16:creationId xmlns:a16="http://schemas.microsoft.com/office/drawing/2014/main" id="{D9437FC5-B1ED-F0E1-100B-5FBE2D2A9510}"/>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6345" r="9598" b="17021"/>
          <a:stretch/>
        </p:blipFill>
        <p:spPr>
          <a:xfrm>
            <a:off x="9472220" y="2008259"/>
            <a:ext cx="1730349" cy="1783769"/>
          </a:xfrm>
          <a:prstGeom prst="ellipse">
            <a:avLst/>
          </a:prstGeom>
          <a:ln w="63500" cap="rnd">
            <a:solidFill>
              <a:srgbClr val="002060"/>
            </a:solidFill>
          </a:ln>
          <a:effectLst/>
          <a:scene3d>
            <a:camera prst="orthographicFront"/>
            <a:lightRig rig="contrasting" dir="t">
              <a:rot lat="0" lon="0" rev="3000000"/>
            </a:lightRig>
          </a:scene3d>
          <a:sp3d contourW="7620">
            <a:bevelT w="95250" h="31750"/>
            <a:contourClr>
              <a:srgbClr val="333333"/>
            </a:contourClr>
          </a:sp3d>
        </p:spPr>
      </p:pic>
      <p:pic>
        <p:nvPicPr>
          <p:cNvPr id="18" name="Picture 17" descr="An image of April Dawn">
            <a:extLst>
              <a:ext uri="{FF2B5EF4-FFF2-40B4-BE49-F238E27FC236}">
                <a16:creationId xmlns:a16="http://schemas.microsoft.com/office/drawing/2014/main" id="{A88D22A0-5692-3F56-88B3-23CB40874562}"/>
              </a:ext>
            </a:extLst>
          </p:cNvPr>
          <p:cNvPicPr>
            <a:picLocks noChangeAspect="1"/>
          </p:cNvPicPr>
          <p:nvPr/>
        </p:nvPicPr>
        <p:blipFill>
          <a:blip r:embed="rId6"/>
          <a:stretch>
            <a:fillRect/>
          </a:stretch>
        </p:blipFill>
        <p:spPr>
          <a:xfrm>
            <a:off x="797574" y="1936525"/>
            <a:ext cx="1847387" cy="1847387"/>
          </a:xfrm>
          <a:prstGeom prst="ellipse">
            <a:avLst/>
          </a:prstGeom>
          <a:ln w="63500" cap="rnd">
            <a:solidFill>
              <a:srgbClr val="FFC000"/>
            </a:solidFill>
          </a:ln>
          <a:effectLst/>
          <a:scene3d>
            <a:camera prst="orthographicFront"/>
            <a:lightRig rig="contrasting" dir="t">
              <a:rot lat="0" lon="0" rev="3000000"/>
            </a:lightRig>
          </a:scene3d>
          <a:sp3d contourW="7620">
            <a:bevelT w="95250" h="31750"/>
            <a:contourClr>
              <a:srgbClr val="333333"/>
            </a:contourClr>
          </a:sp3d>
        </p:spPr>
      </p:pic>
      <p:pic>
        <p:nvPicPr>
          <p:cNvPr id="19" name="Picture 4" descr="an image of Austin McLean">
            <a:extLst>
              <a:ext uri="{FF2B5EF4-FFF2-40B4-BE49-F238E27FC236}">
                <a16:creationId xmlns:a16="http://schemas.microsoft.com/office/drawing/2014/main" id="{74D560BD-8D36-C582-C8F7-DA338AE2BA7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844225" y="1968333"/>
            <a:ext cx="1783770" cy="1783770"/>
          </a:xfrm>
          <a:prstGeom prst="ellipse">
            <a:avLst/>
          </a:prstGeom>
          <a:ln w="63500" cap="rnd">
            <a:solidFill>
              <a:srgbClr val="00B050"/>
            </a:solidFill>
          </a:ln>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
        <p:nvSpPr>
          <p:cNvPr id="21" name="Title 20">
            <a:extLst>
              <a:ext uri="{FF2B5EF4-FFF2-40B4-BE49-F238E27FC236}">
                <a16:creationId xmlns:a16="http://schemas.microsoft.com/office/drawing/2014/main" id="{3C4C2ADE-BC98-9211-3B49-095B31A22BC9}"/>
              </a:ext>
            </a:extLst>
          </p:cNvPr>
          <p:cNvSpPr>
            <a:spLocks noGrp="1"/>
          </p:cNvSpPr>
          <p:nvPr>
            <p:ph type="title"/>
          </p:nvPr>
        </p:nvSpPr>
        <p:spPr>
          <a:xfrm>
            <a:off x="3668235" y="416667"/>
            <a:ext cx="4888519" cy="1107996"/>
          </a:xfrm>
        </p:spPr>
        <p:txBody>
          <a:bodyPr/>
          <a:lstStyle/>
          <a:p>
            <a:r>
              <a:rPr lang="en-US" sz="3600" dirty="0">
                <a:solidFill>
                  <a:srgbClr val="B175E1"/>
                </a:solidFill>
                <a:latin typeface="Avenir Next LT Pro Demi" panose="020B0704020202020204" pitchFamily="34" charset="0"/>
              </a:rPr>
              <a:t>Your ProQuest Team</a:t>
            </a:r>
          </a:p>
        </p:txBody>
      </p:sp>
      <p:sp>
        <p:nvSpPr>
          <p:cNvPr id="24" name="Slide Number Placeholder 3">
            <a:extLst>
              <a:ext uri="{FF2B5EF4-FFF2-40B4-BE49-F238E27FC236}">
                <a16:creationId xmlns:a16="http://schemas.microsoft.com/office/drawing/2014/main" id="{D7AA3BBA-69A2-BEFA-95E9-D4CF7E23BD8D}"/>
              </a:ext>
            </a:extLst>
          </p:cNvPr>
          <p:cNvSpPr txBox="1">
            <a:spLocks/>
          </p:cNvSpPr>
          <p:nvPr/>
        </p:nvSpPr>
        <p:spPr>
          <a:xfrm>
            <a:off x="11506200" y="6348353"/>
            <a:ext cx="216000" cy="215900"/>
          </a:xfrm>
          <a:prstGeom prst="rect">
            <a:avLst/>
          </a:prstGeom>
        </p:spPr>
        <p:txBody>
          <a:bodyPr/>
          <a:lstStyle>
            <a:defPPr>
              <a:defRPr kern="0"/>
            </a:defPPr>
          </a:lstStyle>
          <a:p>
            <a:pPr algn="l" rtl="0">
              <a:defRPr/>
            </a:pPr>
            <a:fld id="{F59CD943-D024-467A-B36E-F11E1285ED75}" type="slidenum">
              <a:rPr lang="en-US" sz="900" kern="1200" smtClean="0">
                <a:solidFill>
                  <a:prstClr val="white"/>
                </a:solidFill>
                <a:latin typeface="Avenir Next LT Pro"/>
                <a:ea typeface="+mn-ea"/>
                <a:cs typeface="+mn-cs"/>
              </a:rPr>
              <a:pPr algn="l" rtl="0">
                <a:defRPr/>
              </a:pPr>
              <a:t>3</a:t>
            </a:fld>
            <a:endParaRPr lang="en-US" sz="900" kern="1200">
              <a:solidFill>
                <a:prstClr val="white"/>
              </a:solidFill>
              <a:latin typeface="Avenir Next LT Pro"/>
              <a:ea typeface="+mn-ea"/>
              <a:cs typeface="+mn-cs"/>
            </a:endParaRPr>
          </a:p>
        </p:txBody>
      </p:sp>
      <p:pic>
        <p:nvPicPr>
          <p:cNvPr id="25" name="Picture Placeholder 13">
            <a:extLst>
              <a:ext uri="{FF2B5EF4-FFF2-40B4-BE49-F238E27FC236}">
                <a16:creationId xmlns:a16="http://schemas.microsoft.com/office/drawing/2014/main" id="{ED191B3B-0153-2CB3-2483-14AEEDB61C63}"/>
              </a:ext>
            </a:extLst>
          </p:cNvPr>
          <p:cNvPicPr>
            <a:picLocks noChangeAspect="1"/>
          </p:cNvPicPr>
          <p:nvPr/>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8"/>
              </a:ext>
            </a:extLst>
          </a:blip>
          <a:srcRect l="6945" t="19498" r="6909" b="15243"/>
          <a:stretch/>
        </p:blipFill>
        <p:spPr>
          <a:xfrm>
            <a:off x="548482" y="6308725"/>
            <a:ext cx="1381418" cy="309766"/>
          </a:xfrm>
          <a:prstGeom prst="rect">
            <a:avLst/>
          </a:prstGeom>
        </p:spPr>
      </p:pic>
      <p:cxnSp>
        <p:nvCxnSpPr>
          <p:cNvPr id="47" name="Straight Connector 46">
            <a:extLst>
              <a:ext uri="{FF2B5EF4-FFF2-40B4-BE49-F238E27FC236}">
                <a16:creationId xmlns:a16="http://schemas.microsoft.com/office/drawing/2014/main" id="{642FA4AA-1F40-36CF-27E6-876BA275CEE3}"/>
              </a:ext>
            </a:extLst>
          </p:cNvPr>
          <p:cNvCxnSpPr/>
          <p:nvPr/>
        </p:nvCxnSpPr>
        <p:spPr>
          <a:xfrm>
            <a:off x="4026881" y="1219200"/>
            <a:ext cx="4094218" cy="0"/>
          </a:xfrm>
          <a:prstGeom prst="line">
            <a:avLst/>
          </a:prstGeom>
          <a:ln w="76200">
            <a:solidFill>
              <a:srgbClr val="00B0F0"/>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tangle 72">
            <a:extLst>
              <a:ext uri="{FF2B5EF4-FFF2-40B4-BE49-F238E27FC236}">
                <a16:creationId xmlns:a16="http://schemas.microsoft.com/office/drawing/2014/main" id="{00B149C7-B90A-666F-80E7-829F20C08161}"/>
              </a:ext>
            </a:extLst>
          </p:cNvPr>
          <p:cNvSpPr/>
          <p:nvPr/>
        </p:nvSpPr>
        <p:spPr>
          <a:xfrm rot="10800000">
            <a:off x="-3" y="5107243"/>
            <a:ext cx="12192001" cy="1750757"/>
          </a:xfrm>
          <a:prstGeom prst="rect">
            <a:avLst/>
          </a:pr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venir Next LT Pro"/>
              <a:ea typeface="+mn-ea"/>
              <a:cs typeface="+mn-cs"/>
            </a:endParaRPr>
          </a:p>
        </p:txBody>
      </p:sp>
      <p:sp>
        <p:nvSpPr>
          <p:cNvPr id="20" name="Rectangle 19">
            <a:extLst>
              <a:ext uri="{FF2B5EF4-FFF2-40B4-BE49-F238E27FC236}">
                <a16:creationId xmlns:a16="http://schemas.microsoft.com/office/drawing/2014/main" id="{B9FE7B15-221B-415E-F0D1-93E0CEF29395}"/>
              </a:ext>
            </a:extLst>
          </p:cNvPr>
          <p:cNvSpPr/>
          <p:nvPr/>
        </p:nvSpPr>
        <p:spPr>
          <a:xfrm>
            <a:off x="542595" y="1352549"/>
            <a:ext cx="7488196" cy="4830537"/>
          </a:xfrm>
          <a:prstGeom prst="rect">
            <a:avLst/>
          </a:prstGeom>
          <a:solidFill>
            <a:schemeClr val="bg1"/>
          </a:solidFill>
          <a:ln>
            <a:noFill/>
          </a:ln>
          <a:effectLst>
            <a:outerShdw blurRad="63500" algn="ctr" rotWithShape="0">
              <a:prstClr val="black">
                <a:alpha val="5000"/>
              </a:prstClr>
            </a:outerShdw>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venir Next LT Pro"/>
              <a:ea typeface="+mn-ea"/>
              <a:cs typeface="+mn-cs"/>
            </a:endParaRPr>
          </a:p>
        </p:txBody>
      </p:sp>
      <p:pic>
        <p:nvPicPr>
          <p:cNvPr id="3" name="Picture 2" descr="An image of the Tag manager module from the ETD administrator system.">
            <a:extLst>
              <a:ext uri="{FF2B5EF4-FFF2-40B4-BE49-F238E27FC236}">
                <a16:creationId xmlns:a16="http://schemas.microsoft.com/office/drawing/2014/main" id="{88F7C332-4967-15C1-D598-341BEA64B30D}"/>
              </a:ext>
            </a:extLst>
          </p:cNvPr>
          <p:cNvPicPr>
            <a:picLocks noChangeAspect="1"/>
          </p:cNvPicPr>
          <p:nvPr/>
        </p:nvPicPr>
        <p:blipFill>
          <a:blip r:embed="rId3"/>
          <a:srcRect t="5445" r="1185"/>
          <a:stretch/>
        </p:blipFill>
        <p:spPr>
          <a:xfrm>
            <a:off x="1099748" y="1623637"/>
            <a:ext cx="6351188" cy="4614004"/>
          </a:xfrm>
          <a:prstGeom prst="rect">
            <a:avLst/>
          </a:prstGeom>
        </p:spPr>
      </p:pic>
      <p:sp>
        <p:nvSpPr>
          <p:cNvPr id="2" name="Title 1">
            <a:extLst>
              <a:ext uri="{FF2B5EF4-FFF2-40B4-BE49-F238E27FC236}">
                <a16:creationId xmlns:a16="http://schemas.microsoft.com/office/drawing/2014/main" id="{FEDFB40A-FD68-C90C-FC94-AB562EC8C5F8}"/>
              </a:ext>
            </a:extLst>
          </p:cNvPr>
          <p:cNvSpPr>
            <a:spLocks noGrp="1"/>
          </p:cNvSpPr>
          <p:nvPr>
            <p:ph type="title"/>
          </p:nvPr>
        </p:nvSpPr>
        <p:spPr>
          <a:xfrm>
            <a:off x="550864" y="248023"/>
            <a:ext cx="11090274" cy="387798"/>
          </a:xfrm>
        </p:spPr>
        <p:txBody>
          <a:bodyPr/>
          <a:lstStyle/>
          <a:p>
            <a:r>
              <a:rPr lang="en-US" sz="2800" dirty="0"/>
              <a:t>New Shared </a:t>
            </a:r>
            <a:r>
              <a:rPr lang="en-US" sz="2800" dirty="0">
                <a:solidFill>
                  <a:srgbClr val="B175E1"/>
                </a:solidFill>
              </a:rPr>
              <a:t>Tags</a:t>
            </a:r>
            <a:r>
              <a:rPr lang="en-US" sz="2800" dirty="0"/>
              <a:t> feature in ETD</a:t>
            </a:r>
          </a:p>
        </p:txBody>
      </p:sp>
      <p:sp>
        <p:nvSpPr>
          <p:cNvPr id="7" name="Footer Placeholder 6">
            <a:extLst>
              <a:ext uri="{FF2B5EF4-FFF2-40B4-BE49-F238E27FC236}">
                <a16:creationId xmlns:a16="http://schemas.microsoft.com/office/drawing/2014/main" id="{2B269521-3CEE-6F58-AB2E-D53D50B57582}"/>
              </a:ext>
            </a:extLst>
          </p:cNvPr>
          <p:cNvSpPr>
            <a:spLocks noGrp="1"/>
          </p:cNvSpPr>
          <p:nvPr>
            <p:ph type="ftr"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white"/>
                </a:solidFill>
                <a:effectLst/>
                <a:uLnTx/>
                <a:uFillTx/>
                <a:latin typeface="Avenir Next LT Pro"/>
                <a:ea typeface="+mn-ea"/>
                <a:cs typeface="+mn-cs"/>
              </a:rPr>
              <a:t>© 2023 Clarivate</a:t>
            </a:r>
          </a:p>
        </p:txBody>
      </p:sp>
      <p:sp>
        <p:nvSpPr>
          <p:cNvPr id="4" name="Slide Number Placeholder 3">
            <a:extLst>
              <a:ext uri="{FF2B5EF4-FFF2-40B4-BE49-F238E27FC236}">
                <a16:creationId xmlns:a16="http://schemas.microsoft.com/office/drawing/2014/main" id="{631A72E7-CD31-195E-289A-81BB57D54CD6}"/>
              </a:ext>
            </a:extLst>
          </p:cNvPr>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59CD943-D024-467A-B36E-F11E1285ED75}" type="slidenum">
              <a:rPr kumimoji="0" lang="en-US" sz="900" b="0" i="0" u="none" strike="noStrike" kern="1200" cap="none" spc="0" normalizeH="0" baseline="0" noProof="0" smtClean="0">
                <a:ln>
                  <a:noFill/>
                </a:ln>
                <a:solidFill>
                  <a:prstClr val="white"/>
                </a:solidFill>
                <a:effectLst/>
                <a:uLnTx/>
                <a:uFillTx/>
                <a:latin typeface="Avenir Next LT Pr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US" sz="900" b="0" i="0" u="none" strike="noStrike" kern="1200" cap="none" spc="0" normalizeH="0" baseline="0" noProof="0">
              <a:ln>
                <a:noFill/>
              </a:ln>
              <a:solidFill>
                <a:prstClr val="white"/>
              </a:solidFill>
              <a:effectLst/>
              <a:uLnTx/>
              <a:uFillTx/>
              <a:latin typeface="Avenir Next LT Pro"/>
              <a:ea typeface="+mn-ea"/>
              <a:cs typeface="+mn-cs"/>
            </a:endParaRPr>
          </a:p>
        </p:txBody>
      </p:sp>
      <p:grpSp>
        <p:nvGrpSpPr>
          <p:cNvPr id="31" name="Group 30">
            <a:extLst>
              <a:ext uri="{FF2B5EF4-FFF2-40B4-BE49-F238E27FC236}">
                <a16:creationId xmlns:a16="http://schemas.microsoft.com/office/drawing/2014/main" id="{492C4A84-1EF8-109B-45D2-81E430F841A6}"/>
              </a:ext>
            </a:extLst>
          </p:cNvPr>
          <p:cNvGrpSpPr/>
          <p:nvPr/>
        </p:nvGrpSpPr>
        <p:grpSpPr>
          <a:xfrm>
            <a:off x="3630573" y="2492776"/>
            <a:ext cx="307894" cy="307890"/>
            <a:chOff x="1817037" y="3188718"/>
            <a:chExt cx="174094" cy="174092"/>
          </a:xfrm>
        </p:grpSpPr>
        <p:sp>
          <p:nvSpPr>
            <p:cNvPr id="29" name="Oval 28">
              <a:extLst>
                <a:ext uri="{FF2B5EF4-FFF2-40B4-BE49-F238E27FC236}">
                  <a16:creationId xmlns:a16="http://schemas.microsoft.com/office/drawing/2014/main" id="{AEF8496C-BB81-FFA2-9483-3DC50CF61624}"/>
                </a:ext>
              </a:extLst>
            </p:cNvPr>
            <p:cNvSpPr/>
            <p:nvPr/>
          </p:nvSpPr>
          <p:spPr>
            <a:xfrm>
              <a:off x="1817037" y="3188718"/>
              <a:ext cx="174094" cy="174092"/>
            </a:xfrm>
            <a:prstGeom prst="ellipse">
              <a:avLst/>
            </a:prstGeom>
            <a:solidFill>
              <a:sysClr val="window" lastClr="FFFFFF"/>
            </a:solidFill>
            <a:ln>
              <a:solidFill>
                <a:schemeClr val="accent4"/>
              </a:solidFill>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mn-ea"/>
                <a:cs typeface="+mn-cs"/>
              </a:endParaRPr>
            </a:p>
          </p:txBody>
        </p:sp>
        <p:sp>
          <p:nvSpPr>
            <p:cNvPr id="30" name="Oval 29">
              <a:extLst>
                <a:ext uri="{FF2B5EF4-FFF2-40B4-BE49-F238E27FC236}">
                  <a16:creationId xmlns:a16="http://schemas.microsoft.com/office/drawing/2014/main" id="{27311477-7AF0-32F2-559A-C5FB21EBCD30}"/>
                </a:ext>
              </a:extLst>
            </p:cNvPr>
            <p:cNvSpPr/>
            <p:nvPr/>
          </p:nvSpPr>
          <p:spPr>
            <a:xfrm>
              <a:off x="1832334" y="3204015"/>
              <a:ext cx="143499" cy="143497"/>
            </a:xfrm>
            <a:prstGeom prst="ellipse">
              <a:avLst/>
            </a:prstGeom>
            <a:solidFill>
              <a:sysClr val="window" lastClr="FFFFFF"/>
            </a:solidFill>
            <a:ln>
              <a:noFill/>
            </a:ln>
            <a:effectLst>
              <a:outerShdw blurRad="63500" algn="ctr" rotWithShape="0">
                <a:prstClr val="black">
                  <a:alpha val="20000"/>
                </a:prstClr>
              </a:outerShdw>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0" cap="none" spc="0" normalizeH="0" baseline="0" noProof="0">
                  <a:ln>
                    <a:noFill/>
                  </a:ln>
                  <a:solidFill>
                    <a:srgbClr val="EA5564"/>
                  </a:solidFill>
                  <a:effectLst/>
                  <a:uLnTx/>
                  <a:uFillTx/>
                  <a:latin typeface="Avenir Next LT Pro Demi"/>
                  <a:ea typeface="+mn-ea"/>
                  <a:cs typeface="+mn-cs"/>
                </a:rPr>
                <a:t>1</a:t>
              </a:r>
              <a:endParaRPr kumimoji="0" lang="en-US" sz="1400" b="0" i="0" u="none" strike="noStrike" kern="0" cap="none" spc="0" normalizeH="0" baseline="0" noProof="0">
                <a:ln>
                  <a:noFill/>
                </a:ln>
                <a:solidFill>
                  <a:srgbClr val="EA5564"/>
                </a:solidFill>
                <a:effectLst/>
                <a:uLnTx/>
                <a:uFillTx/>
                <a:latin typeface="Avenir Next LT Pro Demi"/>
                <a:ea typeface="+mn-ea"/>
                <a:cs typeface="+mn-cs"/>
              </a:endParaRPr>
            </a:p>
          </p:txBody>
        </p:sp>
      </p:grpSp>
      <p:sp>
        <p:nvSpPr>
          <p:cNvPr id="22" name="Rectangle 21">
            <a:extLst>
              <a:ext uri="{FF2B5EF4-FFF2-40B4-BE49-F238E27FC236}">
                <a16:creationId xmlns:a16="http://schemas.microsoft.com/office/drawing/2014/main" id="{B2DB7C2D-692F-A315-904D-49E9C19C0DC3}"/>
              </a:ext>
            </a:extLst>
          </p:cNvPr>
          <p:cNvSpPr/>
          <p:nvPr/>
        </p:nvSpPr>
        <p:spPr>
          <a:xfrm>
            <a:off x="1317983" y="2660727"/>
            <a:ext cx="2254003" cy="307890"/>
          </a:xfrm>
          <a:prstGeom prst="rect">
            <a:avLst/>
          </a:prstGeom>
          <a:noFill/>
          <a:ln w="19050">
            <a:solidFill>
              <a:schemeClr val="accent4"/>
            </a:solidFill>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venir Next LT Pro"/>
              <a:ea typeface="+mn-ea"/>
              <a:cs typeface="+mn-cs"/>
            </a:endParaRPr>
          </a:p>
        </p:txBody>
      </p:sp>
      <p:grpSp>
        <p:nvGrpSpPr>
          <p:cNvPr id="32" name="Group 31">
            <a:extLst>
              <a:ext uri="{FF2B5EF4-FFF2-40B4-BE49-F238E27FC236}">
                <a16:creationId xmlns:a16="http://schemas.microsoft.com/office/drawing/2014/main" id="{F5B292F6-39D1-9139-62BE-4F2DC5228E06}"/>
              </a:ext>
            </a:extLst>
          </p:cNvPr>
          <p:cNvGrpSpPr/>
          <p:nvPr/>
        </p:nvGrpSpPr>
        <p:grpSpPr>
          <a:xfrm>
            <a:off x="7170097" y="3706288"/>
            <a:ext cx="307894" cy="307890"/>
            <a:chOff x="1817037" y="3188718"/>
            <a:chExt cx="174094" cy="174092"/>
          </a:xfrm>
        </p:grpSpPr>
        <p:sp>
          <p:nvSpPr>
            <p:cNvPr id="33" name="Oval 32">
              <a:extLst>
                <a:ext uri="{FF2B5EF4-FFF2-40B4-BE49-F238E27FC236}">
                  <a16:creationId xmlns:a16="http://schemas.microsoft.com/office/drawing/2014/main" id="{A6521D1E-F5BB-BEEB-ADC4-BCCF4F226C59}"/>
                </a:ext>
              </a:extLst>
            </p:cNvPr>
            <p:cNvSpPr/>
            <p:nvPr/>
          </p:nvSpPr>
          <p:spPr>
            <a:xfrm>
              <a:off x="1817037" y="3188718"/>
              <a:ext cx="174094" cy="174092"/>
            </a:xfrm>
            <a:prstGeom prst="ellipse">
              <a:avLst/>
            </a:prstGeom>
            <a:solidFill>
              <a:sysClr val="window" lastClr="FFFFFF"/>
            </a:solidFill>
            <a:ln>
              <a:solidFill>
                <a:schemeClr val="accent4"/>
              </a:solidFill>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mn-ea"/>
                <a:cs typeface="+mn-cs"/>
              </a:endParaRPr>
            </a:p>
          </p:txBody>
        </p:sp>
        <p:sp>
          <p:nvSpPr>
            <p:cNvPr id="34" name="Oval 33">
              <a:extLst>
                <a:ext uri="{FF2B5EF4-FFF2-40B4-BE49-F238E27FC236}">
                  <a16:creationId xmlns:a16="http://schemas.microsoft.com/office/drawing/2014/main" id="{6F1523DD-27D5-890D-FE01-A8DF9E1D5B92}"/>
                </a:ext>
              </a:extLst>
            </p:cNvPr>
            <p:cNvSpPr/>
            <p:nvPr/>
          </p:nvSpPr>
          <p:spPr>
            <a:xfrm>
              <a:off x="1832334" y="3204015"/>
              <a:ext cx="143499" cy="143497"/>
            </a:xfrm>
            <a:prstGeom prst="ellipse">
              <a:avLst/>
            </a:prstGeom>
            <a:solidFill>
              <a:sysClr val="window" lastClr="FFFFFF"/>
            </a:solidFill>
            <a:ln>
              <a:noFill/>
            </a:ln>
            <a:effectLst>
              <a:outerShdw blurRad="63500" algn="ctr" rotWithShape="0">
                <a:prstClr val="black">
                  <a:alpha val="20000"/>
                </a:prstClr>
              </a:outerShdw>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0" cap="none" spc="0" normalizeH="0" baseline="0" noProof="0">
                  <a:ln>
                    <a:noFill/>
                  </a:ln>
                  <a:solidFill>
                    <a:srgbClr val="EA5564"/>
                  </a:solidFill>
                  <a:effectLst/>
                  <a:uLnTx/>
                  <a:uFillTx/>
                  <a:latin typeface="Avenir Next LT Pro Demi"/>
                  <a:ea typeface="+mn-ea"/>
                  <a:cs typeface="+mn-cs"/>
                </a:rPr>
                <a:t>2</a:t>
              </a:r>
              <a:endParaRPr kumimoji="0" lang="en-US" sz="1400" b="0" i="0" u="none" strike="noStrike" kern="0" cap="none" spc="0" normalizeH="0" baseline="0" noProof="0">
                <a:ln>
                  <a:noFill/>
                </a:ln>
                <a:solidFill>
                  <a:srgbClr val="EA5564"/>
                </a:solidFill>
                <a:effectLst/>
                <a:uLnTx/>
                <a:uFillTx/>
                <a:latin typeface="Avenir Next LT Pro Demi"/>
                <a:ea typeface="+mn-ea"/>
                <a:cs typeface="+mn-cs"/>
              </a:endParaRPr>
            </a:p>
          </p:txBody>
        </p:sp>
      </p:grpSp>
      <p:sp>
        <p:nvSpPr>
          <p:cNvPr id="35" name="Rectangle 34">
            <a:extLst>
              <a:ext uri="{FF2B5EF4-FFF2-40B4-BE49-F238E27FC236}">
                <a16:creationId xmlns:a16="http://schemas.microsoft.com/office/drawing/2014/main" id="{D7C22FBA-787F-A999-3970-6A9C375AB392}"/>
              </a:ext>
            </a:extLst>
          </p:cNvPr>
          <p:cNvSpPr/>
          <p:nvPr/>
        </p:nvSpPr>
        <p:spPr>
          <a:xfrm>
            <a:off x="4967617" y="3999502"/>
            <a:ext cx="2191185" cy="245240"/>
          </a:xfrm>
          <a:prstGeom prst="rect">
            <a:avLst/>
          </a:prstGeom>
          <a:noFill/>
          <a:ln w="19050">
            <a:solidFill>
              <a:schemeClr val="accent4"/>
            </a:solidFill>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venir Next LT Pro"/>
              <a:ea typeface="+mn-ea"/>
              <a:cs typeface="+mn-cs"/>
            </a:endParaRPr>
          </a:p>
        </p:txBody>
      </p:sp>
      <p:sp>
        <p:nvSpPr>
          <p:cNvPr id="36" name="Rectangle 35">
            <a:extLst>
              <a:ext uri="{FF2B5EF4-FFF2-40B4-BE49-F238E27FC236}">
                <a16:creationId xmlns:a16="http://schemas.microsoft.com/office/drawing/2014/main" id="{57D643AE-D24D-B0DD-18CF-125D5820FE67}"/>
              </a:ext>
            </a:extLst>
          </p:cNvPr>
          <p:cNvSpPr/>
          <p:nvPr/>
        </p:nvSpPr>
        <p:spPr>
          <a:xfrm>
            <a:off x="4969801" y="4293213"/>
            <a:ext cx="1233775" cy="323059"/>
          </a:xfrm>
          <a:prstGeom prst="rect">
            <a:avLst/>
          </a:prstGeom>
          <a:noFill/>
          <a:ln w="19050">
            <a:solidFill>
              <a:schemeClr val="accent4"/>
            </a:solidFill>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venir Next LT Pro"/>
              <a:ea typeface="+mn-ea"/>
              <a:cs typeface="+mn-cs"/>
            </a:endParaRPr>
          </a:p>
        </p:txBody>
      </p:sp>
      <p:grpSp>
        <p:nvGrpSpPr>
          <p:cNvPr id="37" name="Group 36">
            <a:extLst>
              <a:ext uri="{FF2B5EF4-FFF2-40B4-BE49-F238E27FC236}">
                <a16:creationId xmlns:a16="http://schemas.microsoft.com/office/drawing/2014/main" id="{3996F88A-3E57-6D1E-270F-07BCD6855415}"/>
              </a:ext>
            </a:extLst>
          </p:cNvPr>
          <p:cNvGrpSpPr/>
          <p:nvPr/>
        </p:nvGrpSpPr>
        <p:grpSpPr>
          <a:xfrm>
            <a:off x="6570975" y="4300797"/>
            <a:ext cx="307894" cy="307890"/>
            <a:chOff x="1817037" y="3188718"/>
            <a:chExt cx="174094" cy="174092"/>
          </a:xfrm>
        </p:grpSpPr>
        <p:sp>
          <p:nvSpPr>
            <p:cNvPr id="38" name="Oval 37">
              <a:extLst>
                <a:ext uri="{FF2B5EF4-FFF2-40B4-BE49-F238E27FC236}">
                  <a16:creationId xmlns:a16="http://schemas.microsoft.com/office/drawing/2014/main" id="{B9641DB3-5572-DFF0-2430-0B88E1D0EAB6}"/>
                </a:ext>
              </a:extLst>
            </p:cNvPr>
            <p:cNvSpPr/>
            <p:nvPr/>
          </p:nvSpPr>
          <p:spPr>
            <a:xfrm>
              <a:off x="1817037" y="3188718"/>
              <a:ext cx="174094" cy="174092"/>
            </a:xfrm>
            <a:prstGeom prst="ellipse">
              <a:avLst/>
            </a:prstGeom>
            <a:solidFill>
              <a:sysClr val="window" lastClr="FFFFFF"/>
            </a:solidFill>
            <a:ln>
              <a:solidFill>
                <a:schemeClr val="accent4"/>
              </a:solidFill>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mn-ea"/>
                <a:cs typeface="+mn-cs"/>
              </a:endParaRPr>
            </a:p>
          </p:txBody>
        </p:sp>
        <p:sp>
          <p:nvSpPr>
            <p:cNvPr id="39" name="Oval 38">
              <a:extLst>
                <a:ext uri="{FF2B5EF4-FFF2-40B4-BE49-F238E27FC236}">
                  <a16:creationId xmlns:a16="http://schemas.microsoft.com/office/drawing/2014/main" id="{80A2A2C5-F9CC-8F45-8864-A7EE20EC51DE}"/>
                </a:ext>
              </a:extLst>
            </p:cNvPr>
            <p:cNvSpPr/>
            <p:nvPr/>
          </p:nvSpPr>
          <p:spPr>
            <a:xfrm>
              <a:off x="1832334" y="3204015"/>
              <a:ext cx="143499" cy="143497"/>
            </a:xfrm>
            <a:prstGeom prst="ellipse">
              <a:avLst/>
            </a:prstGeom>
            <a:solidFill>
              <a:sysClr val="window" lastClr="FFFFFF"/>
            </a:solidFill>
            <a:ln>
              <a:noFill/>
            </a:ln>
            <a:effectLst>
              <a:outerShdw blurRad="63500" algn="ctr" rotWithShape="0">
                <a:prstClr val="black">
                  <a:alpha val="20000"/>
                </a:prstClr>
              </a:outerShdw>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0" cap="none" spc="0" normalizeH="0" baseline="0" noProof="0">
                  <a:ln>
                    <a:noFill/>
                  </a:ln>
                  <a:solidFill>
                    <a:srgbClr val="EA5564"/>
                  </a:solidFill>
                  <a:effectLst/>
                  <a:uLnTx/>
                  <a:uFillTx/>
                  <a:latin typeface="Avenir Next LT Pro Demi"/>
                  <a:ea typeface="+mn-ea"/>
                  <a:cs typeface="+mn-cs"/>
                </a:rPr>
                <a:t>3</a:t>
              </a:r>
              <a:endParaRPr kumimoji="0" lang="en-US" sz="1400" b="0" i="0" u="none" strike="noStrike" kern="0" cap="none" spc="0" normalizeH="0" baseline="0" noProof="0">
                <a:ln>
                  <a:noFill/>
                </a:ln>
                <a:solidFill>
                  <a:srgbClr val="EA5564"/>
                </a:solidFill>
                <a:effectLst/>
                <a:uLnTx/>
                <a:uFillTx/>
                <a:latin typeface="Avenir Next LT Pro Demi"/>
                <a:ea typeface="+mn-ea"/>
                <a:cs typeface="+mn-cs"/>
              </a:endParaRPr>
            </a:p>
          </p:txBody>
        </p:sp>
      </p:grpSp>
      <p:grpSp>
        <p:nvGrpSpPr>
          <p:cNvPr id="41" name="Group 40">
            <a:extLst>
              <a:ext uri="{FF2B5EF4-FFF2-40B4-BE49-F238E27FC236}">
                <a16:creationId xmlns:a16="http://schemas.microsoft.com/office/drawing/2014/main" id="{0347BB42-AB26-3400-1FD4-8808A48B47A1}"/>
              </a:ext>
            </a:extLst>
          </p:cNvPr>
          <p:cNvGrpSpPr/>
          <p:nvPr/>
        </p:nvGrpSpPr>
        <p:grpSpPr>
          <a:xfrm>
            <a:off x="6334438" y="4707137"/>
            <a:ext cx="307894" cy="307890"/>
            <a:chOff x="1817037" y="3188718"/>
            <a:chExt cx="174094" cy="174092"/>
          </a:xfrm>
        </p:grpSpPr>
        <p:sp>
          <p:nvSpPr>
            <p:cNvPr id="42" name="Oval 41">
              <a:extLst>
                <a:ext uri="{FF2B5EF4-FFF2-40B4-BE49-F238E27FC236}">
                  <a16:creationId xmlns:a16="http://schemas.microsoft.com/office/drawing/2014/main" id="{0CA1AD69-0088-7625-891E-50E660FB419A}"/>
                </a:ext>
              </a:extLst>
            </p:cNvPr>
            <p:cNvSpPr/>
            <p:nvPr/>
          </p:nvSpPr>
          <p:spPr>
            <a:xfrm>
              <a:off x="1817037" y="3188718"/>
              <a:ext cx="174094" cy="174092"/>
            </a:xfrm>
            <a:prstGeom prst="ellipse">
              <a:avLst/>
            </a:prstGeom>
            <a:solidFill>
              <a:sysClr val="window" lastClr="FFFFFF"/>
            </a:solidFill>
            <a:ln>
              <a:solidFill>
                <a:schemeClr val="accent4"/>
              </a:solidFill>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mn-ea"/>
                <a:cs typeface="+mn-cs"/>
              </a:endParaRPr>
            </a:p>
          </p:txBody>
        </p:sp>
        <p:sp>
          <p:nvSpPr>
            <p:cNvPr id="43" name="Oval 42">
              <a:extLst>
                <a:ext uri="{FF2B5EF4-FFF2-40B4-BE49-F238E27FC236}">
                  <a16:creationId xmlns:a16="http://schemas.microsoft.com/office/drawing/2014/main" id="{057B9CFE-6D7E-520C-A916-2B21AEAE242C}"/>
                </a:ext>
              </a:extLst>
            </p:cNvPr>
            <p:cNvSpPr/>
            <p:nvPr/>
          </p:nvSpPr>
          <p:spPr>
            <a:xfrm>
              <a:off x="1832334" y="3204015"/>
              <a:ext cx="143499" cy="143497"/>
            </a:xfrm>
            <a:prstGeom prst="ellipse">
              <a:avLst/>
            </a:prstGeom>
            <a:solidFill>
              <a:sysClr val="window" lastClr="FFFFFF"/>
            </a:solidFill>
            <a:ln>
              <a:noFill/>
            </a:ln>
            <a:effectLst>
              <a:outerShdw blurRad="63500" algn="ctr" rotWithShape="0">
                <a:prstClr val="black">
                  <a:alpha val="20000"/>
                </a:prstClr>
              </a:outerShdw>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0" cap="none" spc="0" normalizeH="0" baseline="0" noProof="0">
                  <a:ln>
                    <a:noFill/>
                  </a:ln>
                  <a:solidFill>
                    <a:srgbClr val="EA5564"/>
                  </a:solidFill>
                  <a:effectLst/>
                  <a:uLnTx/>
                  <a:uFillTx/>
                  <a:latin typeface="Avenir Next LT Pro Demi"/>
                  <a:ea typeface="+mn-ea"/>
                  <a:cs typeface="+mn-cs"/>
                </a:rPr>
                <a:t>4</a:t>
              </a:r>
              <a:endParaRPr kumimoji="0" lang="en-US" sz="1400" b="0" i="0" u="none" strike="noStrike" kern="0" cap="none" spc="0" normalizeH="0" baseline="0" noProof="0">
                <a:ln>
                  <a:noFill/>
                </a:ln>
                <a:solidFill>
                  <a:srgbClr val="EA5564"/>
                </a:solidFill>
                <a:effectLst/>
                <a:uLnTx/>
                <a:uFillTx/>
                <a:latin typeface="Avenir Next LT Pro Demi"/>
                <a:ea typeface="+mn-ea"/>
                <a:cs typeface="+mn-cs"/>
              </a:endParaRPr>
            </a:p>
          </p:txBody>
        </p:sp>
      </p:grpSp>
      <p:sp>
        <p:nvSpPr>
          <p:cNvPr id="44" name="Rectangle 43">
            <a:extLst>
              <a:ext uri="{FF2B5EF4-FFF2-40B4-BE49-F238E27FC236}">
                <a16:creationId xmlns:a16="http://schemas.microsoft.com/office/drawing/2014/main" id="{4C71F2A8-5905-C28A-5540-A164D040178D}"/>
              </a:ext>
            </a:extLst>
          </p:cNvPr>
          <p:cNvSpPr/>
          <p:nvPr/>
        </p:nvSpPr>
        <p:spPr>
          <a:xfrm>
            <a:off x="4941048" y="4657185"/>
            <a:ext cx="1154952" cy="307890"/>
          </a:xfrm>
          <a:prstGeom prst="rect">
            <a:avLst/>
          </a:prstGeom>
          <a:noFill/>
          <a:ln w="19050">
            <a:solidFill>
              <a:schemeClr val="accent4"/>
            </a:solidFill>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venir Next LT Pro"/>
              <a:ea typeface="+mn-ea"/>
              <a:cs typeface="+mn-cs"/>
            </a:endParaRPr>
          </a:p>
        </p:txBody>
      </p:sp>
      <p:sp>
        <p:nvSpPr>
          <p:cNvPr id="45" name="Rectangle 44">
            <a:extLst>
              <a:ext uri="{FF2B5EF4-FFF2-40B4-BE49-F238E27FC236}">
                <a16:creationId xmlns:a16="http://schemas.microsoft.com/office/drawing/2014/main" id="{E1A3B33B-D3BC-2E99-64BC-587F4EBAAA2B}"/>
              </a:ext>
            </a:extLst>
          </p:cNvPr>
          <p:cNvSpPr>
            <a:spLocks/>
          </p:cNvSpPr>
          <p:nvPr/>
        </p:nvSpPr>
        <p:spPr>
          <a:xfrm>
            <a:off x="8120062" y="1352549"/>
            <a:ext cx="3521071" cy="4830537"/>
          </a:xfrm>
          <a:prstGeom prst="rect">
            <a:avLst/>
          </a:prstGeom>
          <a:solidFill>
            <a:schemeClr val="bg1"/>
          </a:solidFill>
          <a:ln>
            <a:solidFill>
              <a:schemeClr val="bg1">
                <a:lumMod val="85000"/>
              </a:schemeClr>
            </a:solidFill>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venir Next LT Pro"/>
              <a:ea typeface="+mn-ea"/>
              <a:cs typeface="+mn-cs"/>
            </a:endParaRPr>
          </a:p>
        </p:txBody>
      </p:sp>
      <p:cxnSp>
        <p:nvCxnSpPr>
          <p:cNvPr id="52" name="Straight Connector 51">
            <a:extLst>
              <a:ext uri="{FF2B5EF4-FFF2-40B4-BE49-F238E27FC236}">
                <a16:creationId xmlns:a16="http://schemas.microsoft.com/office/drawing/2014/main" id="{5F9C3ECD-ADE0-1652-F16C-A15A4E74E3C2}"/>
              </a:ext>
            </a:extLst>
          </p:cNvPr>
          <p:cNvCxnSpPr>
            <a:cxnSpLocks/>
          </p:cNvCxnSpPr>
          <p:nvPr/>
        </p:nvCxnSpPr>
        <p:spPr>
          <a:xfrm>
            <a:off x="8383129" y="1605188"/>
            <a:ext cx="0" cy="4325258"/>
          </a:xfrm>
          <a:prstGeom prst="line">
            <a:avLst/>
          </a:prstGeom>
          <a:ln w="38100" cap="rnd">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B2F29EA0-EA66-745C-B9D6-6CD1EA02970A}"/>
              </a:ext>
            </a:extLst>
          </p:cNvPr>
          <p:cNvSpPr/>
          <p:nvPr/>
        </p:nvSpPr>
        <p:spPr>
          <a:xfrm>
            <a:off x="8648701" y="2840835"/>
            <a:ext cx="2866630" cy="646331"/>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marR="0" lvl="0" indent="0" algn="l" defTabSz="755650" rtl="0" eaLnBrk="1" fontAlgn="auto" latinLnBrk="0" hangingPunct="1">
              <a:lnSpc>
                <a:spcPct val="100000"/>
              </a:lnSpc>
              <a:spcBef>
                <a:spcPct val="0"/>
              </a:spcBef>
              <a:spcAft>
                <a:spcPct val="3500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venir Next LT Pro"/>
                <a:ea typeface="+mn-ea"/>
                <a:cs typeface="+mn-cs"/>
              </a:rPr>
              <a:t>Convert personal tags to Shared tags, providing all administrators for a site with the same experience</a:t>
            </a:r>
          </a:p>
        </p:txBody>
      </p:sp>
      <p:sp>
        <p:nvSpPr>
          <p:cNvPr id="50" name="Rectangle 49">
            <a:extLst>
              <a:ext uri="{FF2B5EF4-FFF2-40B4-BE49-F238E27FC236}">
                <a16:creationId xmlns:a16="http://schemas.microsoft.com/office/drawing/2014/main" id="{77D57C2D-2247-CBFE-EA18-2253B62E0C2B}"/>
              </a:ext>
            </a:extLst>
          </p:cNvPr>
          <p:cNvSpPr/>
          <p:nvPr/>
        </p:nvSpPr>
        <p:spPr>
          <a:xfrm>
            <a:off x="8648701" y="4048469"/>
            <a:ext cx="2866630" cy="646331"/>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marR="0" lvl="0" indent="0" algn="l" defTabSz="755650" rtl="0" eaLnBrk="1" fontAlgn="auto" latinLnBrk="0" hangingPunct="1">
              <a:lnSpc>
                <a:spcPct val="100000"/>
              </a:lnSpc>
              <a:spcBef>
                <a:spcPct val="0"/>
              </a:spcBef>
              <a:spcAft>
                <a:spcPct val="3500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venir Next LT Pro"/>
                <a:ea typeface="+mn-ea"/>
                <a:cs typeface="+mn-cs"/>
              </a:rPr>
              <a:t>Archive existing tags that will no longer be used, but retain the information for each submission</a:t>
            </a:r>
          </a:p>
        </p:txBody>
      </p:sp>
      <p:sp>
        <p:nvSpPr>
          <p:cNvPr id="51" name="Rectangle 50">
            <a:extLst>
              <a:ext uri="{FF2B5EF4-FFF2-40B4-BE49-F238E27FC236}">
                <a16:creationId xmlns:a16="http://schemas.microsoft.com/office/drawing/2014/main" id="{DD518CE8-3516-B509-A5F9-0E571A3F6422}"/>
              </a:ext>
            </a:extLst>
          </p:cNvPr>
          <p:cNvSpPr/>
          <p:nvPr/>
        </p:nvSpPr>
        <p:spPr>
          <a:xfrm>
            <a:off x="8648701" y="5363825"/>
            <a:ext cx="2866630" cy="430887"/>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marR="0" lvl="0" indent="0" algn="l" defTabSz="755650" rtl="0" eaLnBrk="1" fontAlgn="auto" latinLnBrk="0" hangingPunct="1">
              <a:lnSpc>
                <a:spcPct val="100000"/>
              </a:lnSpc>
              <a:spcBef>
                <a:spcPct val="0"/>
              </a:spcBef>
              <a:spcAft>
                <a:spcPct val="3500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venir Next LT Pro"/>
                <a:ea typeface="+mn-ea"/>
                <a:cs typeface="+mn-cs"/>
              </a:rPr>
              <a:t>Delete tags that are not being used or were created inadvertently </a:t>
            </a:r>
          </a:p>
        </p:txBody>
      </p:sp>
      <p:cxnSp>
        <p:nvCxnSpPr>
          <p:cNvPr id="53" name="Straight Connector 52">
            <a:extLst>
              <a:ext uri="{FF2B5EF4-FFF2-40B4-BE49-F238E27FC236}">
                <a16:creationId xmlns:a16="http://schemas.microsoft.com/office/drawing/2014/main" id="{FE4681DB-732D-096B-0B1A-075B744A050F}"/>
              </a:ext>
            </a:extLst>
          </p:cNvPr>
          <p:cNvCxnSpPr>
            <a:cxnSpLocks/>
          </p:cNvCxnSpPr>
          <p:nvPr/>
        </p:nvCxnSpPr>
        <p:spPr>
          <a:xfrm>
            <a:off x="8648700" y="2560183"/>
            <a:ext cx="2866630"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1308B2F-CB87-E6A1-B72D-B6C8FFF5DE68}"/>
              </a:ext>
            </a:extLst>
          </p:cNvPr>
          <p:cNvCxnSpPr>
            <a:cxnSpLocks/>
          </p:cNvCxnSpPr>
          <p:nvPr/>
        </p:nvCxnSpPr>
        <p:spPr>
          <a:xfrm>
            <a:off x="8648700" y="3767817"/>
            <a:ext cx="2866630"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67785B51-34AC-0C5C-7086-067600DE8A74}"/>
              </a:ext>
            </a:extLst>
          </p:cNvPr>
          <p:cNvCxnSpPr>
            <a:cxnSpLocks/>
          </p:cNvCxnSpPr>
          <p:nvPr/>
        </p:nvCxnSpPr>
        <p:spPr>
          <a:xfrm>
            <a:off x="8648700" y="4975451"/>
            <a:ext cx="2866630"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64" name="Group 63">
            <a:extLst>
              <a:ext uri="{FF2B5EF4-FFF2-40B4-BE49-F238E27FC236}">
                <a16:creationId xmlns:a16="http://schemas.microsoft.com/office/drawing/2014/main" id="{83D8C8B7-2179-E194-5533-C78E4F816C16}"/>
              </a:ext>
            </a:extLst>
          </p:cNvPr>
          <p:cNvGrpSpPr/>
          <p:nvPr/>
        </p:nvGrpSpPr>
        <p:grpSpPr>
          <a:xfrm>
            <a:off x="8229181" y="3010054"/>
            <a:ext cx="307894" cy="307890"/>
            <a:chOff x="1817037" y="3188718"/>
            <a:chExt cx="174094" cy="174092"/>
          </a:xfrm>
        </p:grpSpPr>
        <p:sp>
          <p:nvSpPr>
            <p:cNvPr id="65" name="Oval 64">
              <a:extLst>
                <a:ext uri="{FF2B5EF4-FFF2-40B4-BE49-F238E27FC236}">
                  <a16:creationId xmlns:a16="http://schemas.microsoft.com/office/drawing/2014/main" id="{6E14B776-42DB-D893-46D3-AD9F275BA9C6}"/>
                </a:ext>
              </a:extLst>
            </p:cNvPr>
            <p:cNvSpPr/>
            <p:nvPr/>
          </p:nvSpPr>
          <p:spPr>
            <a:xfrm>
              <a:off x="1817037" y="3188718"/>
              <a:ext cx="174094" cy="174092"/>
            </a:xfrm>
            <a:prstGeom prst="ellipse">
              <a:avLst/>
            </a:prstGeom>
            <a:solidFill>
              <a:sysClr val="window" lastClr="FFFFFF"/>
            </a:solidFill>
            <a:ln>
              <a:solidFill>
                <a:schemeClr val="accent4"/>
              </a:solidFill>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mn-ea"/>
                <a:cs typeface="+mn-cs"/>
              </a:endParaRPr>
            </a:p>
          </p:txBody>
        </p:sp>
        <p:sp>
          <p:nvSpPr>
            <p:cNvPr id="66" name="Oval 65">
              <a:extLst>
                <a:ext uri="{FF2B5EF4-FFF2-40B4-BE49-F238E27FC236}">
                  <a16:creationId xmlns:a16="http://schemas.microsoft.com/office/drawing/2014/main" id="{1AF50D97-EC0A-7D7A-76C8-C994DC404D86}"/>
                </a:ext>
              </a:extLst>
            </p:cNvPr>
            <p:cNvSpPr/>
            <p:nvPr/>
          </p:nvSpPr>
          <p:spPr>
            <a:xfrm>
              <a:off x="1832334" y="3204015"/>
              <a:ext cx="143499" cy="143497"/>
            </a:xfrm>
            <a:prstGeom prst="ellipse">
              <a:avLst/>
            </a:prstGeom>
            <a:solidFill>
              <a:sysClr val="window" lastClr="FFFFFF"/>
            </a:solidFill>
            <a:ln>
              <a:noFill/>
            </a:ln>
            <a:effectLst>
              <a:outerShdw blurRad="63500" algn="ctr" rotWithShape="0">
                <a:prstClr val="black">
                  <a:alpha val="20000"/>
                </a:prstClr>
              </a:outerShdw>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0" cap="none" spc="0" normalizeH="0" baseline="0" noProof="0">
                  <a:ln>
                    <a:noFill/>
                  </a:ln>
                  <a:solidFill>
                    <a:srgbClr val="EA5564"/>
                  </a:solidFill>
                  <a:effectLst/>
                  <a:uLnTx/>
                  <a:uFillTx/>
                  <a:latin typeface="Avenir Next LT Pro Demi"/>
                  <a:ea typeface="+mn-ea"/>
                  <a:cs typeface="+mn-cs"/>
                </a:rPr>
                <a:t>2</a:t>
              </a:r>
              <a:endParaRPr kumimoji="0" lang="en-US" sz="1400" b="0" i="0" u="none" strike="noStrike" kern="0" cap="none" spc="0" normalizeH="0" baseline="0" noProof="0">
                <a:ln>
                  <a:noFill/>
                </a:ln>
                <a:solidFill>
                  <a:srgbClr val="EA5564"/>
                </a:solidFill>
                <a:effectLst/>
                <a:uLnTx/>
                <a:uFillTx/>
                <a:latin typeface="Avenir Next LT Pro Demi"/>
                <a:ea typeface="+mn-ea"/>
                <a:cs typeface="+mn-cs"/>
              </a:endParaRPr>
            </a:p>
          </p:txBody>
        </p:sp>
      </p:grpSp>
      <p:grpSp>
        <p:nvGrpSpPr>
          <p:cNvPr id="67" name="Group 66">
            <a:extLst>
              <a:ext uri="{FF2B5EF4-FFF2-40B4-BE49-F238E27FC236}">
                <a16:creationId xmlns:a16="http://schemas.microsoft.com/office/drawing/2014/main" id="{3753C20B-328D-2B78-2B22-E6E501E9AD12}"/>
              </a:ext>
            </a:extLst>
          </p:cNvPr>
          <p:cNvGrpSpPr/>
          <p:nvPr/>
        </p:nvGrpSpPr>
        <p:grpSpPr>
          <a:xfrm>
            <a:off x="8229181" y="4217689"/>
            <a:ext cx="307894" cy="307890"/>
            <a:chOff x="1817037" y="3188718"/>
            <a:chExt cx="174094" cy="174092"/>
          </a:xfrm>
        </p:grpSpPr>
        <p:sp>
          <p:nvSpPr>
            <p:cNvPr id="68" name="Oval 67">
              <a:extLst>
                <a:ext uri="{FF2B5EF4-FFF2-40B4-BE49-F238E27FC236}">
                  <a16:creationId xmlns:a16="http://schemas.microsoft.com/office/drawing/2014/main" id="{B18458DD-20AE-4C94-D9AF-AA335D62FA01}"/>
                </a:ext>
              </a:extLst>
            </p:cNvPr>
            <p:cNvSpPr/>
            <p:nvPr/>
          </p:nvSpPr>
          <p:spPr>
            <a:xfrm>
              <a:off x="1817037" y="3188718"/>
              <a:ext cx="174094" cy="174092"/>
            </a:xfrm>
            <a:prstGeom prst="ellipse">
              <a:avLst/>
            </a:prstGeom>
            <a:solidFill>
              <a:sysClr val="window" lastClr="FFFFFF"/>
            </a:solidFill>
            <a:ln>
              <a:solidFill>
                <a:schemeClr val="accent4"/>
              </a:solidFill>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mn-ea"/>
                <a:cs typeface="+mn-cs"/>
              </a:endParaRPr>
            </a:p>
          </p:txBody>
        </p:sp>
        <p:sp>
          <p:nvSpPr>
            <p:cNvPr id="69" name="Oval 68">
              <a:extLst>
                <a:ext uri="{FF2B5EF4-FFF2-40B4-BE49-F238E27FC236}">
                  <a16:creationId xmlns:a16="http://schemas.microsoft.com/office/drawing/2014/main" id="{9B28459C-5B1E-64B3-FDE6-82686CDFB2B7}"/>
                </a:ext>
              </a:extLst>
            </p:cNvPr>
            <p:cNvSpPr/>
            <p:nvPr/>
          </p:nvSpPr>
          <p:spPr>
            <a:xfrm>
              <a:off x="1832334" y="3204015"/>
              <a:ext cx="143499" cy="143497"/>
            </a:xfrm>
            <a:prstGeom prst="ellipse">
              <a:avLst/>
            </a:prstGeom>
            <a:solidFill>
              <a:sysClr val="window" lastClr="FFFFFF"/>
            </a:solidFill>
            <a:ln>
              <a:noFill/>
            </a:ln>
            <a:effectLst>
              <a:outerShdw blurRad="63500" algn="ctr" rotWithShape="0">
                <a:prstClr val="black">
                  <a:alpha val="20000"/>
                </a:prstClr>
              </a:outerShdw>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0" cap="none" spc="0" normalizeH="0" baseline="0" noProof="0">
                  <a:ln>
                    <a:noFill/>
                  </a:ln>
                  <a:solidFill>
                    <a:srgbClr val="EA5564"/>
                  </a:solidFill>
                  <a:effectLst/>
                  <a:uLnTx/>
                  <a:uFillTx/>
                  <a:latin typeface="Avenir Next LT Pro Demi"/>
                  <a:ea typeface="+mn-ea"/>
                  <a:cs typeface="+mn-cs"/>
                </a:rPr>
                <a:t>3</a:t>
              </a:r>
              <a:endParaRPr kumimoji="0" lang="en-US" sz="1400" b="0" i="0" u="none" strike="noStrike" kern="0" cap="none" spc="0" normalizeH="0" baseline="0" noProof="0">
                <a:ln>
                  <a:noFill/>
                </a:ln>
                <a:solidFill>
                  <a:srgbClr val="EA5564"/>
                </a:solidFill>
                <a:effectLst/>
                <a:uLnTx/>
                <a:uFillTx/>
                <a:latin typeface="Avenir Next LT Pro Demi"/>
                <a:ea typeface="+mn-ea"/>
                <a:cs typeface="+mn-cs"/>
              </a:endParaRPr>
            </a:p>
          </p:txBody>
        </p:sp>
      </p:grpSp>
      <p:grpSp>
        <p:nvGrpSpPr>
          <p:cNvPr id="70" name="Group 69">
            <a:extLst>
              <a:ext uri="{FF2B5EF4-FFF2-40B4-BE49-F238E27FC236}">
                <a16:creationId xmlns:a16="http://schemas.microsoft.com/office/drawing/2014/main" id="{2563CCD9-F737-80C5-43F4-000AE044105F}"/>
              </a:ext>
            </a:extLst>
          </p:cNvPr>
          <p:cNvGrpSpPr/>
          <p:nvPr/>
        </p:nvGrpSpPr>
        <p:grpSpPr>
          <a:xfrm>
            <a:off x="8229181" y="5425323"/>
            <a:ext cx="307894" cy="307890"/>
            <a:chOff x="1817037" y="3188718"/>
            <a:chExt cx="174094" cy="174092"/>
          </a:xfrm>
        </p:grpSpPr>
        <p:sp>
          <p:nvSpPr>
            <p:cNvPr id="71" name="Oval 70">
              <a:extLst>
                <a:ext uri="{FF2B5EF4-FFF2-40B4-BE49-F238E27FC236}">
                  <a16:creationId xmlns:a16="http://schemas.microsoft.com/office/drawing/2014/main" id="{D293FC75-A853-E9CF-952C-8FB69AA577C0}"/>
                </a:ext>
              </a:extLst>
            </p:cNvPr>
            <p:cNvSpPr/>
            <p:nvPr/>
          </p:nvSpPr>
          <p:spPr>
            <a:xfrm>
              <a:off x="1817037" y="3188718"/>
              <a:ext cx="174094" cy="174092"/>
            </a:xfrm>
            <a:prstGeom prst="ellipse">
              <a:avLst/>
            </a:prstGeom>
            <a:solidFill>
              <a:sysClr val="window" lastClr="FFFFFF"/>
            </a:solidFill>
            <a:ln>
              <a:solidFill>
                <a:schemeClr val="accent4"/>
              </a:solidFill>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mn-ea"/>
                <a:cs typeface="+mn-cs"/>
              </a:endParaRPr>
            </a:p>
          </p:txBody>
        </p:sp>
        <p:sp>
          <p:nvSpPr>
            <p:cNvPr id="72" name="Oval 71">
              <a:extLst>
                <a:ext uri="{FF2B5EF4-FFF2-40B4-BE49-F238E27FC236}">
                  <a16:creationId xmlns:a16="http://schemas.microsoft.com/office/drawing/2014/main" id="{B86D2EA0-5835-93FA-1966-CF55CE04EC8A}"/>
                </a:ext>
              </a:extLst>
            </p:cNvPr>
            <p:cNvSpPr/>
            <p:nvPr/>
          </p:nvSpPr>
          <p:spPr>
            <a:xfrm>
              <a:off x="1832334" y="3204015"/>
              <a:ext cx="143499" cy="143497"/>
            </a:xfrm>
            <a:prstGeom prst="ellipse">
              <a:avLst/>
            </a:prstGeom>
            <a:solidFill>
              <a:sysClr val="window" lastClr="FFFFFF"/>
            </a:solidFill>
            <a:ln>
              <a:noFill/>
            </a:ln>
            <a:effectLst>
              <a:outerShdw blurRad="63500" algn="ctr" rotWithShape="0">
                <a:prstClr val="black">
                  <a:alpha val="20000"/>
                </a:prstClr>
              </a:outerShdw>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0" cap="none" spc="0" normalizeH="0" baseline="0" noProof="0">
                  <a:ln>
                    <a:noFill/>
                  </a:ln>
                  <a:solidFill>
                    <a:srgbClr val="EA5564"/>
                  </a:solidFill>
                  <a:effectLst/>
                  <a:uLnTx/>
                  <a:uFillTx/>
                  <a:latin typeface="Avenir Next LT Pro Demi"/>
                  <a:ea typeface="+mn-ea"/>
                  <a:cs typeface="+mn-cs"/>
                </a:rPr>
                <a:t>4</a:t>
              </a:r>
              <a:endParaRPr kumimoji="0" lang="en-US" sz="1400" b="0" i="0" u="none" strike="noStrike" kern="0" cap="none" spc="0" normalizeH="0" baseline="0" noProof="0">
                <a:ln>
                  <a:noFill/>
                </a:ln>
                <a:solidFill>
                  <a:srgbClr val="EA5564"/>
                </a:solidFill>
                <a:effectLst/>
                <a:uLnTx/>
                <a:uFillTx/>
                <a:latin typeface="Avenir Next LT Pro Demi"/>
                <a:ea typeface="+mn-ea"/>
                <a:cs typeface="+mn-cs"/>
              </a:endParaRPr>
            </a:p>
          </p:txBody>
        </p:sp>
      </p:grpSp>
      <p:pic>
        <p:nvPicPr>
          <p:cNvPr id="74" name="Picture Placeholder 13">
            <a:extLst>
              <a:ext uri="{FF2B5EF4-FFF2-40B4-BE49-F238E27FC236}">
                <a16:creationId xmlns:a16="http://schemas.microsoft.com/office/drawing/2014/main" id="{9462357A-C173-854A-F7ED-04AE0E79AEB2}"/>
              </a:ext>
            </a:extLst>
          </p:cNvPr>
          <p:cNvPicPr>
            <a:picLocks noChangeAspect="1"/>
          </p:cNvPicPr>
          <p:nvPr/>
        </p:nvPicPr>
        <p:blipFill rotWithShape="1">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6945" t="19498" r="6909" b="15243"/>
          <a:stretch/>
        </p:blipFill>
        <p:spPr>
          <a:xfrm>
            <a:off x="548482" y="6308725"/>
            <a:ext cx="1381418" cy="309766"/>
          </a:xfrm>
          <a:prstGeom prst="rect">
            <a:avLst/>
          </a:prstGeom>
        </p:spPr>
      </p:pic>
      <p:grpSp>
        <p:nvGrpSpPr>
          <p:cNvPr id="75" name="Group 74">
            <a:extLst>
              <a:ext uri="{FF2B5EF4-FFF2-40B4-BE49-F238E27FC236}">
                <a16:creationId xmlns:a16="http://schemas.microsoft.com/office/drawing/2014/main" id="{2CA7E246-2CB2-092E-9251-132BBA4300AD}"/>
              </a:ext>
            </a:extLst>
          </p:cNvPr>
          <p:cNvGrpSpPr/>
          <p:nvPr/>
        </p:nvGrpSpPr>
        <p:grpSpPr>
          <a:xfrm>
            <a:off x="8229181" y="1681658"/>
            <a:ext cx="307894" cy="307890"/>
            <a:chOff x="1817037" y="3188718"/>
            <a:chExt cx="174094" cy="174092"/>
          </a:xfrm>
        </p:grpSpPr>
        <p:sp>
          <p:nvSpPr>
            <p:cNvPr id="76" name="Oval 75">
              <a:extLst>
                <a:ext uri="{FF2B5EF4-FFF2-40B4-BE49-F238E27FC236}">
                  <a16:creationId xmlns:a16="http://schemas.microsoft.com/office/drawing/2014/main" id="{28A5590B-3EE7-7A51-E530-F1C91A6B10B3}"/>
                </a:ext>
              </a:extLst>
            </p:cNvPr>
            <p:cNvSpPr/>
            <p:nvPr/>
          </p:nvSpPr>
          <p:spPr>
            <a:xfrm>
              <a:off x="1817037" y="3188718"/>
              <a:ext cx="174094" cy="174092"/>
            </a:xfrm>
            <a:prstGeom prst="ellipse">
              <a:avLst/>
            </a:prstGeom>
            <a:solidFill>
              <a:sysClr val="window" lastClr="FFFFFF"/>
            </a:solidFill>
            <a:ln>
              <a:solidFill>
                <a:schemeClr val="accent4"/>
              </a:solidFill>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mn-ea"/>
                <a:cs typeface="+mn-cs"/>
              </a:endParaRPr>
            </a:p>
          </p:txBody>
        </p:sp>
        <p:sp>
          <p:nvSpPr>
            <p:cNvPr id="77" name="Oval 76">
              <a:extLst>
                <a:ext uri="{FF2B5EF4-FFF2-40B4-BE49-F238E27FC236}">
                  <a16:creationId xmlns:a16="http://schemas.microsoft.com/office/drawing/2014/main" id="{A4218085-BC9E-F40D-1B52-2E515A43431F}"/>
                </a:ext>
              </a:extLst>
            </p:cNvPr>
            <p:cNvSpPr/>
            <p:nvPr/>
          </p:nvSpPr>
          <p:spPr>
            <a:xfrm>
              <a:off x="1832334" y="3204015"/>
              <a:ext cx="143499" cy="143497"/>
            </a:xfrm>
            <a:prstGeom prst="ellipse">
              <a:avLst/>
            </a:prstGeom>
            <a:solidFill>
              <a:sysClr val="window" lastClr="FFFFFF"/>
            </a:solidFill>
            <a:ln>
              <a:noFill/>
            </a:ln>
            <a:effectLst>
              <a:outerShdw blurRad="63500" algn="ctr" rotWithShape="0">
                <a:prstClr val="black">
                  <a:alpha val="20000"/>
                </a:prstClr>
              </a:outerShdw>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0" cap="none" spc="0" normalizeH="0" baseline="0" noProof="0">
                  <a:ln>
                    <a:noFill/>
                  </a:ln>
                  <a:solidFill>
                    <a:srgbClr val="EA5564"/>
                  </a:solidFill>
                  <a:effectLst/>
                  <a:uLnTx/>
                  <a:uFillTx/>
                  <a:latin typeface="Avenir Next LT Pro Demi"/>
                  <a:ea typeface="+mn-ea"/>
                  <a:cs typeface="+mn-cs"/>
                </a:rPr>
                <a:t>1</a:t>
              </a:r>
              <a:endParaRPr kumimoji="0" lang="en-US" sz="1400" b="0" i="0" u="none" strike="noStrike" kern="0" cap="none" spc="0" normalizeH="0" baseline="0" noProof="0">
                <a:ln>
                  <a:noFill/>
                </a:ln>
                <a:solidFill>
                  <a:srgbClr val="EA5564"/>
                </a:solidFill>
                <a:effectLst/>
                <a:uLnTx/>
                <a:uFillTx/>
                <a:latin typeface="Avenir Next LT Pro Demi"/>
                <a:ea typeface="+mn-ea"/>
                <a:cs typeface="+mn-cs"/>
              </a:endParaRPr>
            </a:p>
          </p:txBody>
        </p:sp>
      </p:grpSp>
      <p:sp>
        <p:nvSpPr>
          <p:cNvPr id="79" name="Rectangle 78">
            <a:extLst>
              <a:ext uri="{FF2B5EF4-FFF2-40B4-BE49-F238E27FC236}">
                <a16:creationId xmlns:a16="http://schemas.microsoft.com/office/drawing/2014/main" id="{8E38642B-0994-779E-4D9F-CE9BA83DD589}"/>
              </a:ext>
            </a:extLst>
          </p:cNvPr>
          <p:cNvSpPr/>
          <p:nvPr/>
        </p:nvSpPr>
        <p:spPr>
          <a:xfrm>
            <a:off x="8648700" y="1641704"/>
            <a:ext cx="2983375" cy="861774"/>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spAutoFit/>
          </a:bodyPr>
          <a:lstStyle/>
          <a:p>
            <a:pPr marL="0" marR="0" lvl="0" indent="0" algn="l" defTabSz="622300" rtl="0" eaLnBrk="1" fontAlgn="auto" latinLnBrk="0" hangingPunct="1">
              <a:lnSpc>
                <a:spcPct val="100000"/>
              </a:lnSpc>
              <a:spcBef>
                <a:spcPct val="0"/>
              </a:spcBef>
              <a:spcAft>
                <a:spcPct val="3500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venir Next LT Pro"/>
                <a:ea typeface="+mn-ea"/>
                <a:cs typeface="+mn-cs"/>
              </a:rPr>
              <a:t>Search for existing tags or create new ones, helping to improve visibility  and streamline workflows for admins</a:t>
            </a:r>
          </a:p>
        </p:txBody>
      </p:sp>
      <p:sp>
        <p:nvSpPr>
          <p:cNvPr id="5" name="Title 1">
            <a:extLst>
              <a:ext uri="{FF2B5EF4-FFF2-40B4-BE49-F238E27FC236}">
                <a16:creationId xmlns:a16="http://schemas.microsoft.com/office/drawing/2014/main" id="{7000F4B4-649C-2E11-0B63-D07A191C5D0B}"/>
              </a:ext>
            </a:extLst>
          </p:cNvPr>
          <p:cNvSpPr txBox="1">
            <a:spLocks/>
          </p:cNvSpPr>
          <p:nvPr/>
        </p:nvSpPr>
        <p:spPr>
          <a:xfrm>
            <a:off x="658439" y="714208"/>
            <a:ext cx="11090274" cy="249299"/>
          </a:xfrm>
          <a:prstGeom prst="rect">
            <a:avLst/>
          </a:prstGeom>
        </p:spPr>
        <p:txBody>
          <a:bodyPr vert="horz" lIns="0" tIns="0" rIns="0" bIns="0" rtlCol="0" anchor="t" anchorCtr="0">
            <a:spAutoFit/>
          </a:bodyPr>
          <a:lstStyle>
            <a:lvl1pPr algn="l" defTabSz="914400" rtl="0" eaLnBrk="1" latinLnBrk="0" hangingPunct="1">
              <a:lnSpc>
                <a:spcPct val="90000"/>
              </a:lnSpc>
              <a:spcBef>
                <a:spcPct val="0"/>
              </a:spcBef>
              <a:buNone/>
              <a:defRPr sz="2400" kern="1200">
                <a:solidFill>
                  <a:schemeClr val="accent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venir Next LT Pro"/>
                <a:ea typeface="+mj-ea"/>
                <a:cs typeface="+mj-cs"/>
              </a:rPr>
              <a:t>Streamline admin workflows, and provide consistent visibility across users</a:t>
            </a:r>
          </a:p>
        </p:txBody>
      </p:sp>
    </p:spTree>
    <p:extLst>
      <p:ext uri="{BB962C8B-B14F-4D97-AF65-F5344CB8AC3E}">
        <p14:creationId xmlns:p14="http://schemas.microsoft.com/office/powerpoint/2010/main" val="15300960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EB8039-81BB-C207-BF0C-F59DC277A423}"/>
            </a:ext>
          </a:extLst>
        </p:cNvPr>
        <p:cNvGrpSpPr/>
        <p:nvPr/>
      </p:nvGrpSpPr>
      <p:grpSpPr>
        <a:xfrm>
          <a:off x="0" y="0"/>
          <a:ext cx="0" cy="0"/>
          <a:chOff x="0" y="0"/>
          <a:chExt cx="0" cy="0"/>
        </a:xfrm>
      </p:grpSpPr>
      <p:sp>
        <p:nvSpPr>
          <p:cNvPr id="73" name="Rectangle 72">
            <a:extLst>
              <a:ext uri="{FF2B5EF4-FFF2-40B4-BE49-F238E27FC236}">
                <a16:creationId xmlns:a16="http://schemas.microsoft.com/office/drawing/2014/main" id="{D83FC3BF-704D-81C1-60D5-F3A41F17D2F1}"/>
              </a:ext>
            </a:extLst>
          </p:cNvPr>
          <p:cNvSpPr/>
          <p:nvPr/>
        </p:nvSpPr>
        <p:spPr>
          <a:xfrm rot="10800000">
            <a:off x="-3" y="5107243"/>
            <a:ext cx="12192001" cy="1750757"/>
          </a:xfrm>
          <a:prstGeom prst="rect">
            <a:avLst/>
          </a:pr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venir Next LT Pro"/>
              <a:ea typeface="+mn-ea"/>
              <a:cs typeface="+mn-cs"/>
            </a:endParaRPr>
          </a:p>
        </p:txBody>
      </p:sp>
      <p:sp>
        <p:nvSpPr>
          <p:cNvPr id="20" name="Rectangle 19">
            <a:extLst>
              <a:ext uri="{FF2B5EF4-FFF2-40B4-BE49-F238E27FC236}">
                <a16:creationId xmlns:a16="http://schemas.microsoft.com/office/drawing/2014/main" id="{3965CC69-25B5-4A0F-A0B9-11BF783885FD}"/>
              </a:ext>
            </a:extLst>
          </p:cNvPr>
          <p:cNvSpPr/>
          <p:nvPr/>
        </p:nvSpPr>
        <p:spPr>
          <a:xfrm>
            <a:off x="548482" y="932062"/>
            <a:ext cx="11089248" cy="4801065"/>
          </a:xfrm>
          <a:prstGeom prst="rect">
            <a:avLst/>
          </a:prstGeom>
          <a:solidFill>
            <a:schemeClr val="bg1"/>
          </a:solidFill>
          <a:ln>
            <a:noFill/>
          </a:ln>
          <a:effectLst>
            <a:outerShdw blurRad="63500" algn="ctr" rotWithShape="0">
              <a:prstClr val="black">
                <a:alpha val="5000"/>
              </a:prstClr>
            </a:outerShdw>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venir Next LT Pro"/>
              <a:ea typeface="+mn-ea"/>
              <a:cs typeface="+mn-cs"/>
            </a:endParaRPr>
          </a:p>
        </p:txBody>
      </p:sp>
      <p:sp>
        <p:nvSpPr>
          <p:cNvPr id="2" name="Title 1">
            <a:extLst>
              <a:ext uri="{FF2B5EF4-FFF2-40B4-BE49-F238E27FC236}">
                <a16:creationId xmlns:a16="http://schemas.microsoft.com/office/drawing/2014/main" id="{862180C6-A503-1830-B0BF-96AF3E78B09B}"/>
              </a:ext>
            </a:extLst>
          </p:cNvPr>
          <p:cNvSpPr>
            <a:spLocks noGrp="1"/>
          </p:cNvSpPr>
          <p:nvPr>
            <p:ph type="title"/>
          </p:nvPr>
        </p:nvSpPr>
        <p:spPr>
          <a:xfrm>
            <a:off x="548482" y="685000"/>
            <a:ext cx="11090274" cy="332399"/>
          </a:xfrm>
        </p:spPr>
        <p:txBody>
          <a:bodyPr vert="horz" lIns="0" tIns="0" rIns="0" bIns="0" rtlCol="0" anchor="t" anchorCtr="0">
            <a:spAutoFit/>
          </a:bodyPr>
          <a:lstStyle/>
          <a:p>
            <a:pPr>
              <a:defRPr/>
            </a:pPr>
            <a:r>
              <a:rPr lang="en-US" sz="1800" dirty="0">
                <a:solidFill>
                  <a:prstClr val="black"/>
                </a:solidFill>
                <a:latin typeface="Avenir Next LT Pro"/>
              </a:rPr>
              <a:t>XML Delivery Enhancements </a:t>
            </a:r>
          </a:p>
        </p:txBody>
      </p:sp>
      <p:sp>
        <p:nvSpPr>
          <p:cNvPr id="7" name="Footer Placeholder 6">
            <a:extLst>
              <a:ext uri="{FF2B5EF4-FFF2-40B4-BE49-F238E27FC236}">
                <a16:creationId xmlns:a16="http://schemas.microsoft.com/office/drawing/2014/main" id="{186C0D31-DB85-B91C-51E5-DEFBEE7ADCDB}"/>
              </a:ext>
            </a:extLst>
          </p:cNvPr>
          <p:cNvSpPr>
            <a:spLocks noGrp="1"/>
          </p:cNvSpPr>
          <p:nvPr>
            <p:ph type="ftr"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white"/>
                </a:solidFill>
                <a:effectLst/>
                <a:uLnTx/>
                <a:uFillTx/>
                <a:latin typeface="Avenir Next LT Pro"/>
                <a:ea typeface="+mn-ea"/>
                <a:cs typeface="+mn-cs"/>
              </a:rPr>
              <a:t>© 2023 Clarivate</a:t>
            </a:r>
          </a:p>
        </p:txBody>
      </p:sp>
      <p:sp>
        <p:nvSpPr>
          <p:cNvPr id="4" name="Slide Number Placeholder 3">
            <a:extLst>
              <a:ext uri="{FF2B5EF4-FFF2-40B4-BE49-F238E27FC236}">
                <a16:creationId xmlns:a16="http://schemas.microsoft.com/office/drawing/2014/main" id="{716AE255-6509-71A5-5B26-592EDECA2AE7}"/>
              </a:ext>
            </a:extLst>
          </p:cNvPr>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59CD943-D024-467A-B36E-F11E1285ED75}" type="slidenum">
              <a:rPr kumimoji="0" lang="en-US" sz="900" b="0" i="0" u="none" strike="noStrike" kern="1200" cap="none" spc="0" normalizeH="0" baseline="0" noProof="0" smtClean="0">
                <a:ln>
                  <a:noFill/>
                </a:ln>
                <a:solidFill>
                  <a:prstClr val="white"/>
                </a:solidFill>
                <a:effectLst/>
                <a:uLnTx/>
                <a:uFillTx/>
                <a:latin typeface="Avenir Next LT Pr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US" sz="900" b="0" i="0" u="none" strike="noStrike" kern="1200" cap="none" spc="0" normalizeH="0" baseline="0" noProof="0">
              <a:ln>
                <a:noFill/>
              </a:ln>
              <a:solidFill>
                <a:prstClr val="white"/>
              </a:solidFill>
              <a:effectLst/>
              <a:uLnTx/>
              <a:uFillTx/>
              <a:latin typeface="Avenir Next LT Pro"/>
              <a:ea typeface="+mn-ea"/>
              <a:cs typeface="+mn-cs"/>
            </a:endParaRPr>
          </a:p>
        </p:txBody>
      </p:sp>
      <p:pic>
        <p:nvPicPr>
          <p:cNvPr id="74" name="Picture Placeholder 13">
            <a:extLst>
              <a:ext uri="{FF2B5EF4-FFF2-40B4-BE49-F238E27FC236}">
                <a16:creationId xmlns:a16="http://schemas.microsoft.com/office/drawing/2014/main" id="{61FBAD16-C38B-8AEC-357C-90681AEA2450}"/>
              </a:ext>
            </a:extLst>
          </p:cNvPr>
          <p:cNvPicPr>
            <a:picLocks noChangeAspect="1"/>
          </p:cNvPicPr>
          <p:nvPr/>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l="6945" t="19498" r="6909" b="15243"/>
          <a:stretch/>
        </p:blipFill>
        <p:spPr>
          <a:xfrm>
            <a:off x="548482" y="6308725"/>
            <a:ext cx="1381418" cy="309766"/>
          </a:xfrm>
          <a:prstGeom prst="rect">
            <a:avLst/>
          </a:prstGeom>
        </p:spPr>
      </p:pic>
      <p:sp>
        <p:nvSpPr>
          <p:cNvPr id="5" name="Title 1">
            <a:extLst>
              <a:ext uri="{FF2B5EF4-FFF2-40B4-BE49-F238E27FC236}">
                <a16:creationId xmlns:a16="http://schemas.microsoft.com/office/drawing/2014/main" id="{9D328FB6-F9B2-B2F9-84F3-C44C5BD2D6B3}"/>
              </a:ext>
            </a:extLst>
          </p:cNvPr>
          <p:cNvSpPr txBox="1">
            <a:spLocks/>
          </p:cNvSpPr>
          <p:nvPr/>
        </p:nvSpPr>
        <p:spPr>
          <a:xfrm>
            <a:off x="630561" y="1104501"/>
            <a:ext cx="11090274" cy="249299"/>
          </a:xfrm>
          <a:prstGeom prst="rect">
            <a:avLst/>
          </a:prstGeom>
        </p:spPr>
        <p:txBody>
          <a:bodyPr vert="horz" lIns="0" tIns="0" rIns="0" bIns="0" rtlCol="0" anchor="t" anchorCtr="0">
            <a:spAutoFit/>
          </a:bodyPr>
          <a:lstStyle>
            <a:lvl1pPr algn="l" defTabSz="914400" rtl="0" eaLnBrk="1" latinLnBrk="0" hangingPunct="1">
              <a:lnSpc>
                <a:spcPct val="90000"/>
              </a:lnSpc>
              <a:spcBef>
                <a:spcPct val="0"/>
              </a:spcBef>
              <a:buNone/>
              <a:defRPr sz="2400" kern="1200">
                <a:solidFill>
                  <a:schemeClr val="accent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venir Next LT Pro"/>
                <a:ea typeface="+mj-ea"/>
                <a:cs typeface="+mj-cs"/>
              </a:rPr>
              <a:t>Providing new information in the XML sent to universities</a:t>
            </a:r>
          </a:p>
        </p:txBody>
      </p:sp>
      <p:cxnSp>
        <p:nvCxnSpPr>
          <p:cNvPr id="8" name="Straight Connector 7">
            <a:extLst>
              <a:ext uri="{FF2B5EF4-FFF2-40B4-BE49-F238E27FC236}">
                <a16:creationId xmlns:a16="http://schemas.microsoft.com/office/drawing/2014/main" id="{C2C9F6AA-2332-5070-D6CD-5DDCBF342DA6}"/>
              </a:ext>
            </a:extLst>
          </p:cNvPr>
          <p:cNvCxnSpPr>
            <a:cxnSpLocks/>
          </p:cNvCxnSpPr>
          <p:nvPr/>
        </p:nvCxnSpPr>
        <p:spPr>
          <a:xfrm>
            <a:off x="978590" y="1607101"/>
            <a:ext cx="18586" cy="3349528"/>
          </a:xfrm>
          <a:prstGeom prst="line">
            <a:avLst/>
          </a:prstGeom>
          <a:ln w="38100" cap="rnd">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91A30F52-416E-2447-BDFE-6B2E9FD52591}"/>
              </a:ext>
            </a:extLst>
          </p:cNvPr>
          <p:cNvSpPr/>
          <p:nvPr/>
        </p:nvSpPr>
        <p:spPr>
          <a:xfrm>
            <a:off x="1197698" y="2365888"/>
            <a:ext cx="5152629" cy="215444"/>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marR="0" lvl="0" indent="0" algn="l" defTabSz="755650" rtl="0" eaLnBrk="1" fontAlgn="auto" latinLnBrk="0" hangingPunct="1">
              <a:lnSpc>
                <a:spcPct val="100000"/>
              </a:lnSpc>
              <a:spcBef>
                <a:spcPct val="0"/>
              </a:spcBef>
              <a:spcAft>
                <a:spcPct val="35000"/>
              </a:spcAft>
              <a:buClrTx/>
              <a:buSzTx/>
              <a:buFontTx/>
              <a:buNone/>
              <a:tabLst/>
              <a:defRPr/>
            </a:pPr>
            <a:r>
              <a:rPr kumimoji="0" lang="en-US" sz="1400" b="0" i="0" u="none" strike="noStrike" kern="1200" cap="none" spc="0" normalizeH="0" baseline="0" noProof="0">
                <a:ln>
                  <a:noFill/>
                </a:ln>
                <a:solidFill>
                  <a:prstClr val="black"/>
                </a:solidFill>
                <a:effectLst/>
                <a:uLnTx/>
                <a:uFillTx/>
                <a:latin typeface="Avenir Next LT Pro"/>
                <a:ea typeface="+mn-ea"/>
                <a:cs typeface="+mn-cs"/>
              </a:rPr>
              <a:t>Added new URL for accessing the title on ProQuest platforms</a:t>
            </a:r>
          </a:p>
        </p:txBody>
      </p:sp>
      <p:sp>
        <p:nvSpPr>
          <p:cNvPr id="10" name="Rectangle 9">
            <a:extLst>
              <a:ext uri="{FF2B5EF4-FFF2-40B4-BE49-F238E27FC236}">
                <a16:creationId xmlns:a16="http://schemas.microsoft.com/office/drawing/2014/main" id="{5B54D018-B76B-F0D7-9344-12830AEB0373}"/>
              </a:ext>
            </a:extLst>
          </p:cNvPr>
          <p:cNvSpPr/>
          <p:nvPr/>
        </p:nvSpPr>
        <p:spPr>
          <a:xfrm>
            <a:off x="1197698" y="3085654"/>
            <a:ext cx="2866630" cy="215444"/>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marR="0" lvl="0" indent="0" algn="l" defTabSz="755650" rtl="0" eaLnBrk="1" fontAlgn="auto" latinLnBrk="0" hangingPunct="1">
              <a:lnSpc>
                <a:spcPct val="100000"/>
              </a:lnSpc>
              <a:spcBef>
                <a:spcPct val="0"/>
              </a:spcBef>
              <a:spcAft>
                <a:spcPct val="35000"/>
              </a:spcAft>
              <a:buClrTx/>
              <a:buSzTx/>
              <a:buFontTx/>
              <a:buNone/>
              <a:tabLst/>
              <a:defRPr/>
            </a:pPr>
            <a:r>
              <a:rPr kumimoji="0" lang="en-US" sz="1400" b="0" i="0" u="none" strike="noStrike" kern="1200" cap="none" spc="0" normalizeH="0" baseline="0" noProof="0">
                <a:ln>
                  <a:noFill/>
                </a:ln>
                <a:solidFill>
                  <a:prstClr val="black"/>
                </a:solidFill>
                <a:effectLst/>
                <a:uLnTx/>
                <a:uFillTx/>
                <a:latin typeface="Avenir Next LT Pro"/>
                <a:ea typeface="+mn-ea"/>
                <a:cs typeface="+mn-cs"/>
              </a:rPr>
              <a:t>Added ISBN</a:t>
            </a:r>
          </a:p>
        </p:txBody>
      </p:sp>
      <p:sp>
        <p:nvSpPr>
          <p:cNvPr id="11" name="Rectangle 10">
            <a:extLst>
              <a:ext uri="{FF2B5EF4-FFF2-40B4-BE49-F238E27FC236}">
                <a16:creationId xmlns:a16="http://schemas.microsoft.com/office/drawing/2014/main" id="{59D1B8AA-FD4F-06B1-11AA-76CAE2455C5C}"/>
              </a:ext>
            </a:extLst>
          </p:cNvPr>
          <p:cNvSpPr/>
          <p:nvPr/>
        </p:nvSpPr>
        <p:spPr>
          <a:xfrm>
            <a:off x="1197587" y="3683972"/>
            <a:ext cx="3805191" cy="215444"/>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marR="0" lvl="0" indent="0" algn="l" defTabSz="755650" rtl="0" eaLnBrk="1" fontAlgn="auto" latinLnBrk="0" hangingPunct="1">
              <a:lnSpc>
                <a:spcPct val="100000"/>
              </a:lnSpc>
              <a:spcBef>
                <a:spcPct val="0"/>
              </a:spcBef>
              <a:spcAft>
                <a:spcPct val="35000"/>
              </a:spcAft>
              <a:buClrTx/>
              <a:buSzTx/>
              <a:buFontTx/>
              <a:buNone/>
              <a:tabLst/>
              <a:defRPr/>
            </a:pPr>
            <a:r>
              <a:rPr kumimoji="0" lang="en-US" sz="1400" b="0" i="0" u="none" strike="noStrike" kern="1200" cap="none" spc="0" normalizeH="0" baseline="0" noProof="0">
                <a:ln>
                  <a:noFill/>
                </a:ln>
                <a:solidFill>
                  <a:prstClr val="black"/>
                </a:solidFill>
                <a:effectLst/>
                <a:uLnTx/>
                <a:uFillTx/>
                <a:latin typeface="Avenir Next LT Pro"/>
                <a:ea typeface="+mn-ea"/>
                <a:cs typeface="+mn-cs"/>
              </a:rPr>
              <a:t>Developing </a:t>
            </a:r>
            <a:r>
              <a:rPr kumimoji="0" lang="en-US" sz="1400" b="0" i="0" u="none" strike="noStrike" kern="1200" cap="none" spc="0" normalizeH="0" baseline="0" noProof="0" err="1">
                <a:ln>
                  <a:noFill/>
                </a:ln>
                <a:solidFill>
                  <a:prstClr val="black"/>
                </a:solidFill>
                <a:effectLst/>
                <a:uLnTx/>
                <a:uFillTx/>
                <a:latin typeface="Avenir Next LT Pro"/>
                <a:ea typeface="+mn-ea"/>
                <a:cs typeface="+mn-cs"/>
              </a:rPr>
              <a:t>Hyku</a:t>
            </a:r>
            <a:r>
              <a:rPr kumimoji="0" lang="en-US" sz="1400" b="0" i="0" u="none" strike="noStrike" kern="1200" cap="none" spc="0" normalizeH="0" baseline="0" noProof="0">
                <a:ln>
                  <a:noFill/>
                </a:ln>
                <a:solidFill>
                  <a:prstClr val="black"/>
                </a:solidFill>
                <a:effectLst/>
                <a:uLnTx/>
                <a:uFillTx/>
                <a:latin typeface="Avenir Next LT Pro"/>
                <a:ea typeface="+mn-ea"/>
                <a:cs typeface="+mn-cs"/>
              </a:rPr>
              <a:t> delivery format</a:t>
            </a:r>
          </a:p>
        </p:txBody>
      </p:sp>
      <p:cxnSp>
        <p:nvCxnSpPr>
          <p:cNvPr id="12" name="Straight Connector 11">
            <a:extLst>
              <a:ext uri="{FF2B5EF4-FFF2-40B4-BE49-F238E27FC236}">
                <a16:creationId xmlns:a16="http://schemas.microsoft.com/office/drawing/2014/main" id="{3EFEAC13-43E2-307C-B295-18341B681EA5}"/>
              </a:ext>
            </a:extLst>
          </p:cNvPr>
          <p:cNvCxnSpPr>
            <a:cxnSpLocks/>
          </p:cNvCxnSpPr>
          <p:nvPr/>
        </p:nvCxnSpPr>
        <p:spPr>
          <a:xfrm>
            <a:off x="1197698" y="2125341"/>
            <a:ext cx="2866630"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AEC2D5E-53AE-319C-31B8-AC68EA3EF467}"/>
              </a:ext>
            </a:extLst>
          </p:cNvPr>
          <p:cNvCxnSpPr>
            <a:cxnSpLocks/>
          </p:cNvCxnSpPr>
          <p:nvPr/>
        </p:nvCxnSpPr>
        <p:spPr>
          <a:xfrm>
            <a:off x="1197698" y="2840463"/>
            <a:ext cx="2866630"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EE6C5E3A-D66E-9F0A-A6A5-119BB6BACA08}"/>
              </a:ext>
            </a:extLst>
          </p:cNvPr>
          <p:cNvCxnSpPr>
            <a:cxnSpLocks/>
          </p:cNvCxnSpPr>
          <p:nvPr/>
        </p:nvCxnSpPr>
        <p:spPr>
          <a:xfrm>
            <a:off x="1197698" y="3555585"/>
            <a:ext cx="2866630"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9C2CD474-AB72-9C09-0C2B-7BF9B1F7C28E}"/>
              </a:ext>
            </a:extLst>
          </p:cNvPr>
          <p:cNvGrpSpPr/>
          <p:nvPr/>
        </p:nvGrpSpPr>
        <p:grpSpPr>
          <a:xfrm>
            <a:off x="778179" y="2268554"/>
            <a:ext cx="307894" cy="307890"/>
            <a:chOff x="1817037" y="3188718"/>
            <a:chExt cx="174094" cy="174092"/>
          </a:xfrm>
        </p:grpSpPr>
        <p:sp>
          <p:nvSpPr>
            <p:cNvPr id="16" name="Oval 15">
              <a:extLst>
                <a:ext uri="{FF2B5EF4-FFF2-40B4-BE49-F238E27FC236}">
                  <a16:creationId xmlns:a16="http://schemas.microsoft.com/office/drawing/2014/main" id="{1C02801A-2849-CB8C-94A2-7C591318D3C5}"/>
                </a:ext>
              </a:extLst>
            </p:cNvPr>
            <p:cNvSpPr/>
            <p:nvPr/>
          </p:nvSpPr>
          <p:spPr>
            <a:xfrm>
              <a:off x="1817037" y="3188718"/>
              <a:ext cx="174094" cy="174092"/>
            </a:xfrm>
            <a:prstGeom prst="ellipse">
              <a:avLst/>
            </a:prstGeom>
            <a:solidFill>
              <a:sysClr val="window" lastClr="FFFFFF"/>
            </a:solidFill>
            <a:ln>
              <a:solidFill>
                <a:srgbClr val="00B050"/>
              </a:solidFill>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B050"/>
                </a:solidFill>
                <a:effectLst/>
                <a:uLnTx/>
                <a:uFillTx/>
                <a:latin typeface="Segoe UI"/>
                <a:ea typeface="+mn-ea"/>
                <a:cs typeface="+mn-cs"/>
              </a:endParaRPr>
            </a:p>
          </p:txBody>
        </p:sp>
        <p:sp>
          <p:nvSpPr>
            <p:cNvPr id="17" name="Oval 16">
              <a:extLst>
                <a:ext uri="{FF2B5EF4-FFF2-40B4-BE49-F238E27FC236}">
                  <a16:creationId xmlns:a16="http://schemas.microsoft.com/office/drawing/2014/main" id="{A26EA394-9A95-C960-6A56-B9E2F686112A}"/>
                </a:ext>
              </a:extLst>
            </p:cNvPr>
            <p:cNvSpPr/>
            <p:nvPr/>
          </p:nvSpPr>
          <p:spPr>
            <a:xfrm>
              <a:off x="1832334" y="3204015"/>
              <a:ext cx="143499" cy="143497"/>
            </a:xfrm>
            <a:prstGeom prst="ellipse">
              <a:avLst/>
            </a:prstGeom>
            <a:solidFill>
              <a:sysClr val="window" lastClr="FFFFFF"/>
            </a:solidFill>
            <a:ln>
              <a:noFill/>
            </a:ln>
            <a:effectLst>
              <a:outerShdw blurRad="63500" algn="ctr" rotWithShape="0">
                <a:prstClr val="black">
                  <a:alpha val="20000"/>
                </a:prstClr>
              </a:outerShdw>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0" cap="none" spc="0" normalizeH="0" baseline="0" noProof="0">
                  <a:ln>
                    <a:noFill/>
                  </a:ln>
                  <a:solidFill>
                    <a:srgbClr val="00B050"/>
                  </a:solidFill>
                  <a:effectLst/>
                  <a:uLnTx/>
                  <a:uFillTx/>
                  <a:latin typeface="Avenir Next LT Pro Demi"/>
                  <a:ea typeface="+mn-ea"/>
                  <a:cs typeface="+mn-cs"/>
                </a:rPr>
                <a:t>2</a:t>
              </a:r>
              <a:endParaRPr kumimoji="0" lang="en-US" sz="1400" b="0" i="0" u="none" strike="noStrike" kern="0" cap="none" spc="0" normalizeH="0" baseline="0" noProof="0">
                <a:ln>
                  <a:noFill/>
                </a:ln>
                <a:solidFill>
                  <a:srgbClr val="00B050"/>
                </a:solidFill>
                <a:effectLst/>
                <a:uLnTx/>
                <a:uFillTx/>
                <a:latin typeface="Avenir Next LT Pro Demi"/>
                <a:ea typeface="+mn-ea"/>
                <a:cs typeface="+mn-cs"/>
              </a:endParaRPr>
            </a:p>
          </p:txBody>
        </p:sp>
      </p:grpSp>
      <p:grpSp>
        <p:nvGrpSpPr>
          <p:cNvPr id="18" name="Group 17">
            <a:extLst>
              <a:ext uri="{FF2B5EF4-FFF2-40B4-BE49-F238E27FC236}">
                <a16:creationId xmlns:a16="http://schemas.microsoft.com/office/drawing/2014/main" id="{1EE691FE-9CAB-7D8F-A76B-BD5E978C7D3B}"/>
              </a:ext>
            </a:extLst>
          </p:cNvPr>
          <p:cNvGrpSpPr/>
          <p:nvPr/>
        </p:nvGrpSpPr>
        <p:grpSpPr>
          <a:xfrm>
            <a:off x="778179" y="3039433"/>
            <a:ext cx="307894" cy="307890"/>
            <a:chOff x="1817037" y="3188718"/>
            <a:chExt cx="174094" cy="174092"/>
          </a:xfrm>
        </p:grpSpPr>
        <p:sp>
          <p:nvSpPr>
            <p:cNvPr id="19" name="Oval 18">
              <a:extLst>
                <a:ext uri="{FF2B5EF4-FFF2-40B4-BE49-F238E27FC236}">
                  <a16:creationId xmlns:a16="http://schemas.microsoft.com/office/drawing/2014/main" id="{0232341A-7F22-3878-96B8-D2E6EE3E2ED5}"/>
                </a:ext>
              </a:extLst>
            </p:cNvPr>
            <p:cNvSpPr/>
            <p:nvPr/>
          </p:nvSpPr>
          <p:spPr>
            <a:xfrm>
              <a:off x="1817037" y="3188718"/>
              <a:ext cx="174094" cy="174092"/>
            </a:xfrm>
            <a:prstGeom prst="ellipse">
              <a:avLst/>
            </a:prstGeom>
            <a:solidFill>
              <a:sysClr val="window" lastClr="FFFFFF"/>
            </a:solidFill>
            <a:ln>
              <a:solidFill>
                <a:srgbClr val="00B050"/>
              </a:solidFill>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mn-ea"/>
                <a:cs typeface="+mn-cs"/>
              </a:endParaRPr>
            </a:p>
          </p:txBody>
        </p:sp>
        <p:sp>
          <p:nvSpPr>
            <p:cNvPr id="21" name="Oval 20">
              <a:extLst>
                <a:ext uri="{FF2B5EF4-FFF2-40B4-BE49-F238E27FC236}">
                  <a16:creationId xmlns:a16="http://schemas.microsoft.com/office/drawing/2014/main" id="{8E42B143-CCCB-1CF1-D70C-532C698E6831}"/>
                </a:ext>
              </a:extLst>
            </p:cNvPr>
            <p:cNvSpPr/>
            <p:nvPr/>
          </p:nvSpPr>
          <p:spPr>
            <a:xfrm>
              <a:off x="1832334" y="3204015"/>
              <a:ext cx="143499" cy="143497"/>
            </a:xfrm>
            <a:prstGeom prst="ellipse">
              <a:avLst/>
            </a:prstGeom>
            <a:solidFill>
              <a:sysClr val="window" lastClr="FFFFFF"/>
            </a:solidFill>
            <a:ln>
              <a:solidFill>
                <a:schemeClr val="bg1"/>
              </a:solidFill>
            </a:ln>
            <a:effectLst>
              <a:outerShdw blurRad="63500" algn="ctr" rotWithShape="0">
                <a:prstClr val="black">
                  <a:alpha val="20000"/>
                </a:prstClr>
              </a:outerShdw>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0" cap="none" spc="0" normalizeH="0" baseline="0" noProof="0">
                  <a:ln>
                    <a:noFill/>
                  </a:ln>
                  <a:solidFill>
                    <a:srgbClr val="00B050"/>
                  </a:solidFill>
                  <a:effectLst/>
                  <a:uLnTx/>
                  <a:uFillTx/>
                  <a:latin typeface="Avenir Next LT Pro Demi"/>
                  <a:ea typeface="+mn-ea"/>
                  <a:cs typeface="+mn-cs"/>
                </a:rPr>
                <a:t>3</a:t>
              </a:r>
              <a:endParaRPr kumimoji="0" lang="en-US" sz="1400" b="0" i="0" u="none" strike="noStrike" kern="0" cap="none" spc="0" normalizeH="0" baseline="0" noProof="0">
                <a:ln>
                  <a:noFill/>
                </a:ln>
                <a:solidFill>
                  <a:srgbClr val="00B050"/>
                </a:solidFill>
                <a:effectLst/>
                <a:uLnTx/>
                <a:uFillTx/>
                <a:latin typeface="Avenir Next LT Pro Demi"/>
                <a:ea typeface="+mn-ea"/>
                <a:cs typeface="+mn-cs"/>
              </a:endParaRPr>
            </a:p>
          </p:txBody>
        </p:sp>
      </p:grpSp>
      <p:grpSp>
        <p:nvGrpSpPr>
          <p:cNvPr id="23" name="Group 22">
            <a:extLst>
              <a:ext uri="{FF2B5EF4-FFF2-40B4-BE49-F238E27FC236}">
                <a16:creationId xmlns:a16="http://schemas.microsoft.com/office/drawing/2014/main" id="{4847896C-0AFC-EA19-B7B5-C6CDB9A208F3}"/>
              </a:ext>
            </a:extLst>
          </p:cNvPr>
          <p:cNvGrpSpPr/>
          <p:nvPr/>
        </p:nvGrpSpPr>
        <p:grpSpPr>
          <a:xfrm>
            <a:off x="778179" y="3689506"/>
            <a:ext cx="307894" cy="307890"/>
            <a:chOff x="1817037" y="3188718"/>
            <a:chExt cx="174094" cy="174092"/>
          </a:xfrm>
        </p:grpSpPr>
        <p:sp>
          <p:nvSpPr>
            <p:cNvPr id="24" name="Oval 23">
              <a:extLst>
                <a:ext uri="{FF2B5EF4-FFF2-40B4-BE49-F238E27FC236}">
                  <a16:creationId xmlns:a16="http://schemas.microsoft.com/office/drawing/2014/main" id="{BAA2A467-FF46-929B-F3CB-5A1E4A22DDF0}"/>
                </a:ext>
              </a:extLst>
            </p:cNvPr>
            <p:cNvSpPr/>
            <p:nvPr/>
          </p:nvSpPr>
          <p:spPr>
            <a:xfrm>
              <a:off x="1817037" y="3188718"/>
              <a:ext cx="174094" cy="174092"/>
            </a:xfrm>
            <a:prstGeom prst="ellipse">
              <a:avLst/>
            </a:prstGeom>
            <a:solidFill>
              <a:sysClr val="window" lastClr="FFFFFF"/>
            </a:solidFill>
            <a:ln>
              <a:solidFill>
                <a:schemeClr val="accent4"/>
              </a:solidFill>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mn-ea"/>
                <a:cs typeface="Segoe UI"/>
              </a:endParaRPr>
            </a:p>
          </p:txBody>
        </p:sp>
        <p:sp>
          <p:nvSpPr>
            <p:cNvPr id="25" name="Oval 24">
              <a:extLst>
                <a:ext uri="{FF2B5EF4-FFF2-40B4-BE49-F238E27FC236}">
                  <a16:creationId xmlns:a16="http://schemas.microsoft.com/office/drawing/2014/main" id="{5CED7F79-1DC0-FB0C-6119-AF0B4AA989E7}"/>
                </a:ext>
              </a:extLst>
            </p:cNvPr>
            <p:cNvSpPr/>
            <p:nvPr/>
          </p:nvSpPr>
          <p:spPr>
            <a:xfrm>
              <a:off x="1832334" y="3204015"/>
              <a:ext cx="143499" cy="143497"/>
            </a:xfrm>
            <a:prstGeom prst="ellipse">
              <a:avLst/>
            </a:prstGeom>
            <a:solidFill>
              <a:sysClr val="window" lastClr="FFFFFF"/>
            </a:solidFill>
            <a:ln>
              <a:noFill/>
            </a:ln>
            <a:effectLst>
              <a:outerShdw blurRad="63500" algn="ctr" rotWithShape="0">
                <a:prstClr val="black">
                  <a:alpha val="20000"/>
                </a:prstClr>
              </a:outerShdw>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0" cap="none" spc="0" normalizeH="0" baseline="0" noProof="0">
                  <a:ln>
                    <a:noFill/>
                  </a:ln>
                  <a:solidFill>
                    <a:srgbClr val="EA5564"/>
                  </a:solidFill>
                  <a:effectLst/>
                  <a:uLnTx/>
                  <a:uFillTx/>
                  <a:latin typeface="Avenir Next LT Pro Demi"/>
                  <a:ea typeface="+mn-ea"/>
                  <a:cs typeface="+mn-cs"/>
                </a:rPr>
                <a:t>4</a:t>
              </a:r>
              <a:endParaRPr kumimoji="0" lang="en-US" sz="1400" b="0" i="0" u="none" strike="noStrike" kern="0" cap="none" spc="0" normalizeH="0" baseline="0" noProof="0">
                <a:ln>
                  <a:noFill/>
                </a:ln>
                <a:solidFill>
                  <a:srgbClr val="EA5564"/>
                </a:solidFill>
                <a:effectLst/>
                <a:uLnTx/>
                <a:uFillTx/>
                <a:latin typeface="Avenir Next LT Pro Demi"/>
                <a:ea typeface="+mn-ea"/>
                <a:cs typeface="+mn-cs"/>
              </a:endParaRPr>
            </a:p>
          </p:txBody>
        </p:sp>
      </p:grpSp>
      <p:grpSp>
        <p:nvGrpSpPr>
          <p:cNvPr id="26" name="Group 25">
            <a:extLst>
              <a:ext uri="{FF2B5EF4-FFF2-40B4-BE49-F238E27FC236}">
                <a16:creationId xmlns:a16="http://schemas.microsoft.com/office/drawing/2014/main" id="{B6B0A236-A893-FC1F-5A3C-E32B13F9BBBE}"/>
              </a:ext>
            </a:extLst>
          </p:cNvPr>
          <p:cNvGrpSpPr/>
          <p:nvPr/>
        </p:nvGrpSpPr>
        <p:grpSpPr>
          <a:xfrm>
            <a:off x="778179" y="1609231"/>
            <a:ext cx="307894" cy="307890"/>
            <a:chOff x="1817037" y="3188718"/>
            <a:chExt cx="174094" cy="174092"/>
          </a:xfrm>
        </p:grpSpPr>
        <p:sp>
          <p:nvSpPr>
            <p:cNvPr id="27" name="Oval 26">
              <a:extLst>
                <a:ext uri="{FF2B5EF4-FFF2-40B4-BE49-F238E27FC236}">
                  <a16:creationId xmlns:a16="http://schemas.microsoft.com/office/drawing/2014/main" id="{CD0699CD-6E7A-94D3-A1D0-40BD58326555}"/>
                </a:ext>
              </a:extLst>
            </p:cNvPr>
            <p:cNvSpPr/>
            <p:nvPr/>
          </p:nvSpPr>
          <p:spPr>
            <a:xfrm>
              <a:off x="1817037" y="3188718"/>
              <a:ext cx="174094" cy="174092"/>
            </a:xfrm>
            <a:prstGeom prst="ellipse">
              <a:avLst/>
            </a:prstGeom>
            <a:solidFill>
              <a:sysClr val="window" lastClr="FFFFFF"/>
            </a:solidFill>
            <a:ln>
              <a:solidFill>
                <a:srgbClr val="00B050"/>
              </a:solidFill>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mn-ea"/>
                <a:cs typeface="+mn-cs"/>
              </a:endParaRPr>
            </a:p>
          </p:txBody>
        </p:sp>
        <p:sp>
          <p:nvSpPr>
            <p:cNvPr id="28" name="Oval 27">
              <a:extLst>
                <a:ext uri="{FF2B5EF4-FFF2-40B4-BE49-F238E27FC236}">
                  <a16:creationId xmlns:a16="http://schemas.microsoft.com/office/drawing/2014/main" id="{4868D594-5ED0-3E6D-02F0-39424984376C}"/>
                </a:ext>
              </a:extLst>
            </p:cNvPr>
            <p:cNvSpPr/>
            <p:nvPr/>
          </p:nvSpPr>
          <p:spPr>
            <a:xfrm>
              <a:off x="1832334" y="3204015"/>
              <a:ext cx="143499" cy="143497"/>
            </a:xfrm>
            <a:prstGeom prst="ellipse">
              <a:avLst/>
            </a:prstGeom>
            <a:solidFill>
              <a:sysClr val="window" lastClr="FFFFFF"/>
            </a:solidFill>
            <a:ln>
              <a:solidFill>
                <a:schemeClr val="bg1"/>
              </a:solidFill>
            </a:ln>
            <a:effectLst>
              <a:outerShdw blurRad="63500" algn="ctr" rotWithShape="0">
                <a:prstClr val="black">
                  <a:alpha val="20000"/>
                </a:prstClr>
              </a:outerShdw>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0" cap="none" spc="0" normalizeH="0" baseline="0" noProof="0">
                  <a:ln>
                    <a:noFill/>
                  </a:ln>
                  <a:solidFill>
                    <a:srgbClr val="00B050"/>
                  </a:solidFill>
                  <a:effectLst/>
                  <a:uLnTx/>
                  <a:uFillTx/>
                  <a:latin typeface="Avenir Next LT Pro Demi"/>
                  <a:ea typeface="+mn-ea"/>
                  <a:cs typeface="+mn-cs"/>
                </a:rPr>
                <a:t>1</a:t>
              </a:r>
              <a:endParaRPr kumimoji="0" lang="en-US" sz="1400" b="0" i="0" u="none" strike="noStrike" kern="0" cap="none" spc="0" normalizeH="0" baseline="0" noProof="0">
                <a:ln>
                  <a:noFill/>
                </a:ln>
                <a:solidFill>
                  <a:srgbClr val="00B050"/>
                </a:solidFill>
                <a:effectLst/>
                <a:uLnTx/>
                <a:uFillTx/>
                <a:latin typeface="Avenir Next LT Pro Demi"/>
                <a:ea typeface="+mn-ea"/>
                <a:cs typeface="+mn-cs"/>
              </a:endParaRPr>
            </a:p>
          </p:txBody>
        </p:sp>
      </p:grpSp>
      <p:sp>
        <p:nvSpPr>
          <p:cNvPr id="40" name="Rectangle 39">
            <a:extLst>
              <a:ext uri="{FF2B5EF4-FFF2-40B4-BE49-F238E27FC236}">
                <a16:creationId xmlns:a16="http://schemas.microsoft.com/office/drawing/2014/main" id="{D0B26672-F537-1176-6426-E5F245F13EF9}"/>
              </a:ext>
            </a:extLst>
          </p:cNvPr>
          <p:cNvSpPr/>
          <p:nvPr/>
        </p:nvSpPr>
        <p:spPr>
          <a:xfrm>
            <a:off x="1197698" y="1569277"/>
            <a:ext cx="2983375" cy="215444"/>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spAutoFit/>
          </a:bodyPr>
          <a:lstStyle/>
          <a:p>
            <a:pPr marL="0" marR="0" lvl="0" indent="0" algn="l" defTabSz="622300" rtl="0" eaLnBrk="1" fontAlgn="auto" latinLnBrk="0" hangingPunct="1">
              <a:lnSpc>
                <a:spcPct val="100000"/>
              </a:lnSpc>
              <a:spcBef>
                <a:spcPct val="0"/>
              </a:spcBef>
              <a:spcAft>
                <a:spcPct val="35000"/>
              </a:spcAft>
              <a:buClrTx/>
              <a:buSzTx/>
              <a:buFontTx/>
              <a:buNone/>
              <a:tabLst/>
              <a:defRPr/>
            </a:pPr>
            <a:r>
              <a:rPr kumimoji="0" lang="en-US" sz="1400" b="0" i="0" u="none" strike="noStrike" kern="1200" cap="none" spc="0" normalizeH="0" baseline="0" noProof="0">
                <a:ln>
                  <a:noFill/>
                </a:ln>
                <a:solidFill>
                  <a:prstClr val="black"/>
                </a:solidFill>
                <a:effectLst/>
                <a:uLnTx/>
                <a:uFillTx/>
                <a:latin typeface="Avenir Next LT Pro"/>
                <a:ea typeface="+mn-ea"/>
                <a:cs typeface="+mn-cs"/>
              </a:rPr>
              <a:t>Added Publication Date</a:t>
            </a:r>
          </a:p>
        </p:txBody>
      </p:sp>
      <p:pic>
        <p:nvPicPr>
          <p:cNvPr id="3" name="Picture 2" descr="A screen shot of the ETD Administrator Homepage">
            <a:extLst>
              <a:ext uri="{FF2B5EF4-FFF2-40B4-BE49-F238E27FC236}">
                <a16:creationId xmlns:a16="http://schemas.microsoft.com/office/drawing/2014/main" id="{2541D86C-DA87-F62F-688E-C5620F1F7503}"/>
              </a:ext>
            </a:extLst>
          </p:cNvPr>
          <p:cNvPicPr>
            <a:picLocks noChangeAspect="1"/>
          </p:cNvPicPr>
          <p:nvPr/>
        </p:nvPicPr>
        <p:blipFill>
          <a:blip r:embed="rId5"/>
          <a:stretch>
            <a:fillRect/>
          </a:stretch>
        </p:blipFill>
        <p:spPr>
          <a:xfrm>
            <a:off x="6569926" y="1613094"/>
            <a:ext cx="5148147" cy="3167179"/>
          </a:xfrm>
          <a:prstGeom prst="rect">
            <a:avLst/>
          </a:prstGeom>
        </p:spPr>
      </p:pic>
      <p:sp>
        <p:nvSpPr>
          <p:cNvPr id="22" name="TextBox 21">
            <a:extLst>
              <a:ext uri="{FF2B5EF4-FFF2-40B4-BE49-F238E27FC236}">
                <a16:creationId xmlns:a16="http://schemas.microsoft.com/office/drawing/2014/main" id="{7FD913FB-99BB-0903-21C4-2DD8BAF2A065}"/>
              </a:ext>
            </a:extLst>
          </p:cNvPr>
          <p:cNvSpPr txBox="1"/>
          <p:nvPr/>
        </p:nvSpPr>
        <p:spPr>
          <a:xfrm>
            <a:off x="310376" y="115229"/>
            <a:ext cx="9731297" cy="523220"/>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srgbClr val="B175E1"/>
                </a:solidFill>
                <a:effectLst/>
                <a:uLnTx/>
                <a:uFillTx/>
                <a:latin typeface="Avenir Next LT Pro Demi"/>
                <a:ea typeface="+mn-ea"/>
                <a:cs typeface="+mn-cs"/>
              </a:rPr>
              <a:t>Graduate Solutions Product Releases and Highlights</a:t>
            </a:r>
            <a:r>
              <a:rPr kumimoji="0" lang="en-US" sz="2800" b="0" i="0" u="none" strike="noStrike" kern="1200" cap="none" spc="0" normalizeH="0" baseline="0" noProof="0" dirty="0">
                <a:ln>
                  <a:noFill/>
                </a:ln>
                <a:solidFill>
                  <a:prstClr val="black"/>
                </a:solidFill>
                <a:effectLst/>
                <a:uLnTx/>
                <a:uFillTx/>
                <a:latin typeface="Avenir Next LT Pro Demi"/>
                <a:ea typeface="+mn-ea"/>
                <a:cs typeface="+mn-cs"/>
              </a:rPr>
              <a:t>​</a:t>
            </a:r>
            <a:endParaRPr kumimoji="0" lang="en-US" sz="2000" b="0" i="0" u="none" strike="noStrike" kern="1200" cap="none" spc="0" normalizeH="0" baseline="0" noProof="0" dirty="0">
              <a:ln>
                <a:noFill/>
              </a:ln>
              <a:solidFill>
                <a:prstClr val="black"/>
              </a:solidFill>
              <a:effectLst/>
              <a:uLnTx/>
              <a:uFillTx/>
              <a:latin typeface="Avenir Next LT Pro"/>
              <a:ea typeface="+mn-ea"/>
              <a:cs typeface="+mn-cs"/>
            </a:endParaRPr>
          </a:p>
        </p:txBody>
      </p:sp>
      <p:sp>
        <p:nvSpPr>
          <p:cNvPr id="6" name="Oval 5">
            <a:extLst>
              <a:ext uri="{FF2B5EF4-FFF2-40B4-BE49-F238E27FC236}">
                <a16:creationId xmlns:a16="http://schemas.microsoft.com/office/drawing/2014/main" id="{DD73269C-6FFD-D773-8023-D67D6683D396}"/>
              </a:ext>
            </a:extLst>
          </p:cNvPr>
          <p:cNvSpPr/>
          <p:nvPr/>
        </p:nvSpPr>
        <p:spPr>
          <a:xfrm>
            <a:off x="805232" y="4265245"/>
            <a:ext cx="280841" cy="292092"/>
          </a:xfrm>
          <a:prstGeom prst="ellipse">
            <a:avLst/>
          </a:prstGeom>
          <a:solidFill>
            <a:sysClr val="window" lastClr="FFFFFF"/>
          </a:solidFill>
          <a:ln>
            <a:solidFill>
              <a:srgbClr val="C00000"/>
            </a:solidFill>
          </a:ln>
          <a:effectLst>
            <a:outerShdw blurRad="63500" algn="ctr" rotWithShape="0">
              <a:prstClr val="black">
                <a:alpha val="20000"/>
              </a:prstClr>
            </a:outerShdw>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0" cap="none" spc="0" normalizeH="0" baseline="0" noProof="0">
                <a:ln>
                  <a:noFill/>
                </a:ln>
                <a:solidFill>
                  <a:srgbClr val="EA5564"/>
                </a:solidFill>
                <a:effectLst/>
                <a:uLnTx/>
                <a:uFillTx/>
                <a:latin typeface="Avenir Next LT Pro Demi"/>
                <a:ea typeface="+mn-ea"/>
                <a:cs typeface="+mn-cs"/>
              </a:rPr>
              <a:t>5</a:t>
            </a:r>
            <a:endParaRPr kumimoji="0" lang="en-US" sz="1400" b="0" i="0" u="none" strike="noStrike" kern="0" cap="none" spc="0" normalizeH="0" baseline="0" noProof="0">
              <a:ln>
                <a:noFill/>
              </a:ln>
              <a:solidFill>
                <a:srgbClr val="EA5564"/>
              </a:solidFill>
              <a:effectLst/>
              <a:uLnTx/>
              <a:uFillTx/>
              <a:latin typeface="Avenir Next LT Pro Demi"/>
              <a:ea typeface="+mn-ea"/>
              <a:cs typeface="+mn-cs"/>
            </a:endParaRPr>
          </a:p>
        </p:txBody>
      </p:sp>
      <p:sp>
        <p:nvSpPr>
          <p:cNvPr id="29" name="Oval 28">
            <a:extLst>
              <a:ext uri="{FF2B5EF4-FFF2-40B4-BE49-F238E27FC236}">
                <a16:creationId xmlns:a16="http://schemas.microsoft.com/office/drawing/2014/main" id="{EB9D793A-79B4-5554-62E0-00EFC7FB564E}"/>
              </a:ext>
            </a:extLst>
          </p:cNvPr>
          <p:cNvSpPr/>
          <p:nvPr/>
        </p:nvSpPr>
        <p:spPr>
          <a:xfrm>
            <a:off x="778177" y="4847290"/>
            <a:ext cx="280841" cy="292092"/>
          </a:xfrm>
          <a:prstGeom prst="ellipse">
            <a:avLst/>
          </a:prstGeom>
          <a:solidFill>
            <a:sysClr val="window" lastClr="FFFFFF"/>
          </a:solidFill>
          <a:ln>
            <a:solidFill>
              <a:srgbClr val="C00000"/>
            </a:solidFill>
          </a:ln>
          <a:effectLst>
            <a:outerShdw blurRad="63500" algn="ctr" rotWithShape="0">
              <a:prstClr val="black">
                <a:alpha val="20000"/>
              </a:prstClr>
            </a:outerShdw>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0" cap="none" spc="0" normalizeH="0" baseline="0" noProof="0">
                <a:ln>
                  <a:noFill/>
                </a:ln>
                <a:solidFill>
                  <a:srgbClr val="EA5564"/>
                </a:solidFill>
                <a:effectLst/>
                <a:uLnTx/>
                <a:uFillTx/>
                <a:latin typeface="Avenir Next LT Pro Demi"/>
                <a:ea typeface="+mn-ea"/>
                <a:cs typeface="+mn-cs"/>
              </a:rPr>
              <a:t>6</a:t>
            </a:r>
            <a:endParaRPr kumimoji="0" lang="en-US" sz="1400" b="0" i="0" u="none" strike="noStrike" kern="0" cap="none" spc="0" normalizeH="0" baseline="0" noProof="0">
              <a:ln>
                <a:noFill/>
              </a:ln>
              <a:solidFill>
                <a:srgbClr val="EA5564"/>
              </a:solidFill>
              <a:effectLst/>
              <a:uLnTx/>
              <a:uFillTx/>
              <a:latin typeface="Avenir Next LT Pro Demi"/>
              <a:ea typeface="+mn-ea"/>
              <a:cs typeface="+mn-cs"/>
            </a:endParaRPr>
          </a:p>
        </p:txBody>
      </p:sp>
      <p:cxnSp>
        <p:nvCxnSpPr>
          <p:cNvPr id="30" name="Straight Connector 29">
            <a:extLst>
              <a:ext uri="{FF2B5EF4-FFF2-40B4-BE49-F238E27FC236}">
                <a16:creationId xmlns:a16="http://schemas.microsoft.com/office/drawing/2014/main" id="{16A261A5-D639-DF98-A4C1-9860FCB7E023}"/>
              </a:ext>
            </a:extLst>
          </p:cNvPr>
          <p:cNvCxnSpPr>
            <a:cxnSpLocks/>
          </p:cNvCxnSpPr>
          <p:nvPr/>
        </p:nvCxnSpPr>
        <p:spPr>
          <a:xfrm>
            <a:off x="1197587" y="4174329"/>
            <a:ext cx="2866630"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DBA2ECE7-DB6B-53A9-BACF-FE06E8458A5F}"/>
              </a:ext>
            </a:extLst>
          </p:cNvPr>
          <p:cNvCxnSpPr>
            <a:cxnSpLocks/>
          </p:cNvCxnSpPr>
          <p:nvPr/>
        </p:nvCxnSpPr>
        <p:spPr>
          <a:xfrm>
            <a:off x="1197587" y="4745314"/>
            <a:ext cx="2866630"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CAA1828F-704D-C07F-6A61-00D9B94BFCB6}"/>
              </a:ext>
            </a:extLst>
          </p:cNvPr>
          <p:cNvSpPr/>
          <p:nvPr/>
        </p:nvSpPr>
        <p:spPr>
          <a:xfrm>
            <a:off x="1216775" y="4341285"/>
            <a:ext cx="3805191" cy="215444"/>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marR="0" lvl="0" indent="0" algn="l" defTabSz="755650" rtl="0" eaLnBrk="1" fontAlgn="auto" latinLnBrk="0" hangingPunct="1">
              <a:lnSpc>
                <a:spcPct val="100000"/>
              </a:lnSpc>
              <a:spcBef>
                <a:spcPct val="0"/>
              </a:spcBef>
              <a:spcAft>
                <a:spcPct val="35000"/>
              </a:spcAft>
              <a:buClrTx/>
              <a:buSzTx/>
              <a:buFontTx/>
              <a:buNone/>
              <a:tabLst/>
              <a:defRPr/>
            </a:pPr>
            <a:r>
              <a:rPr kumimoji="0" lang="en-US" sz="1400" b="0" i="0" u="none" strike="noStrike" kern="1200" cap="none" spc="0" normalizeH="0" baseline="0" noProof="0">
                <a:ln>
                  <a:noFill/>
                </a:ln>
                <a:solidFill>
                  <a:prstClr val="black"/>
                </a:solidFill>
                <a:effectLst/>
                <a:uLnTx/>
                <a:uFillTx/>
                <a:latin typeface="Avenir Next LT Pro"/>
                <a:ea typeface="+mn-ea"/>
                <a:cs typeface="+mn-cs"/>
              </a:rPr>
              <a:t>Set Delivery Cadence</a:t>
            </a:r>
          </a:p>
        </p:txBody>
      </p:sp>
      <p:sp>
        <p:nvSpPr>
          <p:cNvPr id="33" name="Rectangle 32">
            <a:extLst>
              <a:ext uri="{FF2B5EF4-FFF2-40B4-BE49-F238E27FC236}">
                <a16:creationId xmlns:a16="http://schemas.microsoft.com/office/drawing/2014/main" id="{F6C4AC2D-DF0D-8EDA-8373-8820AA09B8B6}"/>
              </a:ext>
            </a:extLst>
          </p:cNvPr>
          <p:cNvSpPr/>
          <p:nvPr/>
        </p:nvSpPr>
        <p:spPr>
          <a:xfrm>
            <a:off x="1196271" y="4906094"/>
            <a:ext cx="3805191" cy="215444"/>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marR="0" lvl="0" indent="0" algn="l" defTabSz="755650" rtl="0" eaLnBrk="1" fontAlgn="auto" latinLnBrk="0" hangingPunct="1">
              <a:lnSpc>
                <a:spcPct val="100000"/>
              </a:lnSpc>
              <a:spcBef>
                <a:spcPct val="0"/>
              </a:spcBef>
              <a:spcAft>
                <a:spcPct val="35000"/>
              </a:spcAft>
              <a:buClrTx/>
              <a:buSzTx/>
              <a:buFontTx/>
              <a:buNone/>
              <a:tabLst/>
              <a:defRPr/>
            </a:pPr>
            <a:r>
              <a:rPr kumimoji="0" lang="en-US" sz="1400" b="0" i="0" u="none" strike="noStrike" kern="1200" cap="none" spc="0" normalizeH="0" baseline="0" noProof="0">
                <a:ln>
                  <a:noFill/>
                </a:ln>
                <a:solidFill>
                  <a:prstClr val="black"/>
                </a:solidFill>
                <a:effectLst/>
                <a:uLnTx/>
                <a:uFillTx/>
                <a:latin typeface="Avenir Next LT Pro"/>
                <a:ea typeface="+mn-ea"/>
                <a:cs typeface="+mn-cs"/>
              </a:rPr>
              <a:t>Provide MARC records as part of delivery zip</a:t>
            </a:r>
          </a:p>
        </p:txBody>
      </p:sp>
    </p:spTree>
    <p:extLst>
      <p:ext uri="{BB962C8B-B14F-4D97-AF65-F5344CB8AC3E}">
        <p14:creationId xmlns:p14="http://schemas.microsoft.com/office/powerpoint/2010/main" val="27245182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2EAB70-7497-3191-433F-FB89BB36C303}"/>
            </a:ext>
          </a:extLst>
        </p:cNvPr>
        <p:cNvGrpSpPr/>
        <p:nvPr/>
      </p:nvGrpSpPr>
      <p:grpSpPr>
        <a:xfrm>
          <a:off x="0" y="0"/>
          <a:ext cx="0" cy="0"/>
          <a:chOff x="0" y="0"/>
          <a:chExt cx="0" cy="0"/>
        </a:xfrm>
      </p:grpSpPr>
      <p:sp>
        <p:nvSpPr>
          <p:cNvPr id="12" name="Rectangle 11">
            <a:extLst>
              <a:ext uri="{FF2B5EF4-FFF2-40B4-BE49-F238E27FC236}">
                <a16:creationId xmlns:a16="http://schemas.microsoft.com/office/drawing/2014/main" id="{ADD717A0-D66F-8C9A-0740-2C2F13583A80}"/>
              </a:ext>
            </a:extLst>
          </p:cNvPr>
          <p:cNvSpPr/>
          <p:nvPr/>
        </p:nvSpPr>
        <p:spPr>
          <a:xfrm rot="10800000">
            <a:off x="-3" y="5107243"/>
            <a:ext cx="12192001" cy="1750757"/>
          </a:xfrm>
          <a:prstGeom prst="rect">
            <a:avLst/>
          </a:pr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venir Next LT Pro"/>
              <a:ea typeface="+mn-ea"/>
              <a:cs typeface="+mn-cs"/>
            </a:endParaRPr>
          </a:p>
        </p:txBody>
      </p:sp>
      <p:sp>
        <p:nvSpPr>
          <p:cNvPr id="4" name="Footer Placeholder 3">
            <a:extLst>
              <a:ext uri="{FF2B5EF4-FFF2-40B4-BE49-F238E27FC236}">
                <a16:creationId xmlns:a16="http://schemas.microsoft.com/office/drawing/2014/main" id="{810971CE-6D05-BA0C-FEF8-D9BE77626A83}"/>
              </a:ext>
            </a:extLst>
          </p:cNvPr>
          <p:cNvSpPr>
            <a:spLocks noGrp="1"/>
          </p:cNvSpPr>
          <p:nvPr>
            <p:ph type="ftr" sz="quarter" idx="10"/>
          </p:nvPr>
        </p:nvSpPr>
        <p:spPr/>
        <p:txBody>
          <a:bodyPr vert="horz" lIns="0" tIns="0" rIns="0" bIns="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900" b="0" i="0" u="none" strike="noStrike" kern="1200" cap="none" spc="0" normalizeH="0" baseline="0" noProof="0">
                <a:ln>
                  <a:noFill/>
                </a:ln>
                <a:solidFill>
                  <a:prstClr val="black"/>
                </a:solidFill>
                <a:effectLst/>
                <a:uLnTx/>
                <a:uFillTx/>
                <a:latin typeface="Avenir Next LT Pro"/>
                <a:ea typeface="+mn-ea"/>
                <a:cs typeface="+mn-cs"/>
              </a:rPr>
              <a:t>© 2025 Clarivate. All rights reserved.</a:t>
            </a:r>
          </a:p>
        </p:txBody>
      </p:sp>
      <p:sp>
        <p:nvSpPr>
          <p:cNvPr id="5" name="Slide Number Placeholder 4">
            <a:extLst>
              <a:ext uri="{FF2B5EF4-FFF2-40B4-BE49-F238E27FC236}">
                <a16:creationId xmlns:a16="http://schemas.microsoft.com/office/drawing/2014/main" id="{BD9556C4-B325-85A1-EDA5-ACC071A31CC4}"/>
              </a:ext>
            </a:extLst>
          </p:cNvPr>
          <p:cNvSpPr>
            <a:spLocks noGrp="1"/>
          </p:cNvSpPr>
          <p:nvPr>
            <p:ph type="sldNum" sz="quarter" idx="11"/>
          </p:nvPr>
        </p:nvSpPr>
        <p:spPr/>
        <p:txBody>
          <a:bodyPr vert="horz" lIns="0" tIns="0" rIns="0" bIns="0" rtlCol="0" anchor="ctr">
            <a:norm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F59CD943-D024-467A-B36E-F11E1285ED75}" type="slidenum">
              <a:rPr kumimoji="0" lang="en-GB" sz="900" b="0" i="0" u="none" strike="noStrike" kern="1200" cap="none" spc="0" normalizeH="0" baseline="0" noProof="0" smtClean="0">
                <a:ln>
                  <a:noFill/>
                </a:ln>
                <a:solidFill>
                  <a:prstClr val="black"/>
                </a:solidFill>
                <a:effectLst/>
                <a:uLnTx/>
                <a:uFillTx/>
                <a:latin typeface="Avenir Next LT Pro"/>
                <a:ea typeface="+mn-ea"/>
                <a:cs typeface="+mn-cs"/>
              </a:rPr>
              <a:pPr marL="0" marR="0" lvl="0" indent="0" algn="l" defTabSz="914400" rtl="0" eaLnBrk="1" fontAlgn="auto" latinLnBrk="0" hangingPunct="1">
                <a:lnSpc>
                  <a:spcPct val="100000"/>
                </a:lnSpc>
                <a:spcBef>
                  <a:spcPts val="0"/>
                </a:spcBef>
                <a:spcAft>
                  <a:spcPts val="600"/>
                </a:spcAft>
                <a:buClrTx/>
                <a:buSzTx/>
                <a:buFontTx/>
                <a:buNone/>
                <a:tabLst/>
                <a:defRPr/>
              </a:pPr>
              <a:t>6</a:t>
            </a:fld>
            <a:endParaRPr kumimoji="0" lang="en-GB" sz="900" b="0" i="0" u="none" strike="noStrike" kern="1200" cap="none" spc="0" normalizeH="0" baseline="0" noProof="0">
              <a:ln>
                <a:noFill/>
              </a:ln>
              <a:solidFill>
                <a:prstClr val="black"/>
              </a:solidFill>
              <a:effectLst/>
              <a:uLnTx/>
              <a:uFillTx/>
              <a:latin typeface="Avenir Next LT Pro"/>
              <a:ea typeface="+mn-ea"/>
              <a:cs typeface="+mn-cs"/>
            </a:endParaRPr>
          </a:p>
        </p:txBody>
      </p:sp>
      <p:sp>
        <p:nvSpPr>
          <p:cNvPr id="7" name="Text Placeholder 6">
            <a:extLst>
              <a:ext uri="{FF2B5EF4-FFF2-40B4-BE49-F238E27FC236}">
                <a16:creationId xmlns:a16="http://schemas.microsoft.com/office/drawing/2014/main" id="{FF86B12F-A35E-7ADC-0338-FDF770D801BA}"/>
              </a:ext>
            </a:extLst>
          </p:cNvPr>
          <p:cNvSpPr>
            <a:spLocks noGrp="1"/>
          </p:cNvSpPr>
          <p:nvPr>
            <p:ph type="body" sz="quarter" idx="14"/>
          </p:nvPr>
        </p:nvSpPr>
        <p:spPr>
          <a:xfrm>
            <a:off x="388508" y="1064807"/>
            <a:ext cx="8416910" cy="4321175"/>
          </a:xfrm>
        </p:spPr>
        <p:txBody>
          <a:bodyPr/>
          <a:lstStyle/>
          <a:p>
            <a:pPr marL="0" indent="0">
              <a:buNone/>
            </a:pPr>
            <a:r>
              <a:rPr lang="en-US" sz="2000" b="1" dirty="0"/>
              <a:t>Author Self Service</a:t>
            </a:r>
          </a:p>
        </p:txBody>
      </p:sp>
      <p:sp>
        <p:nvSpPr>
          <p:cNvPr id="8" name="TextBox 7">
            <a:extLst>
              <a:ext uri="{FF2B5EF4-FFF2-40B4-BE49-F238E27FC236}">
                <a16:creationId xmlns:a16="http://schemas.microsoft.com/office/drawing/2014/main" id="{685B35E9-5002-7972-7AB3-A227FD3C5264}"/>
              </a:ext>
            </a:extLst>
          </p:cNvPr>
          <p:cNvSpPr txBox="1"/>
          <p:nvPr/>
        </p:nvSpPr>
        <p:spPr>
          <a:xfrm>
            <a:off x="388508" y="1639585"/>
            <a:ext cx="3616563" cy="3467658"/>
          </a:xfrm>
          <a:prstGeom prst="rect">
            <a:avLst/>
          </a:prstGeom>
        </p:spPr>
        <p:txBody>
          <a:bodyPr vert="horz" lIns="0" tIns="0" rIns="0" bIns="0" rtlCol="0">
            <a:normAutofit/>
          </a:bodyPr>
          <a:lstStyle/>
          <a:p>
            <a:pPr marL="180000" marR="0" lvl="0" indent="-180000"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chemeClr val="tx1"/>
                </a:solidFill>
                <a:effectLst/>
                <a:uLnTx/>
                <a:uFillTx/>
                <a:latin typeface="Avenir Next LT Pro"/>
                <a:ea typeface="+mn-ea"/>
                <a:cs typeface="+mn-cs"/>
              </a:rPr>
              <a:t>Providing Authors with the ability to make updates to their details:</a:t>
            </a:r>
          </a:p>
          <a:p>
            <a:pPr marL="742950" lvl="1" indent="-285750" algn="l" defTabSz="914377" rtl="0">
              <a:spcBef>
                <a:spcPts val="900"/>
              </a:spcBef>
              <a:buFont typeface="Arial" panose="020B0604020202020204" pitchFamily="34" charset="0"/>
              <a:buChar char="•"/>
              <a:defRPr/>
            </a:pPr>
            <a:r>
              <a:rPr lang="en-US" sz="1500" kern="1200" dirty="0">
                <a:solidFill>
                  <a:schemeClr val="tx1"/>
                </a:solidFill>
                <a:latin typeface="Avenir Next LT Pro"/>
              </a:rPr>
              <a:t>Contact Email</a:t>
            </a:r>
          </a:p>
          <a:p>
            <a:pPr marL="742950" marR="0" lvl="1" indent="-285750" algn="l" defTabSz="914377" rtl="0" eaLnBrk="1" fontAlgn="auto" latinLnBrk="0" hangingPunct="1">
              <a:lnSpc>
                <a:spcPct val="100000"/>
              </a:lnSpc>
              <a:spcBef>
                <a:spcPts val="900"/>
              </a:spcBef>
              <a:spcAft>
                <a:spcPts val="0"/>
              </a:spcAft>
              <a:buClrTx/>
              <a:buSzTx/>
              <a:buFont typeface="Arial" panose="020B0604020202020204" pitchFamily="34" charset="0"/>
              <a:buChar char="•"/>
              <a:tabLst/>
              <a:defRPr/>
            </a:pPr>
            <a:r>
              <a:rPr lang="en-US" sz="1500" kern="1200" dirty="0">
                <a:solidFill>
                  <a:schemeClr val="tx1"/>
                </a:solidFill>
                <a:latin typeface="Avenir Next LT Pro"/>
                <a:ea typeface="+mn-ea"/>
                <a:cs typeface="+mn-cs"/>
              </a:rPr>
              <a:t>Shipping </a:t>
            </a:r>
            <a:r>
              <a:rPr kumimoji="0" lang="en-US" sz="1500" b="0" i="0" u="none" strike="noStrike" kern="1200" cap="none" spc="0" normalizeH="0" baseline="0" noProof="0" dirty="0">
                <a:ln>
                  <a:noFill/>
                </a:ln>
                <a:solidFill>
                  <a:schemeClr val="tx1"/>
                </a:solidFill>
                <a:effectLst/>
                <a:uLnTx/>
                <a:uFillTx/>
                <a:latin typeface="Avenir Next LT Pro"/>
                <a:ea typeface="+mn-ea"/>
                <a:cs typeface="+mn-cs"/>
              </a:rPr>
              <a:t>Address</a:t>
            </a:r>
          </a:p>
          <a:p>
            <a:pPr marL="742950" marR="0" lvl="1" indent="-285750" algn="l" defTabSz="914377" rtl="0" eaLnBrk="1" fontAlgn="auto" latinLnBrk="0" hangingPunct="1">
              <a:lnSpc>
                <a:spcPct val="100000"/>
              </a:lnSpc>
              <a:spcBef>
                <a:spcPts val="9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chemeClr val="tx1"/>
                </a:solidFill>
                <a:effectLst/>
                <a:uLnTx/>
                <a:uFillTx/>
                <a:latin typeface="Avenir Next LT Pro"/>
                <a:ea typeface="+mn-ea"/>
                <a:cs typeface="+mn-cs"/>
              </a:rPr>
              <a:t>Modify publication type</a:t>
            </a:r>
          </a:p>
          <a:p>
            <a:pPr marL="742950" marR="0" lvl="1" indent="-285750" algn="l" defTabSz="914377" rtl="0" eaLnBrk="1" fontAlgn="auto" latinLnBrk="0" hangingPunct="1">
              <a:lnSpc>
                <a:spcPct val="100000"/>
              </a:lnSpc>
              <a:spcBef>
                <a:spcPts val="9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chemeClr val="tx1"/>
                </a:solidFill>
                <a:effectLst/>
                <a:uLnTx/>
                <a:uFillTx/>
                <a:latin typeface="Avenir Next LT Pro"/>
                <a:ea typeface="+mn-ea"/>
                <a:cs typeface="+mn-cs"/>
              </a:rPr>
              <a:t>Request Copyright Registration</a:t>
            </a:r>
          </a:p>
          <a:p>
            <a:pPr marL="742950" marR="0" lvl="1" indent="-285750" algn="l" defTabSz="914377" rtl="0" eaLnBrk="1" fontAlgn="auto" latinLnBrk="0" hangingPunct="1">
              <a:lnSpc>
                <a:spcPct val="100000"/>
              </a:lnSpc>
              <a:spcBef>
                <a:spcPts val="900"/>
              </a:spcBef>
              <a:spcAft>
                <a:spcPts val="0"/>
              </a:spcAft>
              <a:buClrTx/>
              <a:buSzTx/>
              <a:buFont typeface="Arial" panose="020B0604020202020204" pitchFamily="34" charset="0"/>
              <a:buChar char="•"/>
              <a:tabLst/>
              <a:defRPr/>
            </a:pPr>
            <a:r>
              <a:rPr lang="en-US" sz="1500" kern="1200" dirty="0">
                <a:solidFill>
                  <a:schemeClr val="tx1"/>
                </a:solidFill>
                <a:latin typeface="Avenir Next LT Pro"/>
              </a:rPr>
              <a:t>Change personal order</a:t>
            </a:r>
          </a:p>
          <a:p>
            <a:pPr marL="637200" marR="0" lvl="1" indent="-180000" algn="l" defTabSz="914377" rtl="0" eaLnBrk="1" fontAlgn="auto" latinLnBrk="0" hangingPunct="1">
              <a:lnSpc>
                <a:spcPct val="100000"/>
              </a:lnSpc>
              <a:spcBef>
                <a:spcPts val="900"/>
              </a:spcBef>
              <a:spcAft>
                <a:spcPts val="0"/>
              </a:spcAft>
              <a:buClrTx/>
              <a:buSzTx/>
              <a:buFont typeface="Arial" panose="020B0604020202020204" pitchFamily="34" charset="0"/>
              <a:buChar char="•"/>
              <a:tabLst/>
              <a:defRPr/>
            </a:pPr>
            <a:endParaRPr kumimoji="0" lang="en-US" sz="1500" b="0" i="0" u="none" strike="noStrike" kern="1200" cap="none" spc="0" normalizeH="0" baseline="0" noProof="0" dirty="0">
              <a:ln>
                <a:noFill/>
              </a:ln>
              <a:solidFill>
                <a:prstClr val="white"/>
              </a:solidFill>
              <a:effectLst/>
              <a:uLnTx/>
              <a:uFillTx/>
              <a:latin typeface="Avenir Next LT Pro"/>
              <a:ea typeface="+mn-ea"/>
              <a:cs typeface="+mn-cs"/>
            </a:endParaRPr>
          </a:p>
          <a:p>
            <a:pPr marL="637200" marR="0" lvl="1" indent="-180000" algn="l" defTabSz="914377" rtl="0" eaLnBrk="1" fontAlgn="auto" latinLnBrk="0" hangingPunct="1">
              <a:lnSpc>
                <a:spcPct val="100000"/>
              </a:lnSpc>
              <a:spcBef>
                <a:spcPts val="900"/>
              </a:spcBef>
              <a:spcAft>
                <a:spcPts val="0"/>
              </a:spcAft>
              <a:buClrTx/>
              <a:buSzTx/>
              <a:buFont typeface="Arial" panose="020B0604020202020204" pitchFamily="34" charset="0"/>
              <a:buChar char="•"/>
              <a:tabLst/>
              <a:defRPr/>
            </a:pPr>
            <a:endParaRPr kumimoji="0" lang="en-US" sz="1500" b="0" i="0" u="none" strike="noStrike" kern="1200" cap="none" spc="0" normalizeH="0" baseline="0" noProof="0" dirty="0">
              <a:ln>
                <a:noFill/>
              </a:ln>
              <a:solidFill>
                <a:prstClr val="white"/>
              </a:solidFill>
              <a:effectLst/>
              <a:uLnTx/>
              <a:uFillTx/>
              <a:latin typeface="Avenir Next LT Pro"/>
              <a:ea typeface="+mn-ea"/>
              <a:cs typeface="+mn-cs"/>
            </a:endParaRPr>
          </a:p>
          <a:p>
            <a:pPr marL="637200" marR="0" lvl="1" indent="-180000" algn="l" defTabSz="914377" rtl="0" eaLnBrk="1" fontAlgn="auto" latinLnBrk="0" hangingPunct="1">
              <a:lnSpc>
                <a:spcPct val="100000"/>
              </a:lnSpc>
              <a:spcBef>
                <a:spcPts val="900"/>
              </a:spcBef>
              <a:spcAft>
                <a:spcPts val="0"/>
              </a:spcAft>
              <a:buClrTx/>
              <a:buSzTx/>
              <a:buFont typeface="Arial" panose="020B0604020202020204" pitchFamily="34" charset="0"/>
              <a:buChar char="•"/>
              <a:tabLst/>
              <a:defRPr/>
            </a:pPr>
            <a:endParaRPr kumimoji="0" lang="en-US" sz="1500" b="0" i="0" u="none" strike="noStrike" kern="1200" cap="none" spc="0" normalizeH="0" baseline="0" noProof="0" dirty="0">
              <a:ln>
                <a:noFill/>
              </a:ln>
              <a:solidFill>
                <a:prstClr val="white"/>
              </a:solidFill>
              <a:effectLst/>
              <a:uLnTx/>
              <a:uFillTx/>
              <a:latin typeface="Avenir Next LT Pro"/>
              <a:ea typeface="+mn-ea"/>
              <a:cs typeface="+mn-cs"/>
            </a:endParaRPr>
          </a:p>
          <a:p>
            <a:pPr marL="0" marR="0" lvl="0" indent="0" algn="l" defTabSz="914400" rtl="0" eaLnBrk="1" fontAlgn="auto" latinLnBrk="0" hangingPunct="1">
              <a:lnSpc>
                <a:spcPct val="100000"/>
              </a:lnSpc>
              <a:spcBef>
                <a:spcPts val="90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Avenir Next LT Pro"/>
              <a:ea typeface="+mn-ea"/>
              <a:cs typeface="+mn-cs"/>
            </a:endParaRPr>
          </a:p>
        </p:txBody>
      </p:sp>
      <p:sp>
        <p:nvSpPr>
          <p:cNvPr id="10" name="Title 9">
            <a:extLst>
              <a:ext uri="{FF2B5EF4-FFF2-40B4-BE49-F238E27FC236}">
                <a16:creationId xmlns:a16="http://schemas.microsoft.com/office/drawing/2014/main" id="{A6B13090-8EF8-A3C8-D118-401F033ADC64}"/>
              </a:ext>
            </a:extLst>
          </p:cNvPr>
          <p:cNvSpPr>
            <a:spLocks noGrp="1"/>
          </p:cNvSpPr>
          <p:nvPr>
            <p:ph type="title"/>
          </p:nvPr>
        </p:nvSpPr>
        <p:spPr/>
        <p:txBody>
          <a:bodyPr/>
          <a:lstStyle/>
          <a:p>
            <a:r>
              <a:rPr lang="en-US" sz="2800" dirty="0"/>
              <a:t>Coming Soon!</a:t>
            </a:r>
          </a:p>
        </p:txBody>
      </p:sp>
      <p:sp>
        <p:nvSpPr>
          <p:cNvPr id="11" name="Rectangle 10">
            <a:extLst>
              <a:ext uri="{FF2B5EF4-FFF2-40B4-BE49-F238E27FC236}">
                <a16:creationId xmlns:a16="http://schemas.microsoft.com/office/drawing/2014/main" id="{9A42C938-1331-000D-AC4B-79AED6B6CCA6}"/>
              </a:ext>
            </a:extLst>
          </p:cNvPr>
          <p:cNvSpPr/>
          <p:nvPr/>
        </p:nvSpPr>
        <p:spPr>
          <a:xfrm rot="10800000">
            <a:off x="-3" y="5107243"/>
            <a:ext cx="12192001" cy="1750757"/>
          </a:xfrm>
          <a:prstGeom prst="rect">
            <a:avLst/>
          </a:pr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venir Next LT Pro"/>
              <a:ea typeface="+mn-ea"/>
              <a:cs typeface="+mn-cs"/>
            </a:endParaRPr>
          </a:p>
        </p:txBody>
      </p:sp>
      <p:sp>
        <p:nvSpPr>
          <p:cNvPr id="13" name="Footer Placeholder 6">
            <a:extLst>
              <a:ext uri="{FF2B5EF4-FFF2-40B4-BE49-F238E27FC236}">
                <a16:creationId xmlns:a16="http://schemas.microsoft.com/office/drawing/2014/main" id="{17B9A08D-0768-9482-B443-63043E0DBDFB}"/>
              </a:ext>
            </a:extLst>
          </p:cNvPr>
          <p:cNvSpPr txBox="1">
            <a:spLocks/>
          </p:cNvSpPr>
          <p:nvPr/>
        </p:nvSpPr>
        <p:spPr>
          <a:xfrm>
            <a:off x="8040688" y="6348353"/>
            <a:ext cx="3292473" cy="215901"/>
          </a:xfrm>
          <a:prstGeom prst="rect">
            <a:avLst/>
          </a:prstGeom>
        </p:spPr>
        <p:txBody>
          <a:bodyPr vert="horz" lIns="0" tIns="0" rIns="0" bIns="0" rtlCol="0" anchor="ctr"/>
          <a:lstStyle>
            <a:defPPr>
              <a:defRPr kern="0"/>
            </a:defPPr>
            <a:lvl1pPr algn="r">
              <a:defRPr sz="900">
                <a:solidFill>
                  <a:schemeClr val="tx1"/>
                </a:solidFill>
              </a:defRPr>
            </a:lvl1pPr>
          </a:lstStyle>
          <a:p>
            <a:pPr rtl="0">
              <a:defRPr/>
            </a:pPr>
            <a:r>
              <a:rPr lang="en-GB" kern="1200">
                <a:solidFill>
                  <a:prstClr val="white"/>
                </a:solidFill>
                <a:latin typeface="Avenir Next LT Pro"/>
                <a:ea typeface="+mn-ea"/>
                <a:cs typeface="+mn-cs"/>
              </a:rPr>
              <a:t>© 2023 Clarivate</a:t>
            </a:r>
          </a:p>
        </p:txBody>
      </p:sp>
      <p:sp>
        <p:nvSpPr>
          <p:cNvPr id="14" name="Slide Number Placeholder 3">
            <a:extLst>
              <a:ext uri="{FF2B5EF4-FFF2-40B4-BE49-F238E27FC236}">
                <a16:creationId xmlns:a16="http://schemas.microsoft.com/office/drawing/2014/main" id="{D46550E5-3FDB-9CD9-359D-AF78BFAA10D3}"/>
              </a:ext>
            </a:extLst>
          </p:cNvPr>
          <p:cNvSpPr txBox="1">
            <a:spLocks/>
          </p:cNvSpPr>
          <p:nvPr/>
        </p:nvSpPr>
        <p:spPr>
          <a:xfrm>
            <a:off x="11506200" y="6348353"/>
            <a:ext cx="216000" cy="215900"/>
          </a:xfrm>
          <a:prstGeom prst="rect">
            <a:avLst/>
          </a:prstGeom>
        </p:spPr>
        <p:txBody>
          <a:bodyPr vert="horz" lIns="0" tIns="0" rIns="0" bIns="0" rtlCol="0" anchor="ctr"/>
          <a:lstStyle>
            <a:defPPr>
              <a:defRPr kern="0"/>
            </a:defPPr>
            <a:lvl1pPr algn="l">
              <a:defRPr sz="900">
                <a:solidFill>
                  <a:schemeClr val="tx1"/>
                </a:solidFill>
                <a:latin typeface="+mn-lt"/>
              </a:defRPr>
            </a:lvl1pPr>
          </a:lstStyle>
          <a:p>
            <a:pPr rtl="0">
              <a:defRPr/>
            </a:pPr>
            <a:fld id="{F59CD943-D024-467A-B36E-F11E1285ED75}" type="slidenum">
              <a:rPr lang="en-US" kern="1200" smtClean="0">
                <a:solidFill>
                  <a:prstClr val="white"/>
                </a:solidFill>
                <a:latin typeface="Avenir Next LT Pro"/>
                <a:ea typeface="+mn-ea"/>
                <a:cs typeface="+mn-cs"/>
              </a:rPr>
              <a:pPr rtl="0">
                <a:defRPr/>
              </a:pPr>
              <a:t>6</a:t>
            </a:fld>
            <a:endParaRPr lang="en-US" kern="1200">
              <a:solidFill>
                <a:prstClr val="white"/>
              </a:solidFill>
              <a:latin typeface="Avenir Next LT Pro"/>
              <a:ea typeface="+mn-ea"/>
              <a:cs typeface="+mn-cs"/>
            </a:endParaRPr>
          </a:p>
        </p:txBody>
      </p:sp>
      <p:pic>
        <p:nvPicPr>
          <p:cNvPr id="15" name="Picture Placeholder 13">
            <a:extLst>
              <a:ext uri="{FF2B5EF4-FFF2-40B4-BE49-F238E27FC236}">
                <a16:creationId xmlns:a16="http://schemas.microsoft.com/office/drawing/2014/main" id="{D76918A9-1D73-F26F-3EB9-4C68B2BDE336}"/>
              </a:ext>
            </a:extLst>
          </p:cNvPr>
          <p:cNvPicPr>
            <a:picLocks noChangeAspect="1"/>
          </p:cNvPicPr>
          <p:nvPr/>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l="6945" t="19498" r="6909" b="15243"/>
          <a:stretch/>
        </p:blipFill>
        <p:spPr>
          <a:xfrm>
            <a:off x="548482" y="6308725"/>
            <a:ext cx="1381418" cy="309766"/>
          </a:xfrm>
          <a:prstGeom prst="rect">
            <a:avLst/>
          </a:prstGeom>
        </p:spPr>
      </p:pic>
      <p:pic>
        <p:nvPicPr>
          <p:cNvPr id="1026" name="Picture 2" descr="An Image of the Author Self Service Portal, highlights the new submission details, and the authors order summary">
            <a:extLst>
              <a:ext uri="{FF2B5EF4-FFF2-40B4-BE49-F238E27FC236}">
                <a16:creationId xmlns:a16="http://schemas.microsoft.com/office/drawing/2014/main" id="{BC242293-2B3A-FE0B-F196-6CC6E0EB3F21}"/>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11177" r="488"/>
          <a:stretch/>
        </p:blipFill>
        <p:spPr bwMode="auto">
          <a:xfrm>
            <a:off x="4044695" y="822146"/>
            <a:ext cx="7495840" cy="5160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9659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6470617" y="1980028"/>
            <a:ext cx="2909570" cy="4421505"/>
          </a:xfrm>
          <a:custGeom>
            <a:avLst/>
            <a:gdLst/>
            <a:ahLst/>
            <a:cxnLst/>
            <a:rect l="l" t="t" r="r" b="b"/>
            <a:pathLst>
              <a:path w="2909570" h="4421505">
                <a:moveTo>
                  <a:pt x="2909316" y="0"/>
                </a:moveTo>
                <a:lnTo>
                  <a:pt x="0" y="0"/>
                </a:lnTo>
                <a:lnTo>
                  <a:pt x="0" y="4421124"/>
                </a:lnTo>
                <a:lnTo>
                  <a:pt x="2909316" y="4421124"/>
                </a:lnTo>
                <a:lnTo>
                  <a:pt x="2909316" y="0"/>
                </a:lnTo>
                <a:close/>
              </a:path>
            </a:pathLst>
          </a:custGeom>
          <a:solidFill>
            <a:srgbClr val="F1F1F1"/>
          </a:solidFill>
        </p:spPr>
        <p:txBody>
          <a:bodyPr wrap="square" lIns="0" tIns="0" rIns="0" bIns="0" rtlCol="0"/>
          <a:lstStyle/>
          <a:p>
            <a:endParaRPr/>
          </a:p>
        </p:txBody>
      </p:sp>
      <p:grpSp>
        <p:nvGrpSpPr>
          <p:cNvPr id="3" name="object 3"/>
          <p:cNvGrpSpPr/>
          <p:nvPr/>
        </p:nvGrpSpPr>
        <p:grpSpPr>
          <a:xfrm>
            <a:off x="263652" y="1290066"/>
            <a:ext cx="11715750" cy="4831080"/>
            <a:chOff x="263652" y="1290066"/>
            <a:chExt cx="11715750" cy="4831080"/>
          </a:xfrm>
        </p:grpSpPr>
        <p:sp>
          <p:nvSpPr>
            <p:cNvPr id="4" name="object 4"/>
            <p:cNvSpPr/>
            <p:nvPr/>
          </p:nvSpPr>
          <p:spPr>
            <a:xfrm>
              <a:off x="422147" y="1700022"/>
              <a:ext cx="3030220" cy="4421505"/>
            </a:xfrm>
            <a:custGeom>
              <a:avLst/>
              <a:gdLst/>
              <a:ahLst/>
              <a:cxnLst/>
              <a:rect l="l" t="t" r="r" b="b"/>
              <a:pathLst>
                <a:path w="3030220" h="4421505">
                  <a:moveTo>
                    <a:pt x="3029712" y="0"/>
                  </a:moveTo>
                  <a:lnTo>
                    <a:pt x="0" y="0"/>
                  </a:lnTo>
                  <a:lnTo>
                    <a:pt x="0" y="4421124"/>
                  </a:lnTo>
                  <a:lnTo>
                    <a:pt x="3029712" y="4421124"/>
                  </a:lnTo>
                  <a:lnTo>
                    <a:pt x="3029712" y="0"/>
                  </a:lnTo>
                  <a:close/>
                </a:path>
              </a:pathLst>
            </a:custGeom>
            <a:solidFill>
              <a:srgbClr val="F1F1F1"/>
            </a:solidFill>
          </p:spPr>
          <p:txBody>
            <a:bodyPr wrap="square" lIns="0" tIns="0" rIns="0" bIns="0" rtlCol="0"/>
            <a:lstStyle/>
            <a:p>
              <a:endParaRPr/>
            </a:p>
          </p:txBody>
        </p:sp>
        <p:sp>
          <p:nvSpPr>
            <p:cNvPr id="5" name="object 5"/>
            <p:cNvSpPr/>
            <p:nvPr/>
          </p:nvSpPr>
          <p:spPr>
            <a:xfrm>
              <a:off x="282702" y="1700022"/>
              <a:ext cx="11677650" cy="10795"/>
            </a:xfrm>
            <a:custGeom>
              <a:avLst/>
              <a:gdLst/>
              <a:ahLst/>
              <a:cxnLst/>
              <a:rect l="l" t="t" r="r" b="b"/>
              <a:pathLst>
                <a:path w="11677650" h="10794">
                  <a:moveTo>
                    <a:pt x="0" y="10540"/>
                  </a:moveTo>
                  <a:lnTo>
                    <a:pt x="11677269" y="0"/>
                  </a:lnTo>
                </a:path>
              </a:pathLst>
            </a:custGeom>
            <a:ln w="38100">
              <a:solidFill>
                <a:srgbClr val="2A2B2C"/>
              </a:solidFill>
            </a:ln>
          </p:spPr>
          <p:txBody>
            <a:bodyPr wrap="square" lIns="0" tIns="0" rIns="0" bIns="0" rtlCol="0"/>
            <a:lstStyle/>
            <a:p>
              <a:endParaRPr/>
            </a:p>
          </p:txBody>
        </p:sp>
        <p:sp>
          <p:nvSpPr>
            <p:cNvPr id="6" name="object 6"/>
            <p:cNvSpPr/>
            <p:nvPr/>
          </p:nvSpPr>
          <p:spPr>
            <a:xfrm>
              <a:off x="1718310" y="1290066"/>
              <a:ext cx="585470" cy="585470"/>
            </a:xfrm>
            <a:custGeom>
              <a:avLst/>
              <a:gdLst/>
              <a:ahLst/>
              <a:cxnLst/>
              <a:rect l="l" t="t" r="r" b="b"/>
              <a:pathLst>
                <a:path w="585469" h="585469">
                  <a:moveTo>
                    <a:pt x="292607" y="0"/>
                  </a:moveTo>
                  <a:lnTo>
                    <a:pt x="245159" y="3831"/>
                  </a:lnTo>
                  <a:lnTo>
                    <a:pt x="200143" y="14923"/>
                  </a:lnTo>
                  <a:lnTo>
                    <a:pt x="158163" y="32671"/>
                  </a:lnTo>
                  <a:lnTo>
                    <a:pt x="119822" y="56473"/>
                  </a:lnTo>
                  <a:lnTo>
                    <a:pt x="85724" y="85725"/>
                  </a:lnTo>
                  <a:lnTo>
                    <a:pt x="56473" y="119822"/>
                  </a:lnTo>
                  <a:lnTo>
                    <a:pt x="32671" y="158163"/>
                  </a:lnTo>
                  <a:lnTo>
                    <a:pt x="14923" y="200143"/>
                  </a:lnTo>
                  <a:lnTo>
                    <a:pt x="3831" y="245159"/>
                  </a:lnTo>
                  <a:lnTo>
                    <a:pt x="0" y="292608"/>
                  </a:lnTo>
                  <a:lnTo>
                    <a:pt x="3831" y="340056"/>
                  </a:lnTo>
                  <a:lnTo>
                    <a:pt x="14923" y="385072"/>
                  </a:lnTo>
                  <a:lnTo>
                    <a:pt x="32671" y="427052"/>
                  </a:lnTo>
                  <a:lnTo>
                    <a:pt x="56473" y="465393"/>
                  </a:lnTo>
                  <a:lnTo>
                    <a:pt x="85725" y="499491"/>
                  </a:lnTo>
                  <a:lnTo>
                    <a:pt x="119822" y="528742"/>
                  </a:lnTo>
                  <a:lnTo>
                    <a:pt x="158163" y="552544"/>
                  </a:lnTo>
                  <a:lnTo>
                    <a:pt x="200143" y="570292"/>
                  </a:lnTo>
                  <a:lnTo>
                    <a:pt x="245159" y="581384"/>
                  </a:lnTo>
                  <a:lnTo>
                    <a:pt x="292607" y="585216"/>
                  </a:lnTo>
                  <a:lnTo>
                    <a:pt x="340056" y="581384"/>
                  </a:lnTo>
                  <a:lnTo>
                    <a:pt x="385072" y="570292"/>
                  </a:lnTo>
                  <a:lnTo>
                    <a:pt x="427052" y="552544"/>
                  </a:lnTo>
                  <a:lnTo>
                    <a:pt x="465393" y="528742"/>
                  </a:lnTo>
                  <a:lnTo>
                    <a:pt x="499491" y="499491"/>
                  </a:lnTo>
                  <a:lnTo>
                    <a:pt x="528742" y="465393"/>
                  </a:lnTo>
                  <a:lnTo>
                    <a:pt x="552544" y="427052"/>
                  </a:lnTo>
                  <a:lnTo>
                    <a:pt x="570292" y="385072"/>
                  </a:lnTo>
                  <a:lnTo>
                    <a:pt x="581384" y="340056"/>
                  </a:lnTo>
                  <a:lnTo>
                    <a:pt x="585215" y="292608"/>
                  </a:lnTo>
                  <a:lnTo>
                    <a:pt x="581384" y="245159"/>
                  </a:lnTo>
                  <a:lnTo>
                    <a:pt x="570292" y="200143"/>
                  </a:lnTo>
                  <a:lnTo>
                    <a:pt x="552544" y="158163"/>
                  </a:lnTo>
                  <a:lnTo>
                    <a:pt x="528742" y="119822"/>
                  </a:lnTo>
                  <a:lnTo>
                    <a:pt x="499490" y="85724"/>
                  </a:lnTo>
                  <a:lnTo>
                    <a:pt x="465393" y="56473"/>
                  </a:lnTo>
                  <a:lnTo>
                    <a:pt x="427052" y="32671"/>
                  </a:lnTo>
                  <a:lnTo>
                    <a:pt x="385072" y="14923"/>
                  </a:lnTo>
                  <a:lnTo>
                    <a:pt x="340056" y="3831"/>
                  </a:lnTo>
                  <a:lnTo>
                    <a:pt x="292607" y="0"/>
                  </a:lnTo>
                  <a:close/>
                </a:path>
              </a:pathLst>
            </a:custGeom>
            <a:solidFill>
              <a:srgbClr val="5E33BE"/>
            </a:solidFill>
          </p:spPr>
          <p:txBody>
            <a:bodyPr wrap="square" lIns="0" tIns="0" rIns="0" bIns="0" rtlCol="0"/>
            <a:lstStyle/>
            <a:p>
              <a:endParaRPr/>
            </a:p>
          </p:txBody>
        </p:sp>
      </p:grpSp>
      <p:sp>
        <p:nvSpPr>
          <p:cNvPr id="7" name="object 7"/>
          <p:cNvSpPr txBox="1"/>
          <p:nvPr/>
        </p:nvSpPr>
        <p:spPr>
          <a:xfrm>
            <a:off x="1776222" y="1466340"/>
            <a:ext cx="535938" cy="197490"/>
          </a:xfrm>
          <a:prstGeom prst="rect">
            <a:avLst/>
          </a:prstGeom>
        </p:spPr>
        <p:txBody>
          <a:bodyPr vert="horz" wrap="square" lIns="0" tIns="12700" rIns="0" bIns="0" rtlCol="0">
            <a:spAutoFit/>
          </a:bodyPr>
          <a:lstStyle/>
          <a:p>
            <a:pPr marL="12700">
              <a:lnSpc>
                <a:spcPct val="100000"/>
              </a:lnSpc>
              <a:spcBef>
                <a:spcPts val="100"/>
              </a:spcBef>
            </a:pPr>
            <a:r>
              <a:rPr sz="1200" b="1" spc="-20" dirty="0">
                <a:solidFill>
                  <a:srgbClr val="FFFFFF"/>
                </a:solidFill>
                <a:latin typeface="Avenir Next LT Pro" panose="020B0504020202020204" pitchFamily="34" charset="0"/>
                <a:cs typeface="Tahoma"/>
              </a:rPr>
              <a:t>SOON</a:t>
            </a:r>
          </a:p>
        </p:txBody>
      </p:sp>
      <p:sp>
        <p:nvSpPr>
          <p:cNvPr id="8" name="object 8"/>
          <p:cNvSpPr/>
          <p:nvPr/>
        </p:nvSpPr>
        <p:spPr>
          <a:xfrm>
            <a:off x="4699253" y="1281683"/>
            <a:ext cx="585470" cy="585470"/>
          </a:xfrm>
          <a:custGeom>
            <a:avLst/>
            <a:gdLst/>
            <a:ahLst/>
            <a:cxnLst/>
            <a:rect l="l" t="t" r="r" b="b"/>
            <a:pathLst>
              <a:path w="585470" h="585469">
                <a:moveTo>
                  <a:pt x="292608" y="0"/>
                </a:moveTo>
                <a:lnTo>
                  <a:pt x="245159" y="3831"/>
                </a:lnTo>
                <a:lnTo>
                  <a:pt x="200143" y="14923"/>
                </a:lnTo>
                <a:lnTo>
                  <a:pt x="158163" y="32671"/>
                </a:lnTo>
                <a:lnTo>
                  <a:pt x="119822" y="56473"/>
                </a:lnTo>
                <a:lnTo>
                  <a:pt x="85725" y="85724"/>
                </a:lnTo>
                <a:lnTo>
                  <a:pt x="56473" y="119822"/>
                </a:lnTo>
                <a:lnTo>
                  <a:pt x="32671" y="158163"/>
                </a:lnTo>
                <a:lnTo>
                  <a:pt x="14923" y="200143"/>
                </a:lnTo>
                <a:lnTo>
                  <a:pt x="3831" y="245159"/>
                </a:lnTo>
                <a:lnTo>
                  <a:pt x="0" y="292607"/>
                </a:lnTo>
                <a:lnTo>
                  <a:pt x="3831" y="340056"/>
                </a:lnTo>
                <a:lnTo>
                  <a:pt x="14923" y="385072"/>
                </a:lnTo>
                <a:lnTo>
                  <a:pt x="32671" y="427052"/>
                </a:lnTo>
                <a:lnTo>
                  <a:pt x="56473" y="465393"/>
                </a:lnTo>
                <a:lnTo>
                  <a:pt x="85725" y="499490"/>
                </a:lnTo>
                <a:lnTo>
                  <a:pt x="119822" y="528742"/>
                </a:lnTo>
                <a:lnTo>
                  <a:pt x="158163" y="552544"/>
                </a:lnTo>
                <a:lnTo>
                  <a:pt x="200143" y="570292"/>
                </a:lnTo>
                <a:lnTo>
                  <a:pt x="245159" y="581384"/>
                </a:lnTo>
                <a:lnTo>
                  <a:pt x="292608" y="585215"/>
                </a:lnTo>
                <a:lnTo>
                  <a:pt x="340056" y="581384"/>
                </a:lnTo>
                <a:lnTo>
                  <a:pt x="385072" y="570292"/>
                </a:lnTo>
                <a:lnTo>
                  <a:pt x="427052" y="552544"/>
                </a:lnTo>
                <a:lnTo>
                  <a:pt x="465393" y="528742"/>
                </a:lnTo>
                <a:lnTo>
                  <a:pt x="499491" y="499490"/>
                </a:lnTo>
                <a:lnTo>
                  <a:pt x="528742" y="465393"/>
                </a:lnTo>
                <a:lnTo>
                  <a:pt x="552544" y="427052"/>
                </a:lnTo>
                <a:lnTo>
                  <a:pt x="570292" y="385072"/>
                </a:lnTo>
                <a:lnTo>
                  <a:pt x="581384" y="340056"/>
                </a:lnTo>
                <a:lnTo>
                  <a:pt x="585216" y="292607"/>
                </a:lnTo>
                <a:lnTo>
                  <a:pt x="581384" y="245159"/>
                </a:lnTo>
                <a:lnTo>
                  <a:pt x="570292" y="200143"/>
                </a:lnTo>
                <a:lnTo>
                  <a:pt x="552544" y="158163"/>
                </a:lnTo>
                <a:lnTo>
                  <a:pt x="528742" y="119822"/>
                </a:lnTo>
                <a:lnTo>
                  <a:pt x="499491" y="85724"/>
                </a:lnTo>
                <a:lnTo>
                  <a:pt x="465393" y="56473"/>
                </a:lnTo>
                <a:lnTo>
                  <a:pt x="427052" y="32671"/>
                </a:lnTo>
                <a:lnTo>
                  <a:pt x="385072" y="14923"/>
                </a:lnTo>
                <a:lnTo>
                  <a:pt x="340056" y="3831"/>
                </a:lnTo>
                <a:lnTo>
                  <a:pt x="292608" y="0"/>
                </a:lnTo>
                <a:close/>
              </a:path>
            </a:pathLst>
          </a:custGeom>
          <a:solidFill>
            <a:srgbClr val="5E33BE"/>
          </a:solidFill>
        </p:spPr>
        <p:txBody>
          <a:bodyPr wrap="square" lIns="0" tIns="0" rIns="0" bIns="0" rtlCol="0"/>
          <a:lstStyle/>
          <a:p>
            <a:endParaRPr/>
          </a:p>
        </p:txBody>
      </p:sp>
      <p:sp>
        <p:nvSpPr>
          <p:cNvPr id="9" name="object 9"/>
          <p:cNvSpPr txBox="1"/>
          <p:nvPr/>
        </p:nvSpPr>
        <p:spPr>
          <a:xfrm>
            <a:off x="4781041" y="1457705"/>
            <a:ext cx="421640" cy="197490"/>
          </a:xfrm>
          <a:prstGeom prst="rect">
            <a:avLst/>
          </a:prstGeom>
        </p:spPr>
        <p:txBody>
          <a:bodyPr vert="horz" wrap="square" lIns="0" tIns="12700" rIns="0" bIns="0" rtlCol="0">
            <a:spAutoFit/>
          </a:bodyPr>
          <a:lstStyle/>
          <a:p>
            <a:pPr marL="12700">
              <a:lnSpc>
                <a:spcPct val="100000"/>
              </a:lnSpc>
              <a:spcBef>
                <a:spcPts val="100"/>
              </a:spcBef>
            </a:pPr>
            <a:r>
              <a:rPr sz="1200" b="1" spc="-20" dirty="0">
                <a:solidFill>
                  <a:srgbClr val="FFFFFF"/>
                </a:solidFill>
                <a:latin typeface="Avenir Next LT Pro" panose="020B0504020202020204" pitchFamily="34" charset="0"/>
                <a:cs typeface="Tahoma"/>
              </a:rPr>
              <a:t>NEXT</a:t>
            </a:r>
          </a:p>
        </p:txBody>
      </p:sp>
      <p:sp>
        <p:nvSpPr>
          <p:cNvPr id="10" name="object 10"/>
          <p:cNvSpPr/>
          <p:nvPr/>
        </p:nvSpPr>
        <p:spPr>
          <a:xfrm>
            <a:off x="7671816" y="1281683"/>
            <a:ext cx="585470" cy="585470"/>
          </a:xfrm>
          <a:custGeom>
            <a:avLst/>
            <a:gdLst/>
            <a:ahLst/>
            <a:cxnLst/>
            <a:rect l="l" t="t" r="r" b="b"/>
            <a:pathLst>
              <a:path w="585470" h="585469">
                <a:moveTo>
                  <a:pt x="292607" y="0"/>
                </a:moveTo>
                <a:lnTo>
                  <a:pt x="245159" y="3831"/>
                </a:lnTo>
                <a:lnTo>
                  <a:pt x="200143" y="14923"/>
                </a:lnTo>
                <a:lnTo>
                  <a:pt x="158163" y="32671"/>
                </a:lnTo>
                <a:lnTo>
                  <a:pt x="119822" y="56473"/>
                </a:lnTo>
                <a:lnTo>
                  <a:pt x="85725" y="85724"/>
                </a:lnTo>
                <a:lnTo>
                  <a:pt x="56473" y="119822"/>
                </a:lnTo>
                <a:lnTo>
                  <a:pt x="32671" y="158163"/>
                </a:lnTo>
                <a:lnTo>
                  <a:pt x="14923" y="200143"/>
                </a:lnTo>
                <a:lnTo>
                  <a:pt x="3831" y="245159"/>
                </a:lnTo>
                <a:lnTo>
                  <a:pt x="0" y="292607"/>
                </a:lnTo>
                <a:lnTo>
                  <a:pt x="3831" y="340056"/>
                </a:lnTo>
                <a:lnTo>
                  <a:pt x="14923" y="385072"/>
                </a:lnTo>
                <a:lnTo>
                  <a:pt x="32671" y="427052"/>
                </a:lnTo>
                <a:lnTo>
                  <a:pt x="56473" y="465393"/>
                </a:lnTo>
                <a:lnTo>
                  <a:pt x="85724" y="499490"/>
                </a:lnTo>
                <a:lnTo>
                  <a:pt x="119822" y="528742"/>
                </a:lnTo>
                <a:lnTo>
                  <a:pt x="158163" y="552544"/>
                </a:lnTo>
                <a:lnTo>
                  <a:pt x="200143" y="570292"/>
                </a:lnTo>
                <a:lnTo>
                  <a:pt x="245159" y="581384"/>
                </a:lnTo>
                <a:lnTo>
                  <a:pt x="292607" y="585215"/>
                </a:lnTo>
                <a:lnTo>
                  <a:pt x="340056" y="581384"/>
                </a:lnTo>
                <a:lnTo>
                  <a:pt x="385072" y="570292"/>
                </a:lnTo>
                <a:lnTo>
                  <a:pt x="427052" y="552544"/>
                </a:lnTo>
                <a:lnTo>
                  <a:pt x="465393" y="528742"/>
                </a:lnTo>
                <a:lnTo>
                  <a:pt x="499490" y="499490"/>
                </a:lnTo>
                <a:lnTo>
                  <a:pt x="528742" y="465393"/>
                </a:lnTo>
                <a:lnTo>
                  <a:pt x="552544" y="427052"/>
                </a:lnTo>
                <a:lnTo>
                  <a:pt x="570292" y="385072"/>
                </a:lnTo>
                <a:lnTo>
                  <a:pt x="581384" y="340056"/>
                </a:lnTo>
                <a:lnTo>
                  <a:pt x="585215" y="292607"/>
                </a:lnTo>
                <a:lnTo>
                  <a:pt x="581384" y="245159"/>
                </a:lnTo>
                <a:lnTo>
                  <a:pt x="570292" y="200143"/>
                </a:lnTo>
                <a:lnTo>
                  <a:pt x="552544" y="158163"/>
                </a:lnTo>
                <a:lnTo>
                  <a:pt x="528742" y="119822"/>
                </a:lnTo>
                <a:lnTo>
                  <a:pt x="499491" y="85724"/>
                </a:lnTo>
                <a:lnTo>
                  <a:pt x="465393" y="56473"/>
                </a:lnTo>
                <a:lnTo>
                  <a:pt x="427052" y="32671"/>
                </a:lnTo>
                <a:lnTo>
                  <a:pt x="385072" y="14923"/>
                </a:lnTo>
                <a:lnTo>
                  <a:pt x="340056" y="3831"/>
                </a:lnTo>
                <a:lnTo>
                  <a:pt x="292607" y="0"/>
                </a:lnTo>
                <a:close/>
              </a:path>
            </a:pathLst>
          </a:custGeom>
          <a:solidFill>
            <a:srgbClr val="00AB96"/>
          </a:solidFill>
        </p:spPr>
        <p:txBody>
          <a:bodyPr wrap="square" lIns="0" tIns="0" rIns="0" bIns="0" rtlCol="0"/>
          <a:lstStyle/>
          <a:p>
            <a:endParaRPr/>
          </a:p>
        </p:txBody>
      </p:sp>
      <p:sp>
        <p:nvSpPr>
          <p:cNvPr id="11" name="object 11"/>
          <p:cNvSpPr txBox="1"/>
          <p:nvPr/>
        </p:nvSpPr>
        <p:spPr>
          <a:xfrm>
            <a:off x="7723631" y="1457705"/>
            <a:ext cx="481965" cy="197490"/>
          </a:xfrm>
          <a:prstGeom prst="rect">
            <a:avLst/>
          </a:prstGeom>
        </p:spPr>
        <p:txBody>
          <a:bodyPr vert="horz" wrap="square" lIns="0" tIns="12700" rIns="0" bIns="0" rtlCol="0">
            <a:spAutoFit/>
          </a:bodyPr>
          <a:lstStyle/>
          <a:p>
            <a:pPr marL="12700">
              <a:lnSpc>
                <a:spcPct val="100000"/>
              </a:lnSpc>
              <a:spcBef>
                <a:spcPts val="100"/>
              </a:spcBef>
            </a:pPr>
            <a:r>
              <a:rPr sz="1200" b="1" spc="-20" dirty="0">
                <a:solidFill>
                  <a:srgbClr val="FFFFFF"/>
                </a:solidFill>
                <a:latin typeface="Avenir Next LT Pro" panose="020B0504020202020204" pitchFamily="34" charset="0"/>
                <a:cs typeface="Tahoma"/>
              </a:rPr>
              <a:t>LATER</a:t>
            </a:r>
          </a:p>
        </p:txBody>
      </p:sp>
      <p:sp>
        <p:nvSpPr>
          <p:cNvPr id="12" name="object 12"/>
          <p:cNvSpPr txBox="1"/>
          <p:nvPr/>
        </p:nvSpPr>
        <p:spPr>
          <a:xfrm>
            <a:off x="6369701" y="1979422"/>
            <a:ext cx="147955" cy="178435"/>
          </a:xfrm>
          <a:prstGeom prst="rect">
            <a:avLst/>
          </a:prstGeom>
        </p:spPr>
        <p:txBody>
          <a:bodyPr vert="horz" wrap="square" lIns="0" tIns="13335" rIns="0" bIns="0" rtlCol="0">
            <a:spAutoFit/>
          </a:bodyPr>
          <a:lstStyle/>
          <a:p>
            <a:pPr marL="12700">
              <a:lnSpc>
                <a:spcPct val="100000"/>
              </a:lnSpc>
              <a:spcBef>
                <a:spcPts val="105"/>
              </a:spcBef>
            </a:pPr>
            <a:r>
              <a:rPr sz="1000" spc="-25" dirty="0">
                <a:solidFill>
                  <a:srgbClr val="FFFFFF"/>
                </a:solidFill>
                <a:latin typeface="Tahoma"/>
                <a:cs typeface="Tahoma"/>
              </a:rPr>
              <a:t>se</a:t>
            </a:r>
            <a:endParaRPr sz="1000">
              <a:latin typeface="Tahoma"/>
              <a:cs typeface="Tahoma"/>
            </a:endParaRPr>
          </a:p>
        </p:txBody>
      </p:sp>
      <p:sp>
        <p:nvSpPr>
          <p:cNvPr id="13" name="object 13"/>
          <p:cNvSpPr txBox="1"/>
          <p:nvPr/>
        </p:nvSpPr>
        <p:spPr>
          <a:xfrm>
            <a:off x="6372177" y="2162810"/>
            <a:ext cx="129539" cy="178435"/>
          </a:xfrm>
          <a:prstGeom prst="rect">
            <a:avLst/>
          </a:prstGeom>
        </p:spPr>
        <p:txBody>
          <a:bodyPr vert="horz" wrap="square" lIns="0" tIns="12700" rIns="0" bIns="0" rtlCol="0">
            <a:spAutoFit/>
          </a:bodyPr>
          <a:lstStyle/>
          <a:p>
            <a:pPr marL="12700">
              <a:lnSpc>
                <a:spcPct val="100000"/>
              </a:lnSpc>
              <a:spcBef>
                <a:spcPts val="100"/>
              </a:spcBef>
            </a:pPr>
            <a:r>
              <a:rPr sz="1000" spc="-25" dirty="0">
                <a:solidFill>
                  <a:srgbClr val="FFFFFF"/>
                </a:solidFill>
                <a:latin typeface="Tahoma"/>
                <a:cs typeface="Tahoma"/>
              </a:rPr>
              <a:t>.6</a:t>
            </a:r>
            <a:endParaRPr sz="1000">
              <a:latin typeface="Tahoma"/>
              <a:cs typeface="Tahoma"/>
            </a:endParaRPr>
          </a:p>
        </p:txBody>
      </p:sp>
      <p:sp>
        <p:nvSpPr>
          <p:cNvPr id="14" name="object 14"/>
          <p:cNvSpPr txBox="1"/>
          <p:nvPr/>
        </p:nvSpPr>
        <p:spPr>
          <a:xfrm>
            <a:off x="602995" y="2089656"/>
            <a:ext cx="2675256" cy="420628"/>
          </a:xfrm>
          <a:prstGeom prst="rect">
            <a:avLst/>
          </a:prstGeom>
          <a:solidFill>
            <a:srgbClr val="B075E0"/>
          </a:solidFill>
        </p:spPr>
        <p:txBody>
          <a:bodyPr vert="horz" wrap="square" lIns="0" tIns="172720" rIns="0" bIns="0" rtlCol="0">
            <a:spAutoFit/>
          </a:bodyPr>
          <a:lstStyle/>
          <a:p>
            <a:pPr algn="ctr">
              <a:spcAft>
                <a:spcPts val="1800"/>
              </a:spcAft>
            </a:pPr>
            <a:r>
              <a:rPr lang="en-US" sz="1600" spc="-40" dirty="0">
                <a:solidFill>
                  <a:srgbClr val="FFFFFF"/>
                </a:solidFill>
                <a:latin typeface="Avenir Next LT Pro" panose="020B0504020202020204" pitchFamily="34" charset="0"/>
                <a:cs typeface="Tahoma"/>
              </a:rPr>
              <a:t>XML Delivery Enhancements</a:t>
            </a:r>
            <a:endParaRPr sz="1600" dirty="0">
              <a:latin typeface="Avenir Next LT Pro" panose="020B0504020202020204" pitchFamily="34" charset="0"/>
              <a:cs typeface="Tahoma"/>
            </a:endParaRPr>
          </a:p>
        </p:txBody>
      </p:sp>
      <p:sp>
        <p:nvSpPr>
          <p:cNvPr id="15" name="object 15"/>
          <p:cNvSpPr txBox="1"/>
          <p:nvPr/>
        </p:nvSpPr>
        <p:spPr>
          <a:xfrm>
            <a:off x="509016" y="4095246"/>
            <a:ext cx="2769235" cy="433452"/>
          </a:xfrm>
          <a:prstGeom prst="rect">
            <a:avLst/>
          </a:prstGeom>
          <a:solidFill>
            <a:srgbClr val="B075E0"/>
          </a:solidFill>
        </p:spPr>
        <p:txBody>
          <a:bodyPr vert="horz" wrap="square" lIns="0" tIns="185420" rIns="0" bIns="0" rtlCol="0">
            <a:spAutoFit/>
          </a:bodyPr>
          <a:lstStyle/>
          <a:p>
            <a:pPr algn="ctr">
              <a:lnSpc>
                <a:spcPct val="100000"/>
              </a:lnSpc>
              <a:spcBef>
                <a:spcPts val="1460"/>
              </a:spcBef>
              <a:spcAft>
                <a:spcPts val="600"/>
              </a:spcAft>
            </a:pPr>
            <a:r>
              <a:rPr lang="en-US" sz="1600" spc="-40" dirty="0">
                <a:solidFill>
                  <a:srgbClr val="FFFFFF"/>
                </a:solidFill>
                <a:latin typeface="Avenir Next LT Pro" panose="020B0504020202020204" pitchFamily="34" charset="0"/>
                <a:cs typeface="Tahoma"/>
              </a:rPr>
              <a:t>Author</a:t>
            </a:r>
            <a:r>
              <a:rPr sz="1600" spc="-40" dirty="0">
                <a:solidFill>
                  <a:srgbClr val="FFFFFF"/>
                </a:solidFill>
                <a:latin typeface="Avenir Next LT Pro" panose="020B0504020202020204" pitchFamily="34" charset="0"/>
                <a:cs typeface="Tahoma"/>
              </a:rPr>
              <a:t> self-service</a:t>
            </a:r>
          </a:p>
        </p:txBody>
      </p:sp>
      <p:sp>
        <p:nvSpPr>
          <p:cNvPr id="16" name="object 16"/>
          <p:cNvSpPr txBox="1"/>
          <p:nvPr/>
        </p:nvSpPr>
        <p:spPr>
          <a:xfrm>
            <a:off x="3604514" y="2795269"/>
            <a:ext cx="2552065" cy="678006"/>
          </a:xfrm>
          <a:prstGeom prst="rect">
            <a:avLst/>
          </a:prstGeom>
        </p:spPr>
        <p:txBody>
          <a:bodyPr vert="horz" wrap="square" lIns="0" tIns="12065" rIns="0" bIns="0" rtlCol="0">
            <a:spAutoFit/>
          </a:bodyPr>
          <a:lstStyle/>
          <a:p>
            <a:pPr marL="241300" marR="5080" indent="-228600">
              <a:lnSpc>
                <a:spcPct val="101200"/>
              </a:lnSpc>
              <a:spcBef>
                <a:spcPts val="100"/>
              </a:spcBef>
              <a:buFont typeface="Arial"/>
              <a:buChar char="•"/>
              <a:tabLst>
                <a:tab pos="241300" algn="l"/>
              </a:tabLst>
            </a:pPr>
            <a:r>
              <a:rPr lang="en-US" sz="1450" spc="-10" dirty="0">
                <a:latin typeface="Avenir Next LT Pro" panose="020B0504020202020204" pitchFamily="34" charset="0"/>
                <a:cs typeface="Tahoma"/>
              </a:rPr>
              <a:t>Usage of ETD Admin tool for undergrad and other non-PQDT eligible works</a:t>
            </a:r>
          </a:p>
        </p:txBody>
      </p:sp>
      <p:sp>
        <p:nvSpPr>
          <p:cNvPr id="17" name="object 17"/>
          <p:cNvSpPr txBox="1"/>
          <p:nvPr/>
        </p:nvSpPr>
        <p:spPr>
          <a:xfrm>
            <a:off x="6624828" y="4850579"/>
            <a:ext cx="2199005" cy="902748"/>
          </a:xfrm>
          <a:prstGeom prst="rect">
            <a:avLst/>
          </a:prstGeom>
        </p:spPr>
        <p:txBody>
          <a:bodyPr vert="horz" wrap="square" lIns="0" tIns="11430" rIns="0" bIns="0" rtlCol="0">
            <a:spAutoFit/>
          </a:bodyPr>
          <a:lstStyle/>
          <a:p>
            <a:pPr marL="241300" marR="5080" indent="-228600">
              <a:lnSpc>
                <a:spcPct val="101200"/>
              </a:lnSpc>
              <a:spcBef>
                <a:spcPts val="100"/>
              </a:spcBef>
              <a:buFont typeface="Arial"/>
              <a:buChar char="•"/>
              <a:tabLst>
                <a:tab pos="241300" algn="l"/>
              </a:tabLst>
            </a:pPr>
            <a:r>
              <a:rPr lang="en-US" sz="1450" spc="-10" dirty="0">
                <a:latin typeface="Avenir Next LT Pro" panose="020B0504020202020204" pitchFamily="34" charset="0"/>
                <a:cs typeface="Tahoma"/>
              </a:rPr>
              <a:t>Tool that provides Admins with information on the accessibility of the PDF</a:t>
            </a:r>
            <a:endParaRPr sz="1450" spc="-10" dirty="0">
              <a:latin typeface="Avenir Next LT Pro" panose="020B0504020202020204" pitchFamily="34" charset="0"/>
              <a:cs typeface="Tahoma"/>
            </a:endParaRPr>
          </a:p>
        </p:txBody>
      </p:sp>
      <p:sp>
        <p:nvSpPr>
          <p:cNvPr id="18" name="object 18"/>
          <p:cNvSpPr txBox="1"/>
          <p:nvPr/>
        </p:nvSpPr>
        <p:spPr>
          <a:xfrm>
            <a:off x="649986" y="2795269"/>
            <a:ext cx="2205990" cy="452624"/>
          </a:xfrm>
          <a:prstGeom prst="rect">
            <a:avLst/>
          </a:prstGeom>
        </p:spPr>
        <p:txBody>
          <a:bodyPr vert="horz" wrap="square" lIns="0" tIns="12065" rIns="0" bIns="0" rtlCol="0">
            <a:spAutoFit/>
          </a:bodyPr>
          <a:lstStyle/>
          <a:p>
            <a:pPr marL="241300" marR="5080" indent="-228600">
              <a:lnSpc>
                <a:spcPct val="101400"/>
              </a:lnSpc>
              <a:spcBef>
                <a:spcPts val="95"/>
              </a:spcBef>
              <a:buFont typeface="Arial"/>
              <a:buChar char="•"/>
              <a:tabLst>
                <a:tab pos="241300" algn="l"/>
              </a:tabLst>
            </a:pPr>
            <a:r>
              <a:rPr sz="1450" dirty="0">
                <a:latin typeface="Avenir Next LT Pro" panose="020B0504020202020204" pitchFamily="34" charset="0"/>
                <a:cs typeface="Tahoma"/>
              </a:rPr>
              <a:t>Ability</a:t>
            </a:r>
            <a:r>
              <a:rPr sz="1450" spc="-75" dirty="0">
                <a:latin typeface="Avenir Next LT Pro" panose="020B0504020202020204" pitchFamily="34" charset="0"/>
                <a:cs typeface="Tahoma"/>
              </a:rPr>
              <a:t> </a:t>
            </a:r>
            <a:r>
              <a:rPr sz="1450" dirty="0">
                <a:latin typeface="Avenir Next LT Pro" panose="020B0504020202020204" pitchFamily="34" charset="0"/>
                <a:cs typeface="Tahoma"/>
              </a:rPr>
              <a:t>to</a:t>
            </a:r>
            <a:r>
              <a:rPr sz="1450" spc="-75" dirty="0">
                <a:latin typeface="Avenir Next LT Pro" panose="020B0504020202020204" pitchFamily="34" charset="0"/>
                <a:cs typeface="Tahoma"/>
              </a:rPr>
              <a:t> </a:t>
            </a:r>
            <a:r>
              <a:rPr sz="1450" spc="-35" dirty="0">
                <a:latin typeface="Avenir Next LT Pro" panose="020B0504020202020204" pitchFamily="34" charset="0"/>
                <a:cs typeface="Tahoma"/>
              </a:rPr>
              <a:t>share</a:t>
            </a:r>
            <a:r>
              <a:rPr sz="1450" spc="-75" dirty="0">
                <a:latin typeface="Avenir Next LT Pro" panose="020B0504020202020204" pitchFamily="34" charset="0"/>
                <a:cs typeface="Tahoma"/>
              </a:rPr>
              <a:t> </a:t>
            </a:r>
            <a:r>
              <a:rPr sz="1450" spc="-45" dirty="0">
                <a:latin typeface="Avenir Next LT Pro" panose="020B0504020202020204" pitchFamily="34" charset="0"/>
                <a:cs typeface="Tahoma"/>
              </a:rPr>
              <a:t>tags</a:t>
            </a:r>
            <a:r>
              <a:rPr sz="1450" spc="-80" dirty="0">
                <a:latin typeface="Avenir Next LT Pro" panose="020B0504020202020204" pitchFamily="34" charset="0"/>
                <a:cs typeface="Tahoma"/>
              </a:rPr>
              <a:t> </a:t>
            </a:r>
            <a:r>
              <a:rPr sz="1450" spc="-20" dirty="0">
                <a:latin typeface="Avenir Next LT Pro" panose="020B0504020202020204" pitchFamily="34" charset="0"/>
                <a:cs typeface="Tahoma"/>
              </a:rPr>
              <a:t>with </a:t>
            </a:r>
            <a:r>
              <a:rPr sz="1450" spc="-10" dirty="0">
                <a:latin typeface="Avenir Next LT Pro" panose="020B0504020202020204" pitchFamily="34" charset="0"/>
                <a:cs typeface="Tahoma"/>
              </a:rPr>
              <a:t>other</a:t>
            </a:r>
            <a:r>
              <a:rPr sz="1450" spc="-85" dirty="0">
                <a:latin typeface="Avenir Next LT Pro" panose="020B0504020202020204" pitchFamily="34" charset="0"/>
                <a:cs typeface="Tahoma"/>
              </a:rPr>
              <a:t> </a:t>
            </a:r>
            <a:r>
              <a:rPr sz="1450" spc="-40" dirty="0">
                <a:latin typeface="Avenir Next LT Pro" panose="020B0504020202020204" pitchFamily="34" charset="0"/>
                <a:cs typeface="Tahoma"/>
              </a:rPr>
              <a:t>admins</a:t>
            </a:r>
            <a:r>
              <a:rPr sz="1450" spc="-80" dirty="0">
                <a:latin typeface="Avenir Next LT Pro" panose="020B0504020202020204" pitchFamily="34" charset="0"/>
                <a:cs typeface="Tahoma"/>
              </a:rPr>
              <a:t> </a:t>
            </a:r>
            <a:r>
              <a:rPr sz="1450" dirty="0">
                <a:latin typeface="Avenir Next LT Pro" panose="020B0504020202020204" pitchFamily="34" charset="0"/>
                <a:cs typeface="Tahoma"/>
              </a:rPr>
              <a:t>on</a:t>
            </a:r>
            <a:r>
              <a:rPr sz="1450" spc="-80" dirty="0">
                <a:latin typeface="Avenir Next LT Pro" panose="020B0504020202020204" pitchFamily="34" charset="0"/>
                <a:cs typeface="Tahoma"/>
              </a:rPr>
              <a:t> </a:t>
            </a:r>
            <a:r>
              <a:rPr sz="1450" spc="-60" dirty="0">
                <a:latin typeface="Avenir Next LT Pro" panose="020B0504020202020204" pitchFamily="34" charset="0"/>
                <a:cs typeface="Tahoma"/>
              </a:rPr>
              <a:t>a</a:t>
            </a:r>
            <a:r>
              <a:rPr sz="1450" spc="-65" dirty="0">
                <a:latin typeface="Avenir Next LT Pro" panose="020B0504020202020204" pitchFamily="34" charset="0"/>
                <a:cs typeface="Tahoma"/>
              </a:rPr>
              <a:t> </a:t>
            </a:r>
            <a:r>
              <a:rPr sz="1450" spc="-20" dirty="0">
                <a:latin typeface="Avenir Next LT Pro" panose="020B0504020202020204" pitchFamily="34" charset="0"/>
                <a:cs typeface="Tahoma"/>
              </a:rPr>
              <a:t>site</a:t>
            </a:r>
            <a:endParaRPr sz="1450" dirty="0">
              <a:latin typeface="Avenir Next LT Pro" panose="020B0504020202020204" pitchFamily="34" charset="0"/>
              <a:cs typeface="Tahoma"/>
            </a:endParaRPr>
          </a:p>
        </p:txBody>
      </p:sp>
      <p:sp>
        <p:nvSpPr>
          <p:cNvPr id="19" name="object 19"/>
          <p:cNvSpPr txBox="1"/>
          <p:nvPr/>
        </p:nvSpPr>
        <p:spPr>
          <a:xfrm>
            <a:off x="587755" y="4706111"/>
            <a:ext cx="2602230" cy="904030"/>
          </a:xfrm>
          <a:prstGeom prst="rect">
            <a:avLst/>
          </a:prstGeom>
        </p:spPr>
        <p:txBody>
          <a:bodyPr vert="horz" wrap="square" lIns="0" tIns="12700" rIns="0" bIns="0" rtlCol="0">
            <a:spAutoFit/>
          </a:bodyPr>
          <a:lstStyle/>
          <a:p>
            <a:pPr marL="241300" marR="5080" indent="-228600">
              <a:lnSpc>
                <a:spcPct val="101200"/>
              </a:lnSpc>
              <a:spcBef>
                <a:spcPts val="100"/>
              </a:spcBef>
              <a:buFont typeface="Arial"/>
              <a:buChar char="•"/>
              <a:tabLst>
                <a:tab pos="241300" algn="l"/>
              </a:tabLst>
            </a:pPr>
            <a:r>
              <a:rPr sz="1450" spc="-10" dirty="0">
                <a:latin typeface="Avenir Next LT Pro" panose="020B0504020202020204" pitchFamily="34" charset="0"/>
                <a:cs typeface="Tahoma"/>
              </a:rPr>
              <a:t>Author self-service for shipping address &amp; contact info (prior to ETD publication)</a:t>
            </a:r>
          </a:p>
        </p:txBody>
      </p:sp>
      <p:sp>
        <p:nvSpPr>
          <p:cNvPr id="20" name="object 20"/>
          <p:cNvSpPr txBox="1"/>
          <p:nvPr/>
        </p:nvSpPr>
        <p:spPr>
          <a:xfrm>
            <a:off x="3545585" y="2069592"/>
            <a:ext cx="2769235" cy="666208"/>
          </a:xfrm>
          <a:prstGeom prst="rect">
            <a:avLst/>
          </a:prstGeom>
          <a:solidFill>
            <a:srgbClr val="B075E0"/>
          </a:solidFill>
        </p:spPr>
        <p:txBody>
          <a:bodyPr vert="horz" wrap="square" lIns="0" tIns="172085" rIns="0" bIns="0" rtlCol="0">
            <a:spAutoFit/>
          </a:bodyPr>
          <a:lstStyle/>
          <a:p>
            <a:pPr algn="ctr">
              <a:spcBef>
                <a:spcPts val="1460"/>
              </a:spcBef>
              <a:spcAft>
                <a:spcPts val="1800"/>
              </a:spcAft>
            </a:pPr>
            <a:r>
              <a:rPr lang="en-US" sz="1600" spc="-40" dirty="0">
                <a:solidFill>
                  <a:srgbClr val="FFFFFF"/>
                </a:solidFill>
                <a:latin typeface="Avenir Next LT Pro" panose="020B0504020202020204" pitchFamily="34" charset="0"/>
                <a:cs typeface="Tahoma"/>
              </a:rPr>
              <a:t>IR Deposit Only (</a:t>
            </a:r>
            <a:r>
              <a:rPr lang="en-US" sz="1600" dirty="0">
                <a:solidFill>
                  <a:srgbClr val="FFFFFF"/>
                </a:solidFill>
                <a:latin typeface="Tahoma"/>
                <a:cs typeface="Tahoma"/>
              </a:rPr>
              <a:t>undergrad</a:t>
            </a:r>
            <a:r>
              <a:rPr lang="en-US" sz="1600" spc="-40" dirty="0">
                <a:solidFill>
                  <a:srgbClr val="FFFFFF"/>
                </a:solidFill>
                <a:latin typeface="Avenir Next LT Pro" panose="020B0504020202020204" pitchFamily="34" charset="0"/>
                <a:cs typeface="Tahoma"/>
              </a:rPr>
              <a:t>, etc.)</a:t>
            </a:r>
          </a:p>
        </p:txBody>
      </p:sp>
      <p:sp>
        <p:nvSpPr>
          <p:cNvPr id="21" name="object 21"/>
          <p:cNvSpPr txBox="1"/>
          <p:nvPr/>
        </p:nvSpPr>
        <p:spPr>
          <a:xfrm>
            <a:off x="6624828" y="2657625"/>
            <a:ext cx="1968500" cy="1354794"/>
          </a:xfrm>
          <a:prstGeom prst="rect">
            <a:avLst/>
          </a:prstGeom>
        </p:spPr>
        <p:txBody>
          <a:bodyPr vert="horz" wrap="square" lIns="0" tIns="12700" rIns="0" bIns="0" rtlCol="0">
            <a:spAutoFit/>
          </a:bodyPr>
          <a:lstStyle/>
          <a:p>
            <a:pPr marL="241300" marR="5080" indent="-228600">
              <a:lnSpc>
                <a:spcPct val="101200"/>
              </a:lnSpc>
              <a:spcBef>
                <a:spcPts val="100"/>
              </a:spcBef>
              <a:buFont typeface="Arial"/>
              <a:buChar char="•"/>
              <a:tabLst>
                <a:tab pos="241300" algn="l"/>
              </a:tabLst>
            </a:pPr>
            <a:r>
              <a:rPr lang="en-US" sz="1450" spc="-10" dirty="0">
                <a:latin typeface="Avenir Next LT Pro" panose="020B0504020202020204" pitchFamily="34" charset="0"/>
                <a:cs typeface="Tahoma"/>
              </a:rPr>
              <a:t>Workflow solution that allows students to request an embargo extension with updates passing to IR</a:t>
            </a:r>
            <a:endParaRPr sz="1450" spc="-10" dirty="0">
              <a:latin typeface="Avenir Next LT Pro" panose="020B0504020202020204" pitchFamily="34" charset="0"/>
              <a:cs typeface="Tahoma"/>
            </a:endParaRPr>
          </a:p>
        </p:txBody>
      </p:sp>
      <p:sp>
        <p:nvSpPr>
          <p:cNvPr id="22" name="object 22"/>
          <p:cNvSpPr txBox="1"/>
          <p:nvPr/>
        </p:nvSpPr>
        <p:spPr>
          <a:xfrm>
            <a:off x="6479048" y="2069592"/>
            <a:ext cx="2768600" cy="419987"/>
          </a:xfrm>
          <a:prstGeom prst="rect">
            <a:avLst/>
          </a:prstGeom>
          <a:solidFill>
            <a:srgbClr val="B075E0"/>
          </a:solidFill>
        </p:spPr>
        <p:txBody>
          <a:bodyPr vert="horz" wrap="square" lIns="0" tIns="172085" rIns="0" bIns="0" rtlCol="0">
            <a:spAutoFit/>
          </a:bodyPr>
          <a:lstStyle/>
          <a:p>
            <a:pPr algn="ctr">
              <a:lnSpc>
                <a:spcPct val="100000"/>
              </a:lnSpc>
              <a:spcBef>
                <a:spcPts val="1460"/>
              </a:spcBef>
              <a:spcAft>
                <a:spcPts val="1200"/>
              </a:spcAft>
            </a:pPr>
            <a:r>
              <a:rPr lang="en-US" sz="1600" spc="-40" dirty="0">
                <a:solidFill>
                  <a:srgbClr val="FFFFFF"/>
                </a:solidFill>
                <a:latin typeface="Avenir Next LT Pro" panose="020B0504020202020204" pitchFamily="34" charset="0"/>
                <a:cs typeface="Tahoma"/>
              </a:rPr>
              <a:t>Embargo Management</a:t>
            </a:r>
            <a:endParaRPr sz="1600" spc="-40" dirty="0">
              <a:solidFill>
                <a:srgbClr val="FFFFFF"/>
              </a:solidFill>
              <a:latin typeface="Avenir Next LT Pro" panose="020B0504020202020204" pitchFamily="34" charset="0"/>
              <a:cs typeface="Tahoma"/>
            </a:endParaRPr>
          </a:p>
        </p:txBody>
      </p:sp>
      <p:sp>
        <p:nvSpPr>
          <p:cNvPr id="23" name="object 23"/>
          <p:cNvSpPr txBox="1"/>
          <p:nvPr/>
        </p:nvSpPr>
        <p:spPr>
          <a:xfrm>
            <a:off x="6517656" y="4107429"/>
            <a:ext cx="2768600" cy="421269"/>
          </a:xfrm>
          <a:prstGeom prst="rect">
            <a:avLst/>
          </a:prstGeom>
          <a:solidFill>
            <a:srgbClr val="B075E0"/>
          </a:solidFill>
        </p:spPr>
        <p:txBody>
          <a:bodyPr vert="horz" wrap="square" lIns="0" tIns="173355" rIns="0" bIns="0" rtlCol="0">
            <a:spAutoFit/>
          </a:bodyPr>
          <a:lstStyle/>
          <a:p>
            <a:pPr algn="ctr">
              <a:lnSpc>
                <a:spcPct val="100000"/>
              </a:lnSpc>
              <a:spcBef>
                <a:spcPts val="1460"/>
              </a:spcBef>
              <a:spcAft>
                <a:spcPts val="600"/>
              </a:spcAft>
            </a:pPr>
            <a:r>
              <a:rPr lang="en-US" sz="1600" spc="-40" dirty="0">
                <a:solidFill>
                  <a:srgbClr val="FFFFFF"/>
                </a:solidFill>
                <a:latin typeface="Avenir Next LT Pro" panose="020B0504020202020204" pitchFamily="34" charset="0"/>
                <a:cs typeface="Tahoma"/>
              </a:rPr>
              <a:t>Accessibility Review</a:t>
            </a:r>
            <a:endParaRPr sz="1600" spc="-40" dirty="0">
              <a:solidFill>
                <a:srgbClr val="FFFFFF"/>
              </a:solidFill>
              <a:latin typeface="Avenir Next LT Pro" panose="020B0504020202020204" pitchFamily="34" charset="0"/>
              <a:cs typeface="Tahoma"/>
            </a:endParaRPr>
          </a:p>
        </p:txBody>
      </p:sp>
      <p:sp>
        <p:nvSpPr>
          <p:cNvPr id="24" name="object 24"/>
          <p:cNvSpPr/>
          <p:nvPr/>
        </p:nvSpPr>
        <p:spPr>
          <a:xfrm>
            <a:off x="10352531" y="1276350"/>
            <a:ext cx="584200" cy="585470"/>
          </a:xfrm>
          <a:custGeom>
            <a:avLst/>
            <a:gdLst/>
            <a:ahLst/>
            <a:cxnLst/>
            <a:rect l="l" t="t" r="r" b="b"/>
            <a:pathLst>
              <a:path w="584200" h="585469">
                <a:moveTo>
                  <a:pt x="291846" y="0"/>
                </a:moveTo>
                <a:lnTo>
                  <a:pt x="244511" y="3831"/>
                </a:lnTo>
                <a:lnTo>
                  <a:pt x="199607" y="14923"/>
                </a:lnTo>
                <a:lnTo>
                  <a:pt x="157734" y="32671"/>
                </a:lnTo>
                <a:lnTo>
                  <a:pt x="119493" y="56473"/>
                </a:lnTo>
                <a:lnTo>
                  <a:pt x="85486" y="85725"/>
                </a:lnTo>
                <a:lnTo>
                  <a:pt x="56314" y="119822"/>
                </a:lnTo>
                <a:lnTo>
                  <a:pt x="32578" y="158163"/>
                </a:lnTo>
                <a:lnTo>
                  <a:pt x="14880" y="200143"/>
                </a:lnTo>
                <a:lnTo>
                  <a:pt x="3820" y="245159"/>
                </a:lnTo>
                <a:lnTo>
                  <a:pt x="0" y="292608"/>
                </a:lnTo>
                <a:lnTo>
                  <a:pt x="3820" y="340056"/>
                </a:lnTo>
                <a:lnTo>
                  <a:pt x="14880" y="385072"/>
                </a:lnTo>
                <a:lnTo>
                  <a:pt x="32578" y="427052"/>
                </a:lnTo>
                <a:lnTo>
                  <a:pt x="56314" y="465393"/>
                </a:lnTo>
                <a:lnTo>
                  <a:pt x="85486" y="499491"/>
                </a:lnTo>
                <a:lnTo>
                  <a:pt x="119493" y="528742"/>
                </a:lnTo>
                <a:lnTo>
                  <a:pt x="157734" y="552544"/>
                </a:lnTo>
                <a:lnTo>
                  <a:pt x="199607" y="570292"/>
                </a:lnTo>
                <a:lnTo>
                  <a:pt x="244511" y="581384"/>
                </a:lnTo>
                <a:lnTo>
                  <a:pt x="291846" y="585215"/>
                </a:lnTo>
                <a:lnTo>
                  <a:pt x="339180" y="581384"/>
                </a:lnTo>
                <a:lnTo>
                  <a:pt x="384084" y="570292"/>
                </a:lnTo>
                <a:lnTo>
                  <a:pt x="425957" y="552544"/>
                </a:lnTo>
                <a:lnTo>
                  <a:pt x="464198" y="528742"/>
                </a:lnTo>
                <a:lnTo>
                  <a:pt x="498205" y="499491"/>
                </a:lnTo>
                <a:lnTo>
                  <a:pt x="527377" y="465393"/>
                </a:lnTo>
                <a:lnTo>
                  <a:pt x="551113" y="427052"/>
                </a:lnTo>
                <a:lnTo>
                  <a:pt x="568811" y="385072"/>
                </a:lnTo>
                <a:lnTo>
                  <a:pt x="579871" y="340056"/>
                </a:lnTo>
                <a:lnTo>
                  <a:pt x="583692" y="292608"/>
                </a:lnTo>
                <a:lnTo>
                  <a:pt x="579871" y="245159"/>
                </a:lnTo>
                <a:lnTo>
                  <a:pt x="568811" y="200143"/>
                </a:lnTo>
                <a:lnTo>
                  <a:pt x="551113" y="158163"/>
                </a:lnTo>
                <a:lnTo>
                  <a:pt x="527377" y="119822"/>
                </a:lnTo>
                <a:lnTo>
                  <a:pt x="498205" y="85725"/>
                </a:lnTo>
                <a:lnTo>
                  <a:pt x="464198" y="56473"/>
                </a:lnTo>
                <a:lnTo>
                  <a:pt x="425957" y="32671"/>
                </a:lnTo>
                <a:lnTo>
                  <a:pt x="384084" y="14923"/>
                </a:lnTo>
                <a:lnTo>
                  <a:pt x="339180" y="3831"/>
                </a:lnTo>
                <a:lnTo>
                  <a:pt x="291846" y="0"/>
                </a:lnTo>
                <a:close/>
              </a:path>
            </a:pathLst>
          </a:custGeom>
          <a:solidFill>
            <a:srgbClr val="00AB96"/>
          </a:solidFill>
        </p:spPr>
        <p:txBody>
          <a:bodyPr wrap="square" lIns="0" tIns="0" rIns="0" bIns="0" rtlCol="0"/>
          <a:lstStyle/>
          <a:p>
            <a:endParaRPr/>
          </a:p>
        </p:txBody>
      </p:sp>
      <p:sp>
        <p:nvSpPr>
          <p:cNvPr id="25" name="object 25"/>
          <p:cNvSpPr txBox="1"/>
          <p:nvPr/>
        </p:nvSpPr>
        <p:spPr>
          <a:xfrm>
            <a:off x="10508488" y="1452879"/>
            <a:ext cx="272415" cy="197490"/>
          </a:xfrm>
          <a:prstGeom prst="rect">
            <a:avLst/>
          </a:prstGeom>
        </p:spPr>
        <p:txBody>
          <a:bodyPr vert="horz" wrap="square" lIns="0" tIns="12700" rIns="0" bIns="0" rtlCol="0">
            <a:spAutoFit/>
          </a:bodyPr>
          <a:lstStyle/>
          <a:p>
            <a:pPr marL="12700">
              <a:spcBef>
                <a:spcPts val="100"/>
              </a:spcBef>
            </a:pPr>
            <a:r>
              <a:rPr sz="1200" b="1" spc="-20" dirty="0">
                <a:solidFill>
                  <a:srgbClr val="FFFFFF"/>
                </a:solidFill>
                <a:latin typeface="Avenir Next LT Pro" panose="020B0504020202020204" pitchFamily="34" charset="0"/>
                <a:cs typeface="Tahoma"/>
              </a:rPr>
              <a:t>???</a:t>
            </a:r>
          </a:p>
        </p:txBody>
      </p:sp>
      <p:sp>
        <p:nvSpPr>
          <p:cNvPr id="26" name="object 26"/>
          <p:cNvSpPr/>
          <p:nvPr/>
        </p:nvSpPr>
        <p:spPr>
          <a:xfrm>
            <a:off x="9518904" y="2069592"/>
            <a:ext cx="2292350" cy="4051935"/>
          </a:xfrm>
          <a:custGeom>
            <a:avLst/>
            <a:gdLst/>
            <a:ahLst/>
            <a:cxnLst/>
            <a:rect l="l" t="t" r="r" b="b"/>
            <a:pathLst>
              <a:path w="2292350" h="4051935">
                <a:moveTo>
                  <a:pt x="0" y="4051554"/>
                </a:moveTo>
                <a:lnTo>
                  <a:pt x="2292096" y="4051554"/>
                </a:lnTo>
                <a:lnTo>
                  <a:pt x="2292096" y="0"/>
                </a:lnTo>
                <a:lnTo>
                  <a:pt x="0" y="0"/>
                </a:lnTo>
                <a:lnTo>
                  <a:pt x="0" y="4051554"/>
                </a:lnTo>
                <a:close/>
              </a:path>
            </a:pathLst>
          </a:custGeom>
          <a:ln w="28575">
            <a:solidFill>
              <a:srgbClr val="000000"/>
            </a:solidFill>
            <a:prstDash val="sysDot"/>
          </a:ln>
        </p:spPr>
        <p:txBody>
          <a:bodyPr wrap="square" lIns="0" tIns="0" rIns="0" bIns="0" rtlCol="0"/>
          <a:lstStyle/>
          <a:p>
            <a:endParaRPr/>
          </a:p>
        </p:txBody>
      </p:sp>
      <p:sp>
        <p:nvSpPr>
          <p:cNvPr id="27" name="object 27"/>
          <p:cNvSpPr txBox="1"/>
          <p:nvPr/>
        </p:nvSpPr>
        <p:spPr>
          <a:xfrm>
            <a:off x="5596382" y="6478270"/>
            <a:ext cx="4778375" cy="208279"/>
          </a:xfrm>
          <a:prstGeom prst="rect">
            <a:avLst/>
          </a:prstGeom>
        </p:spPr>
        <p:txBody>
          <a:bodyPr vert="horz" wrap="square" lIns="0" tIns="12700" rIns="0" bIns="0" rtlCol="0">
            <a:spAutoFit/>
          </a:bodyPr>
          <a:lstStyle/>
          <a:p>
            <a:pPr marL="12700">
              <a:lnSpc>
                <a:spcPct val="100000"/>
              </a:lnSpc>
              <a:spcBef>
                <a:spcPts val="100"/>
              </a:spcBef>
            </a:pPr>
            <a:r>
              <a:rPr sz="1200" b="1" spc="90" dirty="0">
                <a:latin typeface="Calibri"/>
                <a:cs typeface="Calibri"/>
              </a:rPr>
              <a:t>*Working</a:t>
            </a:r>
            <a:r>
              <a:rPr sz="1200" b="1" spc="40" dirty="0">
                <a:latin typeface="Calibri"/>
                <a:cs typeface="Calibri"/>
              </a:rPr>
              <a:t> </a:t>
            </a:r>
            <a:r>
              <a:rPr sz="1200" b="1" spc="85" dirty="0">
                <a:latin typeface="Calibri"/>
                <a:cs typeface="Calibri"/>
              </a:rPr>
              <a:t>document,</a:t>
            </a:r>
            <a:r>
              <a:rPr sz="1200" b="1" spc="45" dirty="0">
                <a:latin typeface="Calibri"/>
                <a:cs typeface="Calibri"/>
              </a:rPr>
              <a:t> </a:t>
            </a:r>
            <a:r>
              <a:rPr sz="1200" b="1" spc="75" dirty="0">
                <a:latin typeface="Calibri"/>
                <a:cs typeface="Calibri"/>
              </a:rPr>
              <a:t>enhancements/timelines</a:t>
            </a:r>
            <a:r>
              <a:rPr sz="1200" b="1" spc="30" dirty="0">
                <a:latin typeface="Calibri"/>
                <a:cs typeface="Calibri"/>
              </a:rPr>
              <a:t> </a:t>
            </a:r>
            <a:r>
              <a:rPr sz="1200" b="1" spc="80" dirty="0">
                <a:latin typeface="Calibri"/>
                <a:cs typeface="Calibri"/>
              </a:rPr>
              <a:t>subject</a:t>
            </a:r>
            <a:r>
              <a:rPr sz="1200" b="1" spc="40" dirty="0">
                <a:latin typeface="Calibri"/>
                <a:cs typeface="Calibri"/>
              </a:rPr>
              <a:t> </a:t>
            </a:r>
            <a:r>
              <a:rPr sz="1200" b="1" spc="65" dirty="0">
                <a:latin typeface="Calibri"/>
                <a:cs typeface="Calibri"/>
              </a:rPr>
              <a:t>to</a:t>
            </a:r>
            <a:r>
              <a:rPr sz="1200" b="1" spc="50" dirty="0">
                <a:latin typeface="Calibri"/>
                <a:cs typeface="Calibri"/>
              </a:rPr>
              <a:t> </a:t>
            </a:r>
            <a:r>
              <a:rPr sz="1200" b="1" spc="95" dirty="0">
                <a:latin typeface="Calibri"/>
                <a:cs typeface="Calibri"/>
              </a:rPr>
              <a:t>change</a:t>
            </a:r>
            <a:endParaRPr sz="1200">
              <a:latin typeface="Calibri"/>
              <a:cs typeface="Calibri"/>
            </a:endParaRPr>
          </a:p>
        </p:txBody>
      </p:sp>
      <p:sp>
        <p:nvSpPr>
          <p:cNvPr id="31" name="Title 1">
            <a:extLst>
              <a:ext uri="{FF2B5EF4-FFF2-40B4-BE49-F238E27FC236}">
                <a16:creationId xmlns:a16="http://schemas.microsoft.com/office/drawing/2014/main" id="{36F2E5EC-16EB-2BBA-4706-260460C1B527}"/>
              </a:ext>
            </a:extLst>
          </p:cNvPr>
          <p:cNvSpPr txBox="1">
            <a:spLocks/>
          </p:cNvSpPr>
          <p:nvPr/>
        </p:nvSpPr>
        <p:spPr>
          <a:xfrm>
            <a:off x="353613" y="328676"/>
            <a:ext cx="10485537" cy="430887"/>
          </a:xfrm>
          <a:prstGeom prst="rect">
            <a:avLst/>
          </a:prstGeom>
        </p:spPr>
        <p:txBody>
          <a:bodyPr vert="horz" wrap="square" lIns="0" tIns="0" rIns="0" bIns="0">
            <a:spAutoFit/>
          </a:bodyPr>
          <a:lstStyle>
            <a:lvl1pPr>
              <a:defRPr sz="2400" b="1" i="0">
                <a:solidFill>
                  <a:srgbClr val="5E33BE"/>
                </a:solidFill>
                <a:latin typeface="Calibri"/>
                <a:ea typeface="+mj-ea"/>
                <a:cs typeface="Calibri"/>
              </a:defRPr>
            </a:lvl1pPr>
          </a:lstStyle>
          <a:p>
            <a:r>
              <a:rPr lang="en-US" sz="2800" b="0" dirty="0">
                <a:solidFill>
                  <a:srgbClr val="B175E1"/>
                </a:solidFill>
                <a:latin typeface="Avenir Next LT Pro Demi" panose="020B0704020202020204" pitchFamily="34" charset="0"/>
                <a:ea typeface="+mj-lt"/>
                <a:cs typeface="+mj-lt"/>
              </a:rPr>
              <a:t>ETD Administrator Roadmap – 2025/2026 </a:t>
            </a:r>
            <a:endParaRPr lang="en-US" sz="2800" b="0" dirty="0">
              <a:solidFill>
                <a:srgbClr val="B175E1"/>
              </a:solidFill>
              <a:latin typeface="Avenir Next LT Pro Demi" panose="020B0704020202020204" pitchFamily="34" charset="0"/>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CDE875-DBFE-308B-7885-908E60383B86}"/>
            </a:ext>
          </a:extLst>
        </p:cNvPr>
        <p:cNvGrpSpPr/>
        <p:nvPr/>
      </p:nvGrpSpPr>
      <p:grpSpPr>
        <a:xfrm>
          <a:off x="0" y="0"/>
          <a:ext cx="0" cy="0"/>
          <a:chOff x="0" y="0"/>
          <a:chExt cx="0" cy="0"/>
        </a:xfrm>
      </p:grpSpPr>
      <p:sp>
        <p:nvSpPr>
          <p:cNvPr id="12" name="Rectangle 11">
            <a:extLst>
              <a:ext uri="{FF2B5EF4-FFF2-40B4-BE49-F238E27FC236}">
                <a16:creationId xmlns:a16="http://schemas.microsoft.com/office/drawing/2014/main" id="{B3708E40-A904-CF05-EDC7-717E4429961A}"/>
              </a:ext>
            </a:extLst>
          </p:cNvPr>
          <p:cNvSpPr/>
          <p:nvPr/>
        </p:nvSpPr>
        <p:spPr>
          <a:xfrm rot="10800000">
            <a:off x="-3" y="5107243"/>
            <a:ext cx="12192001" cy="1750757"/>
          </a:xfrm>
          <a:prstGeom prst="rect">
            <a:avLst/>
          </a:pr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venir Next LT Pro"/>
              <a:ea typeface="+mn-ea"/>
              <a:cs typeface="+mn-cs"/>
            </a:endParaRPr>
          </a:p>
        </p:txBody>
      </p:sp>
      <p:sp>
        <p:nvSpPr>
          <p:cNvPr id="4" name="Footer Placeholder 3">
            <a:extLst>
              <a:ext uri="{FF2B5EF4-FFF2-40B4-BE49-F238E27FC236}">
                <a16:creationId xmlns:a16="http://schemas.microsoft.com/office/drawing/2014/main" id="{47FA0DC7-D298-6D8A-2D7C-162092B7838C}"/>
              </a:ext>
            </a:extLst>
          </p:cNvPr>
          <p:cNvSpPr>
            <a:spLocks noGrp="1"/>
          </p:cNvSpPr>
          <p:nvPr>
            <p:ph type="ftr" sz="quarter" idx="10"/>
          </p:nvPr>
        </p:nvSpPr>
        <p:spPr/>
        <p:txBody>
          <a:bodyPr vert="horz" lIns="0" tIns="0" rIns="0" bIns="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900" b="0" i="0" u="none" strike="noStrike" kern="1200" cap="none" spc="0" normalizeH="0" baseline="0" noProof="0">
                <a:ln>
                  <a:noFill/>
                </a:ln>
                <a:solidFill>
                  <a:prstClr val="black"/>
                </a:solidFill>
                <a:effectLst/>
                <a:uLnTx/>
                <a:uFillTx/>
                <a:latin typeface="Avenir Next LT Pro"/>
                <a:ea typeface="+mn-ea"/>
                <a:cs typeface="+mn-cs"/>
              </a:rPr>
              <a:t>© 2025 Clarivate. All rights reserved.</a:t>
            </a:r>
          </a:p>
        </p:txBody>
      </p:sp>
      <p:sp>
        <p:nvSpPr>
          <p:cNvPr id="5" name="Slide Number Placeholder 4">
            <a:extLst>
              <a:ext uri="{FF2B5EF4-FFF2-40B4-BE49-F238E27FC236}">
                <a16:creationId xmlns:a16="http://schemas.microsoft.com/office/drawing/2014/main" id="{D35E57C1-CAF3-D1E8-4DAB-E73AA1EAC63F}"/>
              </a:ext>
            </a:extLst>
          </p:cNvPr>
          <p:cNvSpPr>
            <a:spLocks noGrp="1"/>
          </p:cNvSpPr>
          <p:nvPr>
            <p:ph type="sldNum" sz="quarter" idx="11"/>
          </p:nvPr>
        </p:nvSpPr>
        <p:spPr/>
        <p:txBody>
          <a:bodyPr vert="horz" lIns="0" tIns="0" rIns="0" bIns="0" rtlCol="0" anchor="ctr">
            <a:norm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F59CD943-D024-467A-B36E-F11E1285ED75}" type="slidenum">
              <a:rPr kumimoji="0" lang="en-GB" sz="900" b="0" i="0" u="none" strike="noStrike" kern="1200" cap="none" spc="0" normalizeH="0" baseline="0" noProof="0" smtClean="0">
                <a:ln>
                  <a:noFill/>
                </a:ln>
                <a:solidFill>
                  <a:prstClr val="black"/>
                </a:solidFill>
                <a:effectLst/>
                <a:uLnTx/>
                <a:uFillTx/>
                <a:latin typeface="Avenir Next LT Pro"/>
                <a:ea typeface="+mn-ea"/>
                <a:cs typeface="+mn-cs"/>
              </a:rPr>
              <a:pPr marL="0" marR="0" lvl="0" indent="0" algn="l" defTabSz="914400" rtl="0" eaLnBrk="1" fontAlgn="auto" latinLnBrk="0" hangingPunct="1">
                <a:lnSpc>
                  <a:spcPct val="100000"/>
                </a:lnSpc>
                <a:spcBef>
                  <a:spcPts val="0"/>
                </a:spcBef>
                <a:spcAft>
                  <a:spcPts val="600"/>
                </a:spcAft>
                <a:buClrTx/>
                <a:buSzTx/>
                <a:buFontTx/>
                <a:buNone/>
                <a:tabLst/>
                <a:defRPr/>
              </a:pPr>
              <a:t>8</a:t>
            </a:fld>
            <a:endParaRPr kumimoji="0" lang="en-GB" sz="900" b="0" i="0" u="none" strike="noStrike" kern="1200" cap="none" spc="0" normalizeH="0" baseline="0" noProof="0">
              <a:ln>
                <a:noFill/>
              </a:ln>
              <a:solidFill>
                <a:prstClr val="black"/>
              </a:solidFill>
              <a:effectLst/>
              <a:uLnTx/>
              <a:uFillTx/>
              <a:latin typeface="Avenir Next LT Pro"/>
              <a:ea typeface="+mn-ea"/>
              <a:cs typeface="+mn-cs"/>
            </a:endParaRPr>
          </a:p>
        </p:txBody>
      </p:sp>
      <p:sp>
        <p:nvSpPr>
          <p:cNvPr id="11" name="Rectangle 10">
            <a:extLst>
              <a:ext uri="{FF2B5EF4-FFF2-40B4-BE49-F238E27FC236}">
                <a16:creationId xmlns:a16="http://schemas.microsoft.com/office/drawing/2014/main" id="{59CF600E-C7E0-D6C4-0614-2E4A38B288EB}"/>
              </a:ext>
            </a:extLst>
          </p:cNvPr>
          <p:cNvSpPr/>
          <p:nvPr/>
        </p:nvSpPr>
        <p:spPr>
          <a:xfrm rot="10800000">
            <a:off x="-3" y="5107243"/>
            <a:ext cx="12192001" cy="1750757"/>
          </a:xfrm>
          <a:prstGeom prst="rect">
            <a:avLst/>
          </a:pr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venir Next LT Pro"/>
              <a:ea typeface="+mn-ea"/>
              <a:cs typeface="+mn-cs"/>
            </a:endParaRPr>
          </a:p>
        </p:txBody>
      </p:sp>
      <p:sp>
        <p:nvSpPr>
          <p:cNvPr id="13" name="Footer Placeholder 6">
            <a:extLst>
              <a:ext uri="{FF2B5EF4-FFF2-40B4-BE49-F238E27FC236}">
                <a16:creationId xmlns:a16="http://schemas.microsoft.com/office/drawing/2014/main" id="{84C19537-39FF-EF79-AC22-F471EB46C1A7}"/>
              </a:ext>
            </a:extLst>
          </p:cNvPr>
          <p:cNvSpPr txBox="1">
            <a:spLocks/>
          </p:cNvSpPr>
          <p:nvPr/>
        </p:nvSpPr>
        <p:spPr>
          <a:xfrm>
            <a:off x="8040688" y="6348353"/>
            <a:ext cx="3292473" cy="215901"/>
          </a:xfrm>
          <a:prstGeom prst="rect">
            <a:avLst/>
          </a:prstGeom>
        </p:spPr>
        <p:txBody>
          <a:bodyPr vert="horz" lIns="0" tIns="0" rIns="0" bIns="0" rtlCol="0" anchor="ctr"/>
          <a:lstStyle>
            <a:defPPr>
              <a:defRPr kern="0"/>
            </a:defPPr>
            <a:lvl1pPr algn="r">
              <a:defRPr sz="900">
                <a:solidFill>
                  <a:schemeClr val="tx1"/>
                </a:solidFill>
              </a:defRPr>
            </a:lvl1pPr>
          </a:lstStyle>
          <a:p>
            <a:pPr rtl="0">
              <a:defRPr/>
            </a:pPr>
            <a:r>
              <a:rPr lang="en-GB" kern="1200">
                <a:solidFill>
                  <a:prstClr val="white"/>
                </a:solidFill>
                <a:latin typeface="Avenir Next LT Pro"/>
                <a:ea typeface="+mn-ea"/>
                <a:cs typeface="+mn-cs"/>
              </a:rPr>
              <a:t>© 2023 Clarivate</a:t>
            </a:r>
          </a:p>
        </p:txBody>
      </p:sp>
      <p:sp>
        <p:nvSpPr>
          <p:cNvPr id="14" name="Slide Number Placeholder 3">
            <a:extLst>
              <a:ext uri="{FF2B5EF4-FFF2-40B4-BE49-F238E27FC236}">
                <a16:creationId xmlns:a16="http://schemas.microsoft.com/office/drawing/2014/main" id="{A108F6E4-2F7E-9328-5117-FAA1FD27FE1B}"/>
              </a:ext>
            </a:extLst>
          </p:cNvPr>
          <p:cNvSpPr txBox="1">
            <a:spLocks/>
          </p:cNvSpPr>
          <p:nvPr/>
        </p:nvSpPr>
        <p:spPr>
          <a:xfrm>
            <a:off x="11506200" y="6348353"/>
            <a:ext cx="216000" cy="215900"/>
          </a:xfrm>
          <a:prstGeom prst="rect">
            <a:avLst/>
          </a:prstGeom>
        </p:spPr>
        <p:txBody>
          <a:bodyPr vert="horz" lIns="0" tIns="0" rIns="0" bIns="0" rtlCol="0" anchor="ctr"/>
          <a:lstStyle>
            <a:defPPr>
              <a:defRPr kern="0"/>
            </a:defPPr>
            <a:lvl1pPr algn="l">
              <a:defRPr sz="900">
                <a:solidFill>
                  <a:schemeClr val="tx1"/>
                </a:solidFill>
                <a:latin typeface="+mn-lt"/>
              </a:defRPr>
            </a:lvl1pPr>
          </a:lstStyle>
          <a:p>
            <a:pPr rtl="0">
              <a:defRPr/>
            </a:pPr>
            <a:fld id="{F59CD943-D024-467A-B36E-F11E1285ED75}" type="slidenum">
              <a:rPr lang="en-US" kern="1200" smtClean="0">
                <a:solidFill>
                  <a:prstClr val="white"/>
                </a:solidFill>
                <a:latin typeface="Avenir Next LT Pro"/>
                <a:ea typeface="+mn-ea"/>
                <a:cs typeface="+mn-cs"/>
              </a:rPr>
              <a:pPr rtl="0">
                <a:defRPr/>
              </a:pPr>
              <a:t>8</a:t>
            </a:fld>
            <a:endParaRPr lang="en-US" kern="1200">
              <a:solidFill>
                <a:prstClr val="white"/>
              </a:solidFill>
              <a:latin typeface="Avenir Next LT Pro"/>
              <a:ea typeface="+mn-ea"/>
              <a:cs typeface="+mn-cs"/>
            </a:endParaRPr>
          </a:p>
        </p:txBody>
      </p:sp>
      <p:pic>
        <p:nvPicPr>
          <p:cNvPr id="15" name="Picture Placeholder 13">
            <a:extLst>
              <a:ext uri="{FF2B5EF4-FFF2-40B4-BE49-F238E27FC236}">
                <a16:creationId xmlns:a16="http://schemas.microsoft.com/office/drawing/2014/main" id="{41D94CC4-33E6-4F66-1C53-D3B75FDBA54B}"/>
              </a:ext>
            </a:extLst>
          </p:cNvPr>
          <p:cNvPicPr>
            <a:picLocks noChangeAspect="1"/>
          </p:cNvPicPr>
          <p:nvPr/>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l="6945" t="19498" r="6909" b="15243"/>
          <a:stretch/>
        </p:blipFill>
        <p:spPr>
          <a:xfrm>
            <a:off x="548482" y="6308725"/>
            <a:ext cx="1381418" cy="309766"/>
          </a:xfrm>
          <a:prstGeom prst="rect">
            <a:avLst/>
          </a:prstGeom>
        </p:spPr>
      </p:pic>
      <p:sp>
        <p:nvSpPr>
          <p:cNvPr id="2" name="object 26">
            <a:extLst>
              <a:ext uri="{FF2B5EF4-FFF2-40B4-BE49-F238E27FC236}">
                <a16:creationId xmlns:a16="http://schemas.microsoft.com/office/drawing/2014/main" id="{40B1CF85-7972-5B47-4E5A-007A280D37FC}"/>
              </a:ext>
            </a:extLst>
          </p:cNvPr>
          <p:cNvSpPr txBox="1"/>
          <p:nvPr/>
        </p:nvSpPr>
        <p:spPr>
          <a:xfrm>
            <a:off x="-1021542" y="199035"/>
            <a:ext cx="8053578" cy="443711"/>
          </a:xfrm>
          <a:prstGeom prst="rect">
            <a:avLst/>
          </a:prstGeom>
        </p:spPr>
        <p:txBody>
          <a:bodyPr vert="horz" wrap="square" lIns="0" tIns="12700" rIns="0" bIns="0" rtlCol="0">
            <a:spAutoFit/>
          </a:bodyPr>
          <a:lstStyle/>
          <a:p>
            <a:pPr algn="ctr">
              <a:lnSpc>
                <a:spcPct val="100000"/>
              </a:lnSpc>
              <a:spcBef>
                <a:spcPts val="100"/>
              </a:spcBef>
            </a:pPr>
            <a:r>
              <a:rPr sz="2800" b="1" spc="-10" dirty="0">
                <a:solidFill>
                  <a:srgbClr val="B175E1"/>
                </a:solidFill>
                <a:latin typeface="+mj-lt"/>
                <a:cs typeface="Calibri"/>
              </a:rPr>
              <a:t>Challen</a:t>
            </a:r>
            <a:r>
              <a:rPr lang="en-US" sz="2800" b="1" spc="-10" dirty="0">
                <a:solidFill>
                  <a:srgbClr val="B175E1"/>
                </a:solidFill>
                <a:latin typeface="+mj-lt"/>
                <a:cs typeface="Calibri"/>
              </a:rPr>
              <a:t>g</a:t>
            </a:r>
            <a:r>
              <a:rPr sz="2800" b="1" spc="-10" dirty="0">
                <a:solidFill>
                  <a:srgbClr val="B175E1"/>
                </a:solidFill>
                <a:latin typeface="+mj-lt"/>
                <a:cs typeface="Calibri"/>
              </a:rPr>
              <a:t>es</a:t>
            </a:r>
            <a:r>
              <a:rPr sz="2800" b="1" spc="-30" dirty="0">
                <a:solidFill>
                  <a:srgbClr val="B175E1"/>
                </a:solidFill>
                <a:latin typeface="+mj-lt"/>
                <a:cs typeface="Calibri"/>
              </a:rPr>
              <a:t> </a:t>
            </a:r>
            <a:r>
              <a:rPr sz="2800" b="1" dirty="0">
                <a:solidFill>
                  <a:srgbClr val="B175E1"/>
                </a:solidFill>
                <a:latin typeface="+mj-lt"/>
                <a:cs typeface="Calibri"/>
              </a:rPr>
              <a:t>in</a:t>
            </a:r>
            <a:r>
              <a:rPr sz="2800" b="1" spc="-45" dirty="0">
                <a:solidFill>
                  <a:srgbClr val="B175E1"/>
                </a:solidFill>
                <a:latin typeface="+mj-lt"/>
                <a:cs typeface="Calibri"/>
              </a:rPr>
              <a:t> </a:t>
            </a:r>
            <a:r>
              <a:rPr sz="2800" b="1" dirty="0">
                <a:solidFill>
                  <a:srgbClr val="B175E1"/>
                </a:solidFill>
                <a:latin typeface="+mj-lt"/>
                <a:cs typeface="Calibri"/>
              </a:rPr>
              <a:t>Higher</a:t>
            </a:r>
            <a:r>
              <a:rPr sz="2800" b="1" spc="-45" dirty="0">
                <a:solidFill>
                  <a:srgbClr val="B175E1"/>
                </a:solidFill>
                <a:latin typeface="+mj-lt"/>
                <a:cs typeface="Calibri"/>
              </a:rPr>
              <a:t> </a:t>
            </a:r>
            <a:r>
              <a:rPr sz="2800" b="1" spc="-10" dirty="0">
                <a:solidFill>
                  <a:srgbClr val="B175E1"/>
                </a:solidFill>
                <a:latin typeface="+mj-lt"/>
                <a:cs typeface="Calibri"/>
              </a:rPr>
              <a:t>Education</a:t>
            </a:r>
            <a:endParaRPr sz="2800" dirty="0">
              <a:solidFill>
                <a:srgbClr val="B175E1"/>
              </a:solidFill>
              <a:latin typeface="+mj-lt"/>
              <a:cs typeface="Calibri"/>
            </a:endParaRPr>
          </a:p>
        </p:txBody>
      </p:sp>
      <p:sp>
        <p:nvSpPr>
          <p:cNvPr id="17" name="object 24">
            <a:extLst>
              <a:ext uri="{FF2B5EF4-FFF2-40B4-BE49-F238E27FC236}">
                <a16:creationId xmlns:a16="http://schemas.microsoft.com/office/drawing/2014/main" id="{06FD1773-F849-7578-E69B-C48E768BCB93}"/>
              </a:ext>
            </a:extLst>
          </p:cNvPr>
          <p:cNvSpPr txBox="1"/>
          <p:nvPr/>
        </p:nvSpPr>
        <p:spPr>
          <a:xfrm>
            <a:off x="620884" y="831644"/>
            <a:ext cx="11111738" cy="320601"/>
          </a:xfrm>
          <a:prstGeom prst="rect">
            <a:avLst/>
          </a:prstGeom>
        </p:spPr>
        <p:txBody>
          <a:bodyPr vert="horz" wrap="square" lIns="0" tIns="12700" rIns="0" bIns="0" rtlCol="0">
            <a:spAutoFit/>
          </a:bodyPr>
          <a:lstStyle/>
          <a:p>
            <a:pPr marL="2921000" marR="5080" indent="-2908935">
              <a:lnSpc>
                <a:spcPct val="100000"/>
              </a:lnSpc>
              <a:spcBef>
                <a:spcPts val="100"/>
              </a:spcBef>
            </a:pPr>
            <a:r>
              <a:rPr sz="2000" spc="114" dirty="0">
                <a:solidFill>
                  <a:schemeClr val="tx1"/>
                </a:solidFill>
                <a:latin typeface="+mn-lt"/>
                <a:cs typeface="Calibri"/>
              </a:rPr>
              <a:t>What</a:t>
            </a:r>
            <a:r>
              <a:rPr sz="2000" spc="70" dirty="0">
                <a:solidFill>
                  <a:schemeClr val="tx1"/>
                </a:solidFill>
                <a:latin typeface="+mn-lt"/>
                <a:cs typeface="Calibri"/>
              </a:rPr>
              <a:t> </a:t>
            </a:r>
            <a:r>
              <a:rPr sz="2000" spc="110" dirty="0">
                <a:solidFill>
                  <a:schemeClr val="tx1"/>
                </a:solidFill>
                <a:latin typeface="+mn-lt"/>
                <a:cs typeface="Calibri"/>
              </a:rPr>
              <a:t>are</a:t>
            </a:r>
            <a:r>
              <a:rPr sz="2000" spc="75" dirty="0">
                <a:solidFill>
                  <a:schemeClr val="tx1"/>
                </a:solidFill>
                <a:latin typeface="+mn-lt"/>
                <a:cs typeface="Calibri"/>
              </a:rPr>
              <a:t> </a:t>
            </a:r>
            <a:r>
              <a:rPr sz="2000" spc="105" dirty="0">
                <a:solidFill>
                  <a:schemeClr val="tx1"/>
                </a:solidFill>
                <a:latin typeface="+mn-lt"/>
                <a:cs typeface="Calibri"/>
              </a:rPr>
              <a:t>the</a:t>
            </a:r>
            <a:r>
              <a:rPr sz="2000" spc="85" dirty="0">
                <a:solidFill>
                  <a:schemeClr val="tx1"/>
                </a:solidFill>
                <a:latin typeface="+mn-lt"/>
                <a:cs typeface="Calibri"/>
              </a:rPr>
              <a:t> </a:t>
            </a:r>
            <a:r>
              <a:rPr sz="2000" spc="235" dirty="0">
                <a:solidFill>
                  <a:schemeClr val="tx1"/>
                </a:solidFill>
                <a:latin typeface="+mn-lt"/>
                <a:cs typeface="Calibri"/>
              </a:rPr>
              <a:t>biggest</a:t>
            </a:r>
            <a:r>
              <a:rPr sz="2000" spc="90" dirty="0">
                <a:solidFill>
                  <a:schemeClr val="tx1"/>
                </a:solidFill>
                <a:latin typeface="+mn-lt"/>
                <a:cs typeface="Calibri"/>
              </a:rPr>
              <a:t> </a:t>
            </a:r>
            <a:r>
              <a:rPr sz="2000" spc="190" dirty="0">
                <a:solidFill>
                  <a:schemeClr val="tx1"/>
                </a:solidFill>
                <a:latin typeface="+mn-lt"/>
                <a:cs typeface="Calibri"/>
              </a:rPr>
              <a:t>challenges</a:t>
            </a:r>
            <a:r>
              <a:rPr sz="2000" spc="65" dirty="0">
                <a:solidFill>
                  <a:schemeClr val="tx1"/>
                </a:solidFill>
                <a:latin typeface="+mn-lt"/>
                <a:cs typeface="Calibri"/>
              </a:rPr>
              <a:t> </a:t>
            </a:r>
            <a:r>
              <a:rPr sz="2000" spc="160" dirty="0">
                <a:solidFill>
                  <a:schemeClr val="tx1"/>
                </a:solidFill>
                <a:latin typeface="+mn-lt"/>
                <a:cs typeface="Calibri"/>
              </a:rPr>
              <a:t>you</a:t>
            </a:r>
            <a:r>
              <a:rPr sz="2000" spc="85" dirty="0">
                <a:solidFill>
                  <a:schemeClr val="tx1"/>
                </a:solidFill>
                <a:latin typeface="+mn-lt"/>
                <a:cs typeface="Calibri"/>
              </a:rPr>
              <a:t> </a:t>
            </a:r>
            <a:r>
              <a:rPr sz="2000" spc="140" dirty="0">
                <a:solidFill>
                  <a:schemeClr val="tx1"/>
                </a:solidFill>
                <a:latin typeface="+mn-lt"/>
                <a:cs typeface="Calibri"/>
              </a:rPr>
              <a:t>face</a:t>
            </a:r>
            <a:r>
              <a:rPr sz="2000" spc="80" dirty="0">
                <a:solidFill>
                  <a:schemeClr val="tx1"/>
                </a:solidFill>
                <a:latin typeface="+mn-lt"/>
                <a:cs typeface="Calibri"/>
              </a:rPr>
              <a:t> </a:t>
            </a:r>
            <a:r>
              <a:rPr sz="2000" spc="114" dirty="0">
                <a:solidFill>
                  <a:schemeClr val="tx1"/>
                </a:solidFill>
                <a:latin typeface="+mn-lt"/>
                <a:cs typeface="Calibri"/>
              </a:rPr>
              <a:t>related</a:t>
            </a:r>
            <a:r>
              <a:rPr sz="2000" spc="60" dirty="0">
                <a:solidFill>
                  <a:schemeClr val="tx1"/>
                </a:solidFill>
                <a:latin typeface="+mn-lt"/>
                <a:cs typeface="Calibri"/>
              </a:rPr>
              <a:t> </a:t>
            </a:r>
            <a:r>
              <a:rPr sz="2000" spc="65" dirty="0">
                <a:solidFill>
                  <a:schemeClr val="tx1"/>
                </a:solidFill>
                <a:latin typeface="+mn-lt"/>
                <a:cs typeface="Calibri"/>
              </a:rPr>
              <a:t>to </a:t>
            </a:r>
            <a:r>
              <a:rPr sz="2000" spc="229" dirty="0">
                <a:solidFill>
                  <a:schemeClr val="tx1"/>
                </a:solidFill>
                <a:latin typeface="+mn-lt"/>
                <a:cs typeface="Calibri"/>
              </a:rPr>
              <a:t>ETDs?</a:t>
            </a:r>
            <a:endParaRPr sz="2000" dirty="0">
              <a:solidFill>
                <a:schemeClr val="tx1"/>
              </a:solidFill>
              <a:latin typeface="+mn-lt"/>
              <a:cs typeface="Calibri"/>
            </a:endParaRPr>
          </a:p>
        </p:txBody>
      </p:sp>
      <p:sp>
        <p:nvSpPr>
          <p:cNvPr id="46" name="TextBox 45">
            <a:extLst>
              <a:ext uri="{FF2B5EF4-FFF2-40B4-BE49-F238E27FC236}">
                <a16:creationId xmlns:a16="http://schemas.microsoft.com/office/drawing/2014/main" id="{E2B94E85-8EFE-1140-2810-8CB8E1C49EB3}"/>
              </a:ext>
            </a:extLst>
          </p:cNvPr>
          <p:cNvSpPr txBox="1"/>
          <p:nvPr/>
        </p:nvSpPr>
        <p:spPr>
          <a:xfrm>
            <a:off x="2206459" y="2253681"/>
            <a:ext cx="3657600" cy="706967"/>
          </a:xfrm>
          <a:prstGeom prst="rect">
            <a:avLst/>
          </a:prstGeom>
          <a:solidFill>
            <a:schemeClr val="bg1"/>
          </a:solidFill>
          <a:ln>
            <a:noFill/>
          </a:ln>
        </p:spPr>
        <p:txBody>
          <a:bodyPr wrap="square" rtlCol="0">
            <a:noAutofit/>
          </a:bodyPr>
          <a:lstStyle/>
          <a:p>
            <a:pPr algn="l">
              <a:spcBef>
                <a:spcPts val="600"/>
              </a:spcBef>
              <a:spcAft>
                <a:spcPts val="600"/>
              </a:spcAft>
            </a:pPr>
            <a:r>
              <a:rPr lang="en-US" sz="2400" dirty="0">
                <a:latin typeface="+mn-lt"/>
                <a:ea typeface="Calibri" panose="020F0502020204030204" pitchFamily="34" charset="0"/>
                <a:cs typeface="Calibri" panose="020F0502020204030204" pitchFamily="34" charset="0"/>
              </a:rPr>
              <a:t>Copyright &amp; IP</a:t>
            </a:r>
          </a:p>
          <a:p>
            <a:pPr algn="l">
              <a:spcBef>
                <a:spcPts val="600"/>
              </a:spcBef>
              <a:spcAft>
                <a:spcPts val="600"/>
              </a:spcAft>
            </a:pPr>
            <a:endParaRPr lang="en-US" sz="2400" dirty="0"/>
          </a:p>
        </p:txBody>
      </p:sp>
      <p:pic>
        <p:nvPicPr>
          <p:cNvPr id="48" name="Graphic 47">
            <a:extLst>
              <a:ext uri="{FF2B5EF4-FFF2-40B4-BE49-F238E27FC236}">
                <a16:creationId xmlns:a16="http://schemas.microsoft.com/office/drawing/2014/main" id="{FAE40A65-D005-BB3F-458A-F58CA16F4E3C}"/>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rcRect l="13" r="13"/>
          <a:stretch/>
        </p:blipFill>
        <p:spPr>
          <a:xfrm>
            <a:off x="1013414" y="1996663"/>
            <a:ext cx="835720" cy="835943"/>
          </a:xfrm>
          <a:prstGeom prst="rect">
            <a:avLst/>
          </a:prstGeom>
        </p:spPr>
      </p:pic>
      <p:pic>
        <p:nvPicPr>
          <p:cNvPr id="49" name="Graphic 48">
            <a:extLst>
              <a:ext uri="{FF2B5EF4-FFF2-40B4-BE49-F238E27FC236}">
                <a16:creationId xmlns:a16="http://schemas.microsoft.com/office/drawing/2014/main" id="{7071935D-427E-DC7B-96D8-7EB8A96B1844}"/>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rcRect t="127" b="127"/>
          <a:stretch/>
        </p:blipFill>
        <p:spPr>
          <a:xfrm>
            <a:off x="6320068" y="2000654"/>
            <a:ext cx="914992" cy="912667"/>
          </a:xfrm>
          <a:prstGeom prst="rect">
            <a:avLst/>
          </a:prstGeom>
        </p:spPr>
      </p:pic>
      <p:pic>
        <p:nvPicPr>
          <p:cNvPr id="50" name="Graphic 49">
            <a:extLst>
              <a:ext uri="{FF2B5EF4-FFF2-40B4-BE49-F238E27FC236}">
                <a16:creationId xmlns:a16="http://schemas.microsoft.com/office/drawing/2014/main" id="{485F8702-E199-7507-7127-35D110D481C5}"/>
              </a:ext>
              <a:ext uri="{C183D7F6-B498-43B3-948B-1728B52AA6E4}">
                <adec:decorative xmlns:adec="http://schemas.microsoft.com/office/drawing/2017/decorative" val="1"/>
              </a:ext>
            </a:extLst>
          </p:cNvPr>
          <p:cNvPicPr>
            <a:picLocks noChangeAspect="1"/>
          </p:cNvPicPr>
          <p:nvPr/>
        </p:nvPicPr>
        <p:blipFill>
          <a:blip r:embed="rId8">
            <a:extLst>
              <a:ext uri="{96DAC541-7B7A-43D3-8B79-37D633B846F1}">
                <asvg:svgBlip xmlns:asvg="http://schemas.microsoft.com/office/drawing/2016/SVG/main" r:embed="rId9"/>
              </a:ext>
            </a:extLst>
          </a:blip>
          <a:srcRect l="317" r="317"/>
          <a:stretch/>
        </p:blipFill>
        <p:spPr>
          <a:xfrm>
            <a:off x="6407438" y="3355163"/>
            <a:ext cx="743973" cy="706966"/>
          </a:xfrm>
          <a:prstGeom prst="rect">
            <a:avLst/>
          </a:prstGeom>
        </p:spPr>
      </p:pic>
      <p:pic>
        <p:nvPicPr>
          <p:cNvPr id="51" name="Graphic 50">
            <a:extLst>
              <a:ext uri="{FF2B5EF4-FFF2-40B4-BE49-F238E27FC236}">
                <a16:creationId xmlns:a16="http://schemas.microsoft.com/office/drawing/2014/main" id="{972EC491-F19B-52E1-4403-D96366E6C130}"/>
              </a:ext>
              <a:ext uri="{C183D7F6-B498-43B3-948B-1728B52AA6E4}">
                <adec:decorative xmlns:adec="http://schemas.microsoft.com/office/drawing/2017/decorative" val="1"/>
              </a:ext>
            </a:extLst>
          </p:cNvPr>
          <p:cNvPicPr>
            <a:picLocks noChangeAspect="1"/>
          </p:cNvPicPr>
          <p:nvPr/>
        </p:nvPicPr>
        <p:blipFill>
          <a:blip r:embed="rId10">
            <a:extLst>
              <a:ext uri="{96DAC541-7B7A-43D3-8B79-37D633B846F1}">
                <asvg:svgBlip xmlns:asvg="http://schemas.microsoft.com/office/drawing/2016/SVG/main" r:embed="rId11"/>
              </a:ext>
            </a:extLst>
          </a:blip>
          <a:srcRect t="61" b="61"/>
          <a:stretch/>
        </p:blipFill>
        <p:spPr>
          <a:xfrm>
            <a:off x="1013413" y="3355163"/>
            <a:ext cx="835721" cy="836399"/>
          </a:xfrm>
          <a:prstGeom prst="rect">
            <a:avLst/>
          </a:prstGeom>
        </p:spPr>
      </p:pic>
      <p:sp>
        <p:nvSpPr>
          <p:cNvPr id="53" name="TextBox 52">
            <a:extLst>
              <a:ext uri="{FF2B5EF4-FFF2-40B4-BE49-F238E27FC236}">
                <a16:creationId xmlns:a16="http://schemas.microsoft.com/office/drawing/2014/main" id="{74AF8A43-B5B9-4D18-8F80-3AE101F434AE}"/>
              </a:ext>
            </a:extLst>
          </p:cNvPr>
          <p:cNvSpPr txBox="1"/>
          <p:nvPr/>
        </p:nvSpPr>
        <p:spPr>
          <a:xfrm>
            <a:off x="2206459" y="3536155"/>
            <a:ext cx="3657600" cy="706967"/>
          </a:xfrm>
          <a:prstGeom prst="rect">
            <a:avLst/>
          </a:prstGeom>
          <a:solidFill>
            <a:schemeClr val="bg1"/>
          </a:solidFill>
          <a:ln>
            <a:noFill/>
          </a:ln>
        </p:spPr>
        <p:txBody>
          <a:bodyPr wrap="square" rtlCol="0">
            <a:noAutofit/>
          </a:bodyPr>
          <a:lstStyle/>
          <a:p>
            <a:pPr algn="l">
              <a:spcBef>
                <a:spcPts val="600"/>
              </a:spcBef>
              <a:spcAft>
                <a:spcPts val="600"/>
              </a:spcAft>
            </a:pPr>
            <a:r>
              <a:rPr lang="en-US" sz="2400" dirty="0">
                <a:latin typeface="+mn-lt"/>
                <a:ea typeface="Calibri" panose="020F0502020204030204" pitchFamily="34" charset="0"/>
                <a:cs typeface="Calibri" panose="020F0502020204030204" pitchFamily="34" charset="0"/>
              </a:rPr>
              <a:t>Discovery &amp; Accessibility</a:t>
            </a:r>
          </a:p>
          <a:p>
            <a:pPr algn="l">
              <a:spcBef>
                <a:spcPts val="600"/>
              </a:spcBef>
              <a:spcAft>
                <a:spcPts val="600"/>
              </a:spcAft>
            </a:pPr>
            <a:endParaRPr lang="en-US" sz="2400" dirty="0"/>
          </a:p>
        </p:txBody>
      </p:sp>
      <p:sp>
        <p:nvSpPr>
          <p:cNvPr id="54" name="TextBox 53">
            <a:extLst>
              <a:ext uri="{FF2B5EF4-FFF2-40B4-BE49-F238E27FC236}">
                <a16:creationId xmlns:a16="http://schemas.microsoft.com/office/drawing/2014/main" id="{F5D9D306-C966-EDCD-9C1B-7496F024A528}"/>
              </a:ext>
            </a:extLst>
          </p:cNvPr>
          <p:cNvSpPr txBox="1"/>
          <p:nvPr/>
        </p:nvSpPr>
        <p:spPr>
          <a:xfrm>
            <a:off x="7619126" y="2253680"/>
            <a:ext cx="3657600" cy="706967"/>
          </a:xfrm>
          <a:prstGeom prst="rect">
            <a:avLst/>
          </a:prstGeom>
          <a:solidFill>
            <a:schemeClr val="bg1"/>
          </a:solidFill>
          <a:ln>
            <a:noFill/>
          </a:ln>
        </p:spPr>
        <p:txBody>
          <a:bodyPr wrap="square" rtlCol="0">
            <a:noAutofit/>
          </a:bodyPr>
          <a:lstStyle/>
          <a:p>
            <a:pPr algn="l">
              <a:spcBef>
                <a:spcPts val="600"/>
              </a:spcBef>
              <a:spcAft>
                <a:spcPts val="600"/>
              </a:spcAft>
            </a:pPr>
            <a:r>
              <a:rPr lang="en-US" sz="2400" dirty="0">
                <a:latin typeface="+mn-lt"/>
                <a:ea typeface="Calibri" panose="020F0502020204030204" pitchFamily="34" charset="0"/>
                <a:cs typeface="Calibri" panose="020F0502020204030204" pitchFamily="34" charset="0"/>
              </a:rPr>
              <a:t>Access &amp; Preservation</a:t>
            </a:r>
          </a:p>
          <a:p>
            <a:pPr algn="l">
              <a:spcBef>
                <a:spcPts val="600"/>
              </a:spcBef>
              <a:spcAft>
                <a:spcPts val="600"/>
              </a:spcAft>
            </a:pPr>
            <a:endParaRPr lang="en-US" sz="2400" dirty="0"/>
          </a:p>
        </p:txBody>
      </p:sp>
      <p:sp>
        <p:nvSpPr>
          <p:cNvPr id="55" name="TextBox 54">
            <a:extLst>
              <a:ext uri="{FF2B5EF4-FFF2-40B4-BE49-F238E27FC236}">
                <a16:creationId xmlns:a16="http://schemas.microsoft.com/office/drawing/2014/main" id="{BD9A8EAB-0520-C2E2-F044-CC05396AB8BF}"/>
              </a:ext>
            </a:extLst>
          </p:cNvPr>
          <p:cNvSpPr txBox="1"/>
          <p:nvPr/>
        </p:nvSpPr>
        <p:spPr>
          <a:xfrm>
            <a:off x="7673990" y="3493870"/>
            <a:ext cx="3657600" cy="706967"/>
          </a:xfrm>
          <a:prstGeom prst="rect">
            <a:avLst/>
          </a:prstGeom>
          <a:solidFill>
            <a:schemeClr val="bg1"/>
          </a:solidFill>
          <a:ln>
            <a:noFill/>
          </a:ln>
        </p:spPr>
        <p:txBody>
          <a:bodyPr wrap="square" rtlCol="0">
            <a:noAutofit/>
          </a:bodyPr>
          <a:lstStyle/>
          <a:p>
            <a:pPr algn="l">
              <a:spcBef>
                <a:spcPts val="600"/>
              </a:spcBef>
              <a:spcAft>
                <a:spcPts val="600"/>
              </a:spcAft>
            </a:pPr>
            <a:r>
              <a:rPr lang="en-US" sz="2400" dirty="0">
                <a:latin typeface="+mn-lt"/>
                <a:ea typeface="Calibri" panose="020F0502020204030204" pitchFamily="34" charset="0"/>
                <a:cs typeface="Calibri" panose="020F0502020204030204" pitchFamily="34" charset="0"/>
              </a:rPr>
              <a:t>Policy &amp; Compliance</a:t>
            </a:r>
          </a:p>
          <a:p>
            <a:pPr algn="l">
              <a:spcBef>
                <a:spcPts val="600"/>
              </a:spcBef>
              <a:spcAft>
                <a:spcPts val="600"/>
              </a:spcAft>
            </a:pPr>
            <a:endParaRPr lang="en-US" sz="2400" dirty="0"/>
          </a:p>
        </p:txBody>
      </p:sp>
      <p:sp>
        <p:nvSpPr>
          <p:cNvPr id="56" name="object 24">
            <a:extLst>
              <a:ext uri="{FF2B5EF4-FFF2-40B4-BE49-F238E27FC236}">
                <a16:creationId xmlns:a16="http://schemas.microsoft.com/office/drawing/2014/main" id="{E72331C1-2143-0333-25F4-B150BEDB95D7}"/>
              </a:ext>
            </a:extLst>
          </p:cNvPr>
          <p:cNvSpPr txBox="1"/>
          <p:nvPr/>
        </p:nvSpPr>
        <p:spPr>
          <a:xfrm>
            <a:off x="1484660" y="5234586"/>
            <a:ext cx="5800644" cy="764312"/>
          </a:xfrm>
          <a:prstGeom prst="rect">
            <a:avLst/>
          </a:prstGeom>
        </p:spPr>
        <p:txBody>
          <a:bodyPr vert="horz" wrap="square" lIns="0" tIns="12700" rIns="0" bIns="0" rtlCol="0">
            <a:spAutoFit/>
          </a:bodyPr>
          <a:lstStyle/>
          <a:p>
            <a:pPr marL="2921000" marR="5080" indent="-2908935">
              <a:lnSpc>
                <a:spcPct val="100000"/>
              </a:lnSpc>
              <a:spcBef>
                <a:spcPts val="100"/>
              </a:spcBef>
            </a:pPr>
            <a:r>
              <a:rPr lang="en-US" sz="2400" b="1" spc="114" dirty="0">
                <a:solidFill>
                  <a:schemeClr val="bg1"/>
                </a:solidFill>
                <a:latin typeface="+mn-lt"/>
                <a:cs typeface="Calibri"/>
              </a:rPr>
              <a:t>Which of these affects you most?</a:t>
            </a:r>
          </a:p>
          <a:p>
            <a:pPr marL="2921000" marR="5080" indent="-2908935">
              <a:lnSpc>
                <a:spcPct val="100000"/>
              </a:lnSpc>
              <a:spcBef>
                <a:spcPts val="100"/>
              </a:spcBef>
            </a:pPr>
            <a:r>
              <a:rPr lang="en-US" sz="2400" b="1" spc="114" dirty="0">
                <a:solidFill>
                  <a:schemeClr val="bg1"/>
                </a:solidFill>
                <a:latin typeface="+mn-lt"/>
                <a:cs typeface="Calibri"/>
              </a:rPr>
              <a:t>Are there other areas of concern?</a:t>
            </a:r>
            <a:endParaRPr sz="2400" b="1" dirty="0">
              <a:solidFill>
                <a:schemeClr val="bg1"/>
              </a:solidFill>
              <a:latin typeface="+mn-lt"/>
              <a:cs typeface="Calibri"/>
            </a:endParaRPr>
          </a:p>
        </p:txBody>
      </p:sp>
    </p:spTree>
    <p:extLst>
      <p:ext uri="{BB962C8B-B14F-4D97-AF65-F5344CB8AC3E}">
        <p14:creationId xmlns:p14="http://schemas.microsoft.com/office/powerpoint/2010/main" val="2543538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BD8F70-D229-0862-BA89-BE50F4DCEA65}"/>
            </a:ext>
          </a:extLst>
        </p:cNvPr>
        <p:cNvGrpSpPr/>
        <p:nvPr/>
      </p:nvGrpSpPr>
      <p:grpSpPr>
        <a:xfrm>
          <a:off x="0" y="0"/>
          <a:ext cx="0" cy="0"/>
          <a:chOff x="0" y="0"/>
          <a:chExt cx="0" cy="0"/>
        </a:xfrm>
      </p:grpSpPr>
      <p:sp>
        <p:nvSpPr>
          <p:cNvPr id="12" name="Rectangle 11">
            <a:extLst>
              <a:ext uri="{FF2B5EF4-FFF2-40B4-BE49-F238E27FC236}">
                <a16:creationId xmlns:a16="http://schemas.microsoft.com/office/drawing/2014/main" id="{2EB69D96-93D7-83BA-94CB-E9D7DA4E64A3}"/>
              </a:ext>
            </a:extLst>
          </p:cNvPr>
          <p:cNvSpPr/>
          <p:nvPr/>
        </p:nvSpPr>
        <p:spPr>
          <a:xfrm rot="10800000">
            <a:off x="-1" y="5107243"/>
            <a:ext cx="12192001" cy="1750757"/>
          </a:xfrm>
          <a:prstGeom prst="rect">
            <a:avLst/>
          </a:pr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venir Next LT Pro"/>
              <a:ea typeface="+mn-ea"/>
              <a:cs typeface="+mn-cs"/>
            </a:endParaRPr>
          </a:p>
        </p:txBody>
      </p:sp>
      <p:sp>
        <p:nvSpPr>
          <p:cNvPr id="4" name="Footer Placeholder 3">
            <a:extLst>
              <a:ext uri="{FF2B5EF4-FFF2-40B4-BE49-F238E27FC236}">
                <a16:creationId xmlns:a16="http://schemas.microsoft.com/office/drawing/2014/main" id="{55B9A2B0-4F7E-6F0C-6CD3-062A76DA1DF7}"/>
              </a:ext>
            </a:extLst>
          </p:cNvPr>
          <p:cNvSpPr>
            <a:spLocks noGrp="1"/>
          </p:cNvSpPr>
          <p:nvPr>
            <p:ph type="ftr" sz="quarter" idx="10"/>
          </p:nvPr>
        </p:nvSpPr>
        <p:spPr/>
        <p:txBody>
          <a:bodyPr vert="horz" lIns="0" tIns="0" rIns="0" bIns="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Avenir Next LT Pro"/>
                <a:ea typeface="+mn-ea"/>
                <a:cs typeface="+mn-cs"/>
              </a:rPr>
              <a:t>© 2025 Clarivate. All rights reserved.</a:t>
            </a:r>
          </a:p>
        </p:txBody>
      </p:sp>
      <p:sp>
        <p:nvSpPr>
          <p:cNvPr id="5" name="Slide Number Placeholder 4">
            <a:extLst>
              <a:ext uri="{FF2B5EF4-FFF2-40B4-BE49-F238E27FC236}">
                <a16:creationId xmlns:a16="http://schemas.microsoft.com/office/drawing/2014/main" id="{2F7AE614-FD6A-8162-8792-B9BA2B3EB785}"/>
              </a:ext>
            </a:extLst>
          </p:cNvPr>
          <p:cNvSpPr>
            <a:spLocks noGrp="1"/>
          </p:cNvSpPr>
          <p:nvPr>
            <p:ph type="sldNum" sz="quarter" idx="11"/>
          </p:nvPr>
        </p:nvSpPr>
        <p:spPr/>
        <p:txBody>
          <a:bodyPr vert="horz" lIns="0" tIns="0" rIns="0" bIns="0" rtlCol="0" anchor="ctr">
            <a:norm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F59CD943-D024-467A-B36E-F11E1285ED75}" type="slidenum">
              <a:rPr kumimoji="0" lang="en-GB" sz="900" b="0" i="0" u="none" strike="noStrike" kern="1200" cap="none" spc="0" normalizeH="0" baseline="0" noProof="0" smtClean="0">
                <a:ln>
                  <a:noFill/>
                </a:ln>
                <a:solidFill>
                  <a:prstClr val="black"/>
                </a:solidFill>
                <a:effectLst/>
                <a:uLnTx/>
                <a:uFillTx/>
                <a:latin typeface="Avenir Next LT Pro"/>
                <a:ea typeface="+mn-ea"/>
                <a:cs typeface="+mn-cs"/>
              </a:rPr>
              <a:pPr marL="0" marR="0" lvl="0" indent="0" algn="l" defTabSz="914400" rtl="0" eaLnBrk="1" fontAlgn="auto" latinLnBrk="0" hangingPunct="1">
                <a:lnSpc>
                  <a:spcPct val="100000"/>
                </a:lnSpc>
                <a:spcBef>
                  <a:spcPts val="0"/>
                </a:spcBef>
                <a:spcAft>
                  <a:spcPts val="600"/>
                </a:spcAft>
                <a:buClrTx/>
                <a:buSzTx/>
                <a:buFontTx/>
                <a:buNone/>
                <a:tabLst/>
                <a:defRPr/>
              </a:pPr>
              <a:t>9</a:t>
            </a:fld>
            <a:endParaRPr kumimoji="0" lang="en-GB" sz="900" b="0" i="0" u="none" strike="noStrike" kern="1200" cap="none" spc="0" normalizeH="0" baseline="0" noProof="0">
              <a:ln>
                <a:noFill/>
              </a:ln>
              <a:solidFill>
                <a:prstClr val="black"/>
              </a:solidFill>
              <a:effectLst/>
              <a:uLnTx/>
              <a:uFillTx/>
              <a:latin typeface="Avenir Next LT Pro"/>
              <a:ea typeface="+mn-ea"/>
              <a:cs typeface="+mn-cs"/>
            </a:endParaRPr>
          </a:p>
        </p:txBody>
      </p:sp>
      <p:sp>
        <p:nvSpPr>
          <p:cNvPr id="14" name="Slide Number Placeholder 3">
            <a:extLst>
              <a:ext uri="{FF2B5EF4-FFF2-40B4-BE49-F238E27FC236}">
                <a16:creationId xmlns:a16="http://schemas.microsoft.com/office/drawing/2014/main" id="{D56AE285-7444-3911-186A-88CE0745CF33}"/>
              </a:ext>
            </a:extLst>
          </p:cNvPr>
          <p:cNvSpPr txBox="1">
            <a:spLocks/>
          </p:cNvSpPr>
          <p:nvPr/>
        </p:nvSpPr>
        <p:spPr>
          <a:xfrm>
            <a:off x="11506200" y="6348353"/>
            <a:ext cx="216000" cy="215900"/>
          </a:xfrm>
          <a:prstGeom prst="rect">
            <a:avLst/>
          </a:prstGeom>
        </p:spPr>
        <p:txBody>
          <a:bodyPr vert="horz" lIns="0" tIns="0" rIns="0" bIns="0" rtlCol="0" anchor="ctr"/>
          <a:lstStyle>
            <a:defPPr>
              <a:defRPr kern="0"/>
            </a:defPPr>
            <a:lvl1pPr algn="l">
              <a:defRPr sz="900">
                <a:solidFill>
                  <a:schemeClr val="tx1"/>
                </a:solidFill>
                <a:latin typeface="+mn-lt"/>
              </a:defRPr>
            </a:lvl1pPr>
          </a:lstStyle>
          <a:p>
            <a:pPr rtl="0">
              <a:defRPr/>
            </a:pPr>
            <a:fld id="{F59CD943-D024-467A-B36E-F11E1285ED75}" type="slidenum">
              <a:rPr lang="en-US" kern="1200" smtClean="0">
                <a:solidFill>
                  <a:prstClr val="white"/>
                </a:solidFill>
                <a:latin typeface="Avenir Next LT Pro"/>
                <a:ea typeface="+mn-ea"/>
                <a:cs typeface="+mn-cs"/>
              </a:rPr>
              <a:pPr rtl="0">
                <a:defRPr/>
              </a:pPr>
              <a:t>9</a:t>
            </a:fld>
            <a:endParaRPr lang="en-US" kern="1200">
              <a:solidFill>
                <a:prstClr val="white"/>
              </a:solidFill>
              <a:latin typeface="Avenir Next LT Pro"/>
              <a:ea typeface="+mn-ea"/>
              <a:cs typeface="+mn-cs"/>
            </a:endParaRPr>
          </a:p>
        </p:txBody>
      </p:sp>
      <p:pic>
        <p:nvPicPr>
          <p:cNvPr id="15" name="Picture Placeholder 13">
            <a:extLst>
              <a:ext uri="{FF2B5EF4-FFF2-40B4-BE49-F238E27FC236}">
                <a16:creationId xmlns:a16="http://schemas.microsoft.com/office/drawing/2014/main" id="{03A31D5A-9C82-E303-2AC8-9BBBE3275EC7}"/>
              </a:ext>
            </a:extLst>
          </p:cNvPr>
          <p:cNvPicPr>
            <a:picLocks noChangeAspect="1"/>
          </p:cNvPicPr>
          <p:nvPr/>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l="6945" t="19498" r="6909" b="15243"/>
          <a:stretch/>
        </p:blipFill>
        <p:spPr>
          <a:xfrm>
            <a:off x="548482" y="6308725"/>
            <a:ext cx="1381418" cy="309766"/>
          </a:xfrm>
          <a:prstGeom prst="rect">
            <a:avLst/>
          </a:prstGeom>
        </p:spPr>
      </p:pic>
      <p:sp>
        <p:nvSpPr>
          <p:cNvPr id="3" name="Title 9">
            <a:extLst>
              <a:ext uri="{FF2B5EF4-FFF2-40B4-BE49-F238E27FC236}">
                <a16:creationId xmlns:a16="http://schemas.microsoft.com/office/drawing/2014/main" id="{26648B81-AFBB-EE2F-070E-4BF58DCC1F99}"/>
              </a:ext>
            </a:extLst>
          </p:cNvPr>
          <p:cNvSpPr>
            <a:spLocks noGrp="1"/>
          </p:cNvSpPr>
          <p:nvPr>
            <p:ph type="title"/>
          </p:nvPr>
        </p:nvSpPr>
        <p:spPr>
          <a:xfrm>
            <a:off x="457200" y="213024"/>
            <a:ext cx="4948174" cy="553998"/>
          </a:xfrm>
        </p:spPr>
        <p:txBody>
          <a:bodyPr/>
          <a:lstStyle/>
          <a:p>
            <a:r>
              <a:rPr lang="en-US" sz="2800" dirty="0"/>
              <a:t>Discovery</a:t>
            </a:r>
            <a:r>
              <a:rPr lang="en-US" sz="3600" dirty="0"/>
              <a:t> </a:t>
            </a:r>
            <a:r>
              <a:rPr lang="en-US" sz="2800" dirty="0"/>
              <a:t>Community</a:t>
            </a:r>
            <a:endParaRPr lang="en-US" sz="3600" dirty="0"/>
          </a:p>
        </p:txBody>
      </p:sp>
      <p:sp>
        <p:nvSpPr>
          <p:cNvPr id="6" name="object 7">
            <a:extLst>
              <a:ext uri="{FF2B5EF4-FFF2-40B4-BE49-F238E27FC236}">
                <a16:creationId xmlns:a16="http://schemas.microsoft.com/office/drawing/2014/main" id="{BB99768D-0D94-CE5C-3F02-616DAA9C3F8A}"/>
              </a:ext>
            </a:extLst>
          </p:cNvPr>
          <p:cNvSpPr txBox="1"/>
          <p:nvPr/>
        </p:nvSpPr>
        <p:spPr>
          <a:xfrm>
            <a:off x="685800" y="789140"/>
            <a:ext cx="6919118" cy="259045"/>
          </a:xfrm>
          <a:prstGeom prst="rect">
            <a:avLst/>
          </a:prstGeom>
        </p:spPr>
        <p:txBody>
          <a:bodyPr vert="horz" wrap="square" lIns="0" tIns="12700" rIns="0" bIns="0" rtlCol="0">
            <a:spAutoFit/>
          </a:bodyPr>
          <a:lstStyle/>
          <a:p>
            <a:pPr marL="12700">
              <a:lnSpc>
                <a:spcPct val="100000"/>
              </a:lnSpc>
              <a:spcBef>
                <a:spcPts val="100"/>
              </a:spcBef>
            </a:pPr>
            <a:r>
              <a:rPr sz="1600" i="1" spc="130" dirty="0">
                <a:latin typeface="+mn-lt"/>
                <a:cs typeface="Calibri"/>
              </a:rPr>
              <a:t>Help</a:t>
            </a:r>
            <a:r>
              <a:rPr sz="1600" i="1" spc="40" dirty="0">
                <a:latin typeface="+mn-lt"/>
                <a:cs typeface="Calibri"/>
              </a:rPr>
              <a:t> </a:t>
            </a:r>
            <a:r>
              <a:rPr sz="1600" i="1" spc="100" dirty="0">
                <a:latin typeface="+mn-lt"/>
                <a:cs typeface="Calibri"/>
              </a:rPr>
              <a:t>improve</a:t>
            </a:r>
            <a:r>
              <a:rPr sz="1600" i="1" spc="55" dirty="0">
                <a:latin typeface="+mn-lt"/>
                <a:cs typeface="Calibri"/>
              </a:rPr>
              <a:t> </a:t>
            </a:r>
            <a:r>
              <a:rPr sz="1600" i="1" spc="70" dirty="0">
                <a:latin typeface="+mn-lt"/>
                <a:cs typeface="Calibri"/>
              </a:rPr>
              <a:t>the</a:t>
            </a:r>
            <a:r>
              <a:rPr sz="1600" i="1" spc="45" dirty="0">
                <a:latin typeface="+mn-lt"/>
                <a:cs typeface="Calibri"/>
              </a:rPr>
              <a:t> </a:t>
            </a:r>
            <a:r>
              <a:rPr sz="1600" i="1" spc="85" dirty="0">
                <a:latin typeface="+mn-lt"/>
                <a:cs typeface="Calibri"/>
              </a:rPr>
              <a:t>ProQuest</a:t>
            </a:r>
            <a:r>
              <a:rPr sz="1600" i="1" spc="55" dirty="0">
                <a:latin typeface="+mn-lt"/>
                <a:cs typeface="Calibri"/>
              </a:rPr>
              <a:t> </a:t>
            </a:r>
            <a:r>
              <a:rPr sz="1600" i="1" spc="165" dirty="0">
                <a:latin typeface="+mn-lt"/>
                <a:cs typeface="Calibri"/>
              </a:rPr>
              <a:t>ETD</a:t>
            </a:r>
            <a:r>
              <a:rPr sz="1600" i="1" spc="40" dirty="0">
                <a:latin typeface="+mn-lt"/>
                <a:cs typeface="Calibri"/>
              </a:rPr>
              <a:t> </a:t>
            </a:r>
            <a:r>
              <a:rPr sz="1600" i="1" spc="60" dirty="0">
                <a:latin typeface="+mn-lt"/>
                <a:cs typeface="Calibri"/>
              </a:rPr>
              <a:t>Administrator</a:t>
            </a:r>
            <a:r>
              <a:rPr sz="1600" i="1" spc="65" dirty="0">
                <a:latin typeface="+mn-lt"/>
                <a:cs typeface="Calibri"/>
              </a:rPr>
              <a:t> </a:t>
            </a:r>
            <a:r>
              <a:rPr sz="1600" i="1" spc="100" dirty="0">
                <a:latin typeface="+mn-lt"/>
                <a:cs typeface="Calibri"/>
              </a:rPr>
              <a:t>experience</a:t>
            </a:r>
            <a:endParaRPr sz="1600" dirty="0">
              <a:latin typeface="+mn-lt"/>
              <a:cs typeface="Calibri"/>
            </a:endParaRPr>
          </a:p>
        </p:txBody>
      </p:sp>
      <p:sp>
        <p:nvSpPr>
          <p:cNvPr id="7" name="object 6">
            <a:extLst>
              <a:ext uri="{FF2B5EF4-FFF2-40B4-BE49-F238E27FC236}">
                <a16:creationId xmlns:a16="http://schemas.microsoft.com/office/drawing/2014/main" id="{4B4A41BB-3FF5-8026-09C9-9744CE7BB0ED}"/>
              </a:ext>
            </a:extLst>
          </p:cNvPr>
          <p:cNvSpPr txBox="1">
            <a:spLocks/>
          </p:cNvSpPr>
          <p:nvPr/>
        </p:nvSpPr>
        <p:spPr>
          <a:xfrm>
            <a:off x="2133600" y="1529960"/>
            <a:ext cx="8947785" cy="3334246"/>
          </a:xfrm>
          <a:prstGeom prst="rect">
            <a:avLst/>
          </a:prstGeom>
        </p:spPr>
        <p:txBody>
          <a:bodyPr vert="horz" wrap="square" lIns="0" tIns="12700" rIns="0" bIns="0" rtlCol="0">
            <a:spAutoFit/>
          </a:bodyPr>
          <a:lstStyle>
            <a:lvl1pPr marL="18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1pPr>
            <a:lvl2pPr marL="36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2pPr>
            <a:lvl3pPr marL="540000" indent="-180000" algn="l" defTabSz="914400" rtl="0" eaLnBrk="1" latinLnBrk="0" hangingPunct="1">
              <a:lnSpc>
                <a:spcPct val="100000"/>
              </a:lnSpc>
              <a:spcBef>
                <a:spcPts val="900"/>
              </a:spcBef>
              <a:buFont typeface="Wingdings" panose="05000000000000000000" pitchFamily="2" charset="2"/>
              <a:buChar char="§"/>
              <a:defRPr sz="1500" kern="1200">
                <a:solidFill>
                  <a:schemeClr val="tx1"/>
                </a:solidFill>
                <a:latin typeface="+mn-lt"/>
                <a:ea typeface="+mn-ea"/>
                <a:cs typeface="+mn-cs"/>
              </a:defRPr>
            </a:lvl3pPr>
            <a:lvl4pPr marL="720000" indent="-180000" algn="l" defTabSz="914400" rtl="0" eaLnBrk="1" latinLnBrk="0" hangingPunct="1">
              <a:lnSpc>
                <a:spcPct val="100000"/>
              </a:lnSpc>
              <a:spcBef>
                <a:spcPts val="900"/>
              </a:spcBef>
              <a:buClr>
                <a:schemeClr val="tx1"/>
              </a:buClr>
              <a:buFont typeface="Courier New" panose="02070309020205020404" pitchFamily="49" charset="0"/>
              <a:buChar char="o"/>
              <a:defRPr sz="1500" kern="1200">
                <a:solidFill>
                  <a:schemeClr val="tx1"/>
                </a:solidFill>
                <a:latin typeface="+mn-lt"/>
                <a:ea typeface="+mn-ea"/>
                <a:cs typeface="+mn-cs"/>
              </a:defRPr>
            </a:lvl4pPr>
            <a:lvl5pPr marL="900000" indent="-180000" algn="l" defTabSz="914400" rtl="0" eaLnBrk="1" latinLnBrk="0" hangingPunct="1">
              <a:lnSpc>
                <a:spcPct val="100000"/>
              </a:lnSpc>
              <a:spcBef>
                <a:spcPts val="900"/>
              </a:spcBef>
              <a:buClr>
                <a:schemeClr val="tx1"/>
              </a:buClr>
              <a:buFont typeface="Avenir Next LT Pro" panose="020B0504020202020204" pitchFamily="34" charset="0"/>
              <a:buChar char="–"/>
              <a:defRPr sz="1500" kern="1200">
                <a:solidFill>
                  <a:schemeClr val="tx1"/>
                </a:solidFill>
                <a:latin typeface="+mn-lt"/>
                <a:ea typeface="+mn-ea"/>
                <a:cs typeface="+mn-cs"/>
              </a:defRPr>
            </a:lvl5pPr>
            <a:lvl6pPr marL="72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0">
              <a:spcBef>
                <a:spcPts val="100"/>
              </a:spcBef>
              <a:buNone/>
              <a:tabLst>
                <a:tab pos="184150" algn="l"/>
              </a:tabLst>
            </a:pPr>
            <a:r>
              <a:rPr lang="en-US" spc="110" dirty="0">
                <a:cs typeface="Calibri"/>
              </a:rPr>
              <a:t>Get</a:t>
            </a:r>
            <a:r>
              <a:rPr lang="en-US" spc="50" dirty="0">
                <a:cs typeface="Calibri"/>
              </a:rPr>
              <a:t> </a:t>
            </a:r>
            <a:r>
              <a:rPr lang="en-US" spc="120" dirty="0"/>
              <a:t>early</a:t>
            </a:r>
            <a:r>
              <a:rPr lang="en-US" spc="50" dirty="0"/>
              <a:t> </a:t>
            </a:r>
            <a:r>
              <a:rPr lang="en-US" spc="135" dirty="0"/>
              <a:t>access</a:t>
            </a:r>
            <a:r>
              <a:rPr lang="en-US" spc="40" dirty="0"/>
              <a:t> </a:t>
            </a:r>
            <a:r>
              <a:rPr lang="en-US" spc="100" dirty="0"/>
              <a:t>to</a:t>
            </a:r>
            <a:r>
              <a:rPr lang="en-US" spc="50" dirty="0"/>
              <a:t> </a:t>
            </a:r>
            <a:r>
              <a:rPr lang="en-US" spc="180" dirty="0"/>
              <a:t>new</a:t>
            </a:r>
            <a:r>
              <a:rPr lang="en-US" spc="55" dirty="0"/>
              <a:t> </a:t>
            </a:r>
            <a:r>
              <a:rPr lang="en-US" spc="105" dirty="0"/>
              <a:t>features</a:t>
            </a:r>
            <a:r>
              <a:rPr lang="en-US" spc="45" dirty="0"/>
              <a:t> </a:t>
            </a:r>
            <a:r>
              <a:rPr lang="en-US" spc="125" dirty="0">
                <a:cs typeface="Calibri"/>
              </a:rPr>
              <a:t>and</a:t>
            </a:r>
            <a:r>
              <a:rPr lang="en-US" spc="55" dirty="0">
                <a:cs typeface="Calibri"/>
              </a:rPr>
              <a:t> </a:t>
            </a:r>
            <a:r>
              <a:rPr lang="en-US" spc="105" dirty="0">
                <a:cs typeface="Calibri"/>
              </a:rPr>
              <a:t>help</a:t>
            </a:r>
            <a:r>
              <a:rPr lang="en-US" spc="40" dirty="0">
                <a:cs typeface="Calibri"/>
              </a:rPr>
              <a:t> </a:t>
            </a:r>
            <a:r>
              <a:rPr lang="en-US" spc="125" dirty="0"/>
              <a:t>inform</a:t>
            </a:r>
            <a:r>
              <a:rPr lang="en-US" spc="50" dirty="0"/>
              <a:t> </a:t>
            </a:r>
            <a:r>
              <a:rPr lang="en-US" spc="114" dirty="0"/>
              <a:t>timeline</a:t>
            </a:r>
            <a:r>
              <a:rPr lang="en-US" spc="75" dirty="0"/>
              <a:t> </a:t>
            </a:r>
            <a:r>
              <a:rPr lang="en-US" spc="155" dirty="0"/>
              <a:t>and</a:t>
            </a:r>
            <a:r>
              <a:rPr lang="en-US" spc="50" dirty="0"/>
              <a:t> </a:t>
            </a:r>
            <a:r>
              <a:rPr lang="en-US" spc="135" dirty="0"/>
              <a:t>product</a:t>
            </a:r>
            <a:r>
              <a:rPr lang="en-US" spc="50" dirty="0"/>
              <a:t> </a:t>
            </a:r>
            <a:r>
              <a:rPr lang="en-US" spc="135" dirty="0"/>
              <a:t>roadmap</a:t>
            </a:r>
          </a:p>
          <a:p>
            <a:pPr marL="12700" indent="0">
              <a:spcBef>
                <a:spcPts val="100"/>
              </a:spcBef>
              <a:buNone/>
              <a:tabLst>
                <a:tab pos="184150" algn="l"/>
              </a:tabLst>
            </a:pPr>
            <a:endParaRPr lang="en-US" spc="135" dirty="0"/>
          </a:p>
          <a:p>
            <a:pPr>
              <a:spcBef>
                <a:spcPts val="1160"/>
              </a:spcBef>
              <a:buFont typeface="Calibri"/>
              <a:buChar char="•"/>
            </a:pPr>
            <a:endParaRPr lang="en-US" spc="135" dirty="0"/>
          </a:p>
          <a:p>
            <a:pPr marL="12700" indent="0">
              <a:buNone/>
              <a:tabLst>
                <a:tab pos="184150" algn="l"/>
              </a:tabLst>
            </a:pPr>
            <a:r>
              <a:rPr lang="en-US" spc="50" dirty="0">
                <a:cs typeface="Calibri"/>
              </a:rPr>
              <a:t>Participate</a:t>
            </a:r>
            <a:r>
              <a:rPr lang="en-US" spc="125" dirty="0">
                <a:cs typeface="Calibri"/>
              </a:rPr>
              <a:t> </a:t>
            </a:r>
            <a:r>
              <a:rPr lang="en-US" spc="55" dirty="0">
                <a:cs typeface="Calibri"/>
              </a:rPr>
              <a:t>in</a:t>
            </a:r>
            <a:r>
              <a:rPr lang="en-US" spc="100" dirty="0">
                <a:cs typeface="Calibri"/>
              </a:rPr>
              <a:t> </a:t>
            </a:r>
            <a:r>
              <a:rPr lang="en-US" spc="90" dirty="0">
                <a:cs typeface="Calibri"/>
              </a:rPr>
              <a:t>regular</a:t>
            </a:r>
            <a:r>
              <a:rPr lang="en-US" spc="100" dirty="0">
                <a:cs typeface="Calibri"/>
              </a:rPr>
              <a:t> </a:t>
            </a:r>
            <a:r>
              <a:rPr lang="en-US" dirty="0">
                <a:cs typeface="Calibri"/>
              </a:rPr>
              <a:t>virtual</a:t>
            </a:r>
            <a:r>
              <a:rPr lang="en-US" spc="110" dirty="0">
                <a:cs typeface="Calibri"/>
              </a:rPr>
              <a:t> </a:t>
            </a:r>
            <a:r>
              <a:rPr lang="en-US" spc="90" dirty="0">
                <a:cs typeface="Calibri"/>
              </a:rPr>
              <a:t>community</a:t>
            </a:r>
            <a:r>
              <a:rPr lang="en-US" spc="110" dirty="0">
                <a:cs typeface="Calibri"/>
              </a:rPr>
              <a:t> </a:t>
            </a:r>
            <a:r>
              <a:rPr lang="en-US" spc="100" dirty="0">
                <a:cs typeface="Calibri"/>
              </a:rPr>
              <a:t>workshops </a:t>
            </a:r>
            <a:r>
              <a:rPr lang="en-US" spc="25" dirty="0">
                <a:cs typeface="Calibri"/>
              </a:rPr>
              <a:t>to:</a:t>
            </a:r>
          </a:p>
          <a:p>
            <a:pPr marL="584200" lvl="1" indent="-120650">
              <a:spcBef>
                <a:spcPts val="600"/>
              </a:spcBef>
              <a:buSzPct val="94444"/>
              <a:buFont typeface="Calibri"/>
              <a:buChar char="•"/>
              <a:tabLst>
                <a:tab pos="584200" algn="l"/>
              </a:tabLst>
            </a:pPr>
            <a:r>
              <a:rPr lang="en-US" sz="1800" b="1" spc="160" dirty="0">
                <a:cs typeface="Calibri"/>
              </a:rPr>
              <a:t>Review</a:t>
            </a:r>
            <a:r>
              <a:rPr lang="en-US" sz="1800" b="1" spc="45" dirty="0">
                <a:cs typeface="Calibri"/>
              </a:rPr>
              <a:t> </a:t>
            </a:r>
            <a:r>
              <a:rPr lang="en-US" sz="1800" b="1" spc="175" dirty="0">
                <a:cs typeface="Calibri"/>
              </a:rPr>
              <a:t>new</a:t>
            </a:r>
            <a:r>
              <a:rPr lang="en-US" sz="1800" b="1" spc="50" dirty="0">
                <a:cs typeface="Calibri"/>
              </a:rPr>
              <a:t> </a:t>
            </a:r>
            <a:r>
              <a:rPr lang="en-US" sz="1800" b="1" spc="140" dirty="0">
                <a:cs typeface="Calibri"/>
              </a:rPr>
              <a:t>ideas</a:t>
            </a:r>
            <a:r>
              <a:rPr lang="en-US" sz="1800" b="1" spc="55" dirty="0">
                <a:cs typeface="Calibri"/>
              </a:rPr>
              <a:t> </a:t>
            </a:r>
            <a:r>
              <a:rPr lang="en-US" sz="1800" b="1" spc="155" dirty="0">
                <a:cs typeface="Calibri"/>
              </a:rPr>
              <a:t>and</a:t>
            </a:r>
            <a:r>
              <a:rPr lang="en-US" sz="1800" b="1" spc="50" dirty="0">
                <a:cs typeface="Calibri"/>
              </a:rPr>
              <a:t> </a:t>
            </a:r>
            <a:r>
              <a:rPr lang="en-US" sz="1800" b="1" spc="90" dirty="0">
                <a:cs typeface="Calibri"/>
              </a:rPr>
              <a:t>test</a:t>
            </a:r>
            <a:r>
              <a:rPr lang="en-US" sz="1800" b="1" spc="55" dirty="0">
                <a:cs typeface="Calibri"/>
              </a:rPr>
              <a:t> </a:t>
            </a:r>
            <a:r>
              <a:rPr lang="en-US" sz="1800" b="1" spc="175" dirty="0">
                <a:cs typeface="Calibri"/>
              </a:rPr>
              <a:t>new</a:t>
            </a:r>
            <a:r>
              <a:rPr lang="en-US" sz="1800" b="1" spc="50" dirty="0">
                <a:cs typeface="Calibri"/>
              </a:rPr>
              <a:t> </a:t>
            </a:r>
            <a:r>
              <a:rPr lang="en-US" sz="1800" b="1" spc="95" dirty="0">
                <a:cs typeface="Calibri"/>
              </a:rPr>
              <a:t>features</a:t>
            </a:r>
            <a:endParaRPr lang="en-US" sz="1800" dirty="0">
              <a:cs typeface="Calibri"/>
            </a:endParaRPr>
          </a:p>
          <a:p>
            <a:pPr marL="584200" lvl="1" indent="-120650">
              <a:spcBef>
                <a:spcPts val="600"/>
              </a:spcBef>
              <a:buSzPct val="94444"/>
              <a:buFont typeface="Calibri"/>
              <a:buChar char="•"/>
              <a:tabLst>
                <a:tab pos="584200" algn="l"/>
              </a:tabLst>
            </a:pPr>
            <a:r>
              <a:rPr lang="en-US" sz="1800" b="1" spc="140" dirty="0">
                <a:cs typeface="Calibri"/>
              </a:rPr>
              <a:t>Discuss</a:t>
            </a:r>
            <a:r>
              <a:rPr lang="en-US" sz="1800" b="1" spc="45" dirty="0">
                <a:cs typeface="Calibri"/>
              </a:rPr>
              <a:t> </a:t>
            </a:r>
            <a:r>
              <a:rPr lang="en-US" sz="1800" b="1" spc="135" dirty="0">
                <a:cs typeface="Calibri"/>
              </a:rPr>
              <a:t>your</a:t>
            </a:r>
            <a:r>
              <a:rPr lang="en-US" sz="1800" b="1" spc="55" dirty="0">
                <a:cs typeface="Calibri"/>
              </a:rPr>
              <a:t> </a:t>
            </a:r>
            <a:r>
              <a:rPr lang="en-US" sz="1800" b="1" spc="130" dirty="0">
                <a:cs typeface="Calibri"/>
              </a:rPr>
              <a:t>application</a:t>
            </a:r>
            <a:r>
              <a:rPr lang="en-US" sz="1800" b="1" spc="55" dirty="0">
                <a:cs typeface="Calibri"/>
              </a:rPr>
              <a:t> </a:t>
            </a:r>
            <a:r>
              <a:rPr lang="en-US" sz="1800" b="1" spc="160" dirty="0">
                <a:cs typeface="Calibri"/>
              </a:rPr>
              <a:t>needs</a:t>
            </a:r>
            <a:r>
              <a:rPr lang="en-US" sz="1800" b="1" spc="75" dirty="0">
                <a:cs typeface="Calibri"/>
              </a:rPr>
              <a:t> </a:t>
            </a:r>
            <a:r>
              <a:rPr lang="en-US" sz="1800" b="1" spc="140" dirty="0">
                <a:cs typeface="Calibri"/>
              </a:rPr>
              <a:t>through</a:t>
            </a:r>
            <a:r>
              <a:rPr lang="en-US" sz="1800" b="1" spc="55" dirty="0">
                <a:cs typeface="Calibri"/>
              </a:rPr>
              <a:t> </a:t>
            </a:r>
            <a:r>
              <a:rPr lang="en-US" sz="1800" b="1" spc="125" dirty="0">
                <a:cs typeface="Calibri"/>
              </a:rPr>
              <a:t>user</a:t>
            </a:r>
            <a:r>
              <a:rPr lang="en-US" sz="1800" b="1" spc="60" dirty="0">
                <a:cs typeface="Calibri"/>
              </a:rPr>
              <a:t> </a:t>
            </a:r>
            <a:r>
              <a:rPr lang="en-US" sz="1800" b="1" spc="100" dirty="0">
                <a:cs typeface="Calibri"/>
              </a:rPr>
              <a:t>stories</a:t>
            </a:r>
            <a:endParaRPr lang="en-US" sz="1800" dirty="0">
              <a:cs typeface="Calibri"/>
            </a:endParaRPr>
          </a:p>
          <a:p>
            <a:pPr marL="584200" lvl="1" indent="-120650">
              <a:spcBef>
                <a:spcPts val="600"/>
              </a:spcBef>
              <a:buSzPct val="94444"/>
              <a:buFont typeface="Calibri"/>
              <a:buChar char="•"/>
              <a:tabLst>
                <a:tab pos="584200" algn="l"/>
              </a:tabLst>
            </a:pPr>
            <a:r>
              <a:rPr lang="en-US" sz="1800" b="1" spc="105" dirty="0">
                <a:cs typeface="Calibri"/>
              </a:rPr>
              <a:t>Participate</a:t>
            </a:r>
            <a:r>
              <a:rPr lang="en-US" sz="1800" b="1" spc="65" dirty="0">
                <a:cs typeface="Calibri"/>
              </a:rPr>
              <a:t> </a:t>
            </a:r>
            <a:r>
              <a:rPr lang="en-US" sz="1800" b="1" spc="114" dirty="0">
                <a:cs typeface="Calibri"/>
              </a:rPr>
              <a:t>in</a:t>
            </a:r>
            <a:r>
              <a:rPr lang="en-US" sz="1800" b="1" spc="70" dirty="0">
                <a:cs typeface="Calibri"/>
              </a:rPr>
              <a:t> </a:t>
            </a:r>
            <a:r>
              <a:rPr lang="en-US" sz="1800" b="1" spc="110" dirty="0">
                <a:cs typeface="Calibri"/>
              </a:rPr>
              <a:t>other</a:t>
            </a:r>
            <a:r>
              <a:rPr lang="en-US" sz="1800" b="1" spc="85" dirty="0">
                <a:cs typeface="Calibri"/>
              </a:rPr>
              <a:t> </a:t>
            </a:r>
            <a:r>
              <a:rPr lang="en-US" sz="1800" b="1" spc="135" dirty="0">
                <a:cs typeface="Calibri"/>
              </a:rPr>
              <a:t>product</a:t>
            </a:r>
            <a:r>
              <a:rPr lang="en-US" sz="1800" b="1" spc="65" dirty="0">
                <a:cs typeface="Calibri"/>
              </a:rPr>
              <a:t> </a:t>
            </a:r>
            <a:r>
              <a:rPr lang="en-US" sz="1800" b="1" spc="145" dirty="0">
                <a:cs typeface="Calibri"/>
              </a:rPr>
              <a:t>discovery</a:t>
            </a:r>
            <a:r>
              <a:rPr lang="en-US" sz="1800" b="1" spc="70" dirty="0">
                <a:cs typeface="Calibri"/>
              </a:rPr>
              <a:t> </a:t>
            </a:r>
            <a:r>
              <a:rPr lang="en-US" sz="1800" b="1" spc="95" dirty="0">
                <a:cs typeface="Calibri"/>
              </a:rPr>
              <a:t>activities</a:t>
            </a:r>
          </a:p>
          <a:p>
            <a:pPr marL="463550" lvl="1" indent="0">
              <a:spcBef>
                <a:spcPts val="600"/>
              </a:spcBef>
              <a:buSzPct val="94444"/>
              <a:buNone/>
              <a:tabLst>
                <a:tab pos="584200" algn="l"/>
              </a:tabLst>
            </a:pPr>
            <a:endParaRPr lang="en-US" sz="1800" b="1" spc="95" dirty="0">
              <a:cs typeface="Calibri"/>
            </a:endParaRPr>
          </a:p>
          <a:p>
            <a:pPr marL="584200" lvl="1" indent="-120650">
              <a:spcBef>
                <a:spcPts val="600"/>
              </a:spcBef>
              <a:buSzPct val="94444"/>
              <a:buFont typeface="Calibri"/>
              <a:buChar char="•"/>
              <a:tabLst>
                <a:tab pos="584200" algn="l"/>
              </a:tabLst>
            </a:pPr>
            <a:endParaRPr lang="en-US" sz="1800" dirty="0">
              <a:cs typeface="Calibri"/>
            </a:endParaRPr>
          </a:p>
          <a:p>
            <a:pPr marL="12700" indent="0">
              <a:buNone/>
              <a:tabLst>
                <a:tab pos="184150" algn="l"/>
              </a:tabLst>
            </a:pPr>
            <a:r>
              <a:rPr lang="en-US" spc="140" dirty="0">
                <a:cs typeface="Calibri"/>
              </a:rPr>
              <a:t>Be</a:t>
            </a:r>
            <a:r>
              <a:rPr lang="en-US" spc="45" dirty="0">
                <a:cs typeface="Calibri"/>
              </a:rPr>
              <a:t> </a:t>
            </a:r>
            <a:r>
              <a:rPr lang="en-US" spc="55" dirty="0">
                <a:cs typeface="Calibri"/>
              </a:rPr>
              <a:t>part</a:t>
            </a:r>
            <a:r>
              <a:rPr lang="en-US" spc="45" dirty="0">
                <a:cs typeface="Calibri"/>
              </a:rPr>
              <a:t> </a:t>
            </a:r>
            <a:r>
              <a:rPr lang="en-US" spc="60" dirty="0">
                <a:cs typeface="Calibri"/>
              </a:rPr>
              <a:t>of</a:t>
            </a:r>
            <a:r>
              <a:rPr lang="en-US" spc="90" dirty="0">
                <a:cs typeface="Calibri"/>
              </a:rPr>
              <a:t> a</a:t>
            </a:r>
            <a:r>
              <a:rPr lang="en-US" spc="45" dirty="0">
                <a:cs typeface="Calibri"/>
              </a:rPr>
              <a:t> </a:t>
            </a:r>
            <a:r>
              <a:rPr lang="en-US" spc="114" dirty="0"/>
              <a:t>national</a:t>
            </a:r>
            <a:r>
              <a:rPr lang="en-US" spc="45" dirty="0"/>
              <a:t> </a:t>
            </a:r>
            <a:r>
              <a:rPr lang="en-US" spc="140" dirty="0"/>
              <a:t>community</a:t>
            </a:r>
            <a:r>
              <a:rPr lang="en-US" spc="60" dirty="0"/>
              <a:t> </a:t>
            </a:r>
            <a:r>
              <a:rPr lang="en-US" spc="120" dirty="0"/>
              <a:t>of</a:t>
            </a:r>
            <a:r>
              <a:rPr lang="en-US" spc="80" dirty="0"/>
              <a:t> </a:t>
            </a:r>
            <a:r>
              <a:rPr lang="en-US" spc="140" dirty="0"/>
              <a:t>colleagues</a:t>
            </a:r>
          </a:p>
        </p:txBody>
      </p:sp>
      <p:sp>
        <p:nvSpPr>
          <p:cNvPr id="8" name="object 8">
            <a:extLst>
              <a:ext uri="{FF2B5EF4-FFF2-40B4-BE49-F238E27FC236}">
                <a16:creationId xmlns:a16="http://schemas.microsoft.com/office/drawing/2014/main" id="{4939F9D3-2DB7-18AA-A4EA-2F66078222E7}"/>
              </a:ext>
            </a:extLst>
          </p:cNvPr>
          <p:cNvSpPr txBox="1"/>
          <p:nvPr/>
        </p:nvSpPr>
        <p:spPr>
          <a:xfrm>
            <a:off x="1803845" y="5446300"/>
            <a:ext cx="8763000" cy="319959"/>
          </a:xfrm>
          <a:prstGeom prst="rect">
            <a:avLst/>
          </a:prstGeom>
        </p:spPr>
        <p:txBody>
          <a:bodyPr vert="horz" wrap="square" lIns="0" tIns="12065" rIns="0" bIns="0" rtlCol="0">
            <a:spAutoFit/>
          </a:bodyPr>
          <a:lstStyle/>
          <a:p>
            <a:pPr marL="12700">
              <a:lnSpc>
                <a:spcPct val="100000"/>
              </a:lnSpc>
              <a:spcBef>
                <a:spcPts val="95"/>
              </a:spcBef>
            </a:pPr>
            <a:r>
              <a:rPr sz="2000" b="0" dirty="0">
                <a:solidFill>
                  <a:schemeClr val="bg1"/>
                </a:solidFill>
                <a:latin typeface="Avenir Next LT Pro Demi" panose="020B0704020202020204" pitchFamily="34" charset="0"/>
                <a:cs typeface="Calibri Light"/>
              </a:rPr>
              <a:t>Please</a:t>
            </a:r>
            <a:r>
              <a:rPr sz="2000" b="0" spc="-55" dirty="0">
                <a:solidFill>
                  <a:schemeClr val="bg1"/>
                </a:solidFill>
                <a:latin typeface="Avenir Next LT Pro Demi" panose="020B0704020202020204" pitchFamily="34" charset="0"/>
                <a:cs typeface="Calibri Light"/>
              </a:rPr>
              <a:t> </a:t>
            </a:r>
            <a:r>
              <a:rPr sz="2000" b="0" dirty="0">
                <a:solidFill>
                  <a:schemeClr val="bg1"/>
                </a:solidFill>
                <a:latin typeface="Avenir Next LT Pro Demi" panose="020B0704020202020204" pitchFamily="34" charset="0"/>
                <a:cs typeface="Calibri Light"/>
              </a:rPr>
              <a:t>let</a:t>
            </a:r>
            <a:r>
              <a:rPr sz="2000" b="0" spc="-35" dirty="0">
                <a:solidFill>
                  <a:schemeClr val="bg1"/>
                </a:solidFill>
                <a:latin typeface="Avenir Next LT Pro Demi" panose="020B0704020202020204" pitchFamily="34" charset="0"/>
                <a:cs typeface="Calibri Light"/>
              </a:rPr>
              <a:t> </a:t>
            </a:r>
            <a:r>
              <a:rPr sz="2000" b="0" dirty="0">
                <a:solidFill>
                  <a:schemeClr val="bg1"/>
                </a:solidFill>
                <a:latin typeface="Avenir Next LT Pro Demi" panose="020B0704020202020204" pitchFamily="34" charset="0"/>
                <a:cs typeface="Calibri Light"/>
              </a:rPr>
              <a:t>us</a:t>
            </a:r>
            <a:r>
              <a:rPr sz="2000" b="0" spc="-40" dirty="0">
                <a:solidFill>
                  <a:schemeClr val="bg1"/>
                </a:solidFill>
                <a:latin typeface="Avenir Next LT Pro Demi" panose="020B0704020202020204" pitchFamily="34" charset="0"/>
                <a:cs typeface="Calibri Light"/>
              </a:rPr>
              <a:t> </a:t>
            </a:r>
            <a:r>
              <a:rPr sz="2000" b="0" spc="-10" dirty="0">
                <a:solidFill>
                  <a:schemeClr val="bg1"/>
                </a:solidFill>
                <a:latin typeface="Avenir Next LT Pro Demi" panose="020B0704020202020204" pitchFamily="34" charset="0"/>
                <a:cs typeface="Calibri Light"/>
              </a:rPr>
              <a:t>know</a:t>
            </a:r>
            <a:r>
              <a:rPr sz="2000" b="0" spc="-65" dirty="0">
                <a:solidFill>
                  <a:schemeClr val="bg1"/>
                </a:solidFill>
                <a:latin typeface="Avenir Next LT Pro Demi" panose="020B0704020202020204" pitchFamily="34" charset="0"/>
                <a:cs typeface="Calibri Light"/>
              </a:rPr>
              <a:t> </a:t>
            </a:r>
            <a:r>
              <a:rPr sz="2000" b="0" dirty="0">
                <a:solidFill>
                  <a:schemeClr val="bg1"/>
                </a:solidFill>
                <a:latin typeface="Avenir Next LT Pro Demi" panose="020B0704020202020204" pitchFamily="34" charset="0"/>
                <a:cs typeface="Calibri Light"/>
              </a:rPr>
              <a:t>if</a:t>
            </a:r>
            <a:r>
              <a:rPr sz="2000" b="0" spc="-40" dirty="0">
                <a:solidFill>
                  <a:schemeClr val="bg1"/>
                </a:solidFill>
                <a:latin typeface="Avenir Next LT Pro Demi" panose="020B0704020202020204" pitchFamily="34" charset="0"/>
                <a:cs typeface="Calibri Light"/>
              </a:rPr>
              <a:t> </a:t>
            </a:r>
            <a:r>
              <a:rPr sz="2000" b="0" spc="-30" dirty="0">
                <a:solidFill>
                  <a:schemeClr val="bg1"/>
                </a:solidFill>
                <a:latin typeface="Avenir Next LT Pro Demi" panose="020B0704020202020204" pitchFamily="34" charset="0"/>
                <a:cs typeface="Calibri Light"/>
              </a:rPr>
              <a:t>you’re</a:t>
            </a:r>
            <a:r>
              <a:rPr sz="2000" b="0" spc="-65" dirty="0">
                <a:solidFill>
                  <a:schemeClr val="bg1"/>
                </a:solidFill>
                <a:latin typeface="Avenir Next LT Pro Demi" panose="020B0704020202020204" pitchFamily="34" charset="0"/>
                <a:cs typeface="Calibri Light"/>
              </a:rPr>
              <a:t> </a:t>
            </a:r>
            <a:r>
              <a:rPr sz="2000" b="0" spc="-25" dirty="0">
                <a:solidFill>
                  <a:schemeClr val="bg1"/>
                </a:solidFill>
                <a:latin typeface="Avenir Next LT Pro Demi" panose="020B0704020202020204" pitchFamily="34" charset="0"/>
                <a:cs typeface="Calibri Light"/>
              </a:rPr>
              <a:t>interested</a:t>
            </a:r>
            <a:r>
              <a:rPr sz="2000" b="0" spc="-60" dirty="0">
                <a:solidFill>
                  <a:schemeClr val="bg1"/>
                </a:solidFill>
                <a:latin typeface="Avenir Next LT Pro Demi" panose="020B0704020202020204" pitchFamily="34" charset="0"/>
                <a:cs typeface="Calibri Light"/>
              </a:rPr>
              <a:t> </a:t>
            </a:r>
            <a:r>
              <a:rPr sz="2000" b="0" dirty="0">
                <a:solidFill>
                  <a:schemeClr val="bg1"/>
                </a:solidFill>
                <a:latin typeface="Avenir Next LT Pro Demi" panose="020B0704020202020204" pitchFamily="34" charset="0"/>
                <a:cs typeface="Calibri Light"/>
              </a:rPr>
              <a:t>in</a:t>
            </a:r>
            <a:r>
              <a:rPr sz="2000" b="0" spc="-50" dirty="0">
                <a:solidFill>
                  <a:schemeClr val="bg1"/>
                </a:solidFill>
                <a:latin typeface="Avenir Next LT Pro Demi" panose="020B0704020202020204" pitchFamily="34" charset="0"/>
                <a:cs typeface="Calibri Light"/>
              </a:rPr>
              <a:t> </a:t>
            </a:r>
            <a:r>
              <a:rPr sz="2000" b="0" dirty="0">
                <a:solidFill>
                  <a:schemeClr val="bg1"/>
                </a:solidFill>
                <a:latin typeface="Avenir Next LT Pro Demi" panose="020B0704020202020204" pitchFamily="34" charset="0"/>
                <a:cs typeface="Calibri Light"/>
              </a:rPr>
              <a:t>the</a:t>
            </a:r>
            <a:r>
              <a:rPr sz="2000" b="0" spc="-40" dirty="0">
                <a:solidFill>
                  <a:schemeClr val="bg1"/>
                </a:solidFill>
                <a:latin typeface="Avenir Next LT Pro Demi" panose="020B0704020202020204" pitchFamily="34" charset="0"/>
                <a:cs typeface="Calibri Light"/>
              </a:rPr>
              <a:t> </a:t>
            </a:r>
            <a:r>
              <a:rPr sz="2000" b="0" spc="-20" dirty="0">
                <a:solidFill>
                  <a:schemeClr val="bg1"/>
                </a:solidFill>
                <a:latin typeface="Avenir Next LT Pro Demi" panose="020B0704020202020204" pitchFamily="34" charset="0"/>
                <a:cs typeface="Calibri Light"/>
              </a:rPr>
              <a:t>Discovery</a:t>
            </a:r>
            <a:r>
              <a:rPr sz="2000" b="0" spc="-60" dirty="0">
                <a:solidFill>
                  <a:schemeClr val="bg1"/>
                </a:solidFill>
                <a:latin typeface="Avenir Next LT Pro Demi" panose="020B0704020202020204" pitchFamily="34" charset="0"/>
                <a:cs typeface="Calibri Light"/>
              </a:rPr>
              <a:t> </a:t>
            </a:r>
            <a:r>
              <a:rPr sz="2000" b="0" spc="-10" dirty="0">
                <a:solidFill>
                  <a:schemeClr val="bg1"/>
                </a:solidFill>
                <a:latin typeface="Avenir Next LT Pro Demi" panose="020B0704020202020204" pitchFamily="34" charset="0"/>
                <a:cs typeface="Calibri Light"/>
              </a:rPr>
              <a:t>Community!</a:t>
            </a:r>
            <a:endParaRPr sz="2000" dirty="0">
              <a:solidFill>
                <a:schemeClr val="bg1"/>
              </a:solidFill>
              <a:latin typeface="Avenir Next LT Pro Demi" panose="020B0704020202020204" pitchFamily="34" charset="0"/>
              <a:cs typeface="Calibri Light"/>
            </a:endParaRPr>
          </a:p>
        </p:txBody>
      </p:sp>
      <p:pic>
        <p:nvPicPr>
          <p:cNvPr id="10" name="Graphic 9">
            <a:extLst>
              <a:ext uri="{FF2B5EF4-FFF2-40B4-BE49-F238E27FC236}">
                <a16:creationId xmlns:a16="http://schemas.microsoft.com/office/drawing/2014/main" id="{96AF935C-750C-CE0D-0250-64562A341793}"/>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rcRect l="13" r="13"/>
          <a:stretch/>
        </p:blipFill>
        <p:spPr>
          <a:xfrm>
            <a:off x="807865" y="1239532"/>
            <a:ext cx="1051718" cy="1051999"/>
          </a:xfrm>
          <a:prstGeom prst="rect">
            <a:avLst/>
          </a:prstGeom>
        </p:spPr>
      </p:pic>
      <p:pic>
        <p:nvPicPr>
          <p:cNvPr id="16" name="Graphic 15">
            <a:extLst>
              <a:ext uri="{FF2B5EF4-FFF2-40B4-BE49-F238E27FC236}">
                <a16:creationId xmlns:a16="http://schemas.microsoft.com/office/drawing/2014/main" id="{7DB448E4-507B-9ACB-09FA-C9DF919EE189}"/>
              </a:ext>
              <a:ext uri="{C183D7F6-B498-43B3-948B-1728B52AA6E4}">
                <adec:decorative xmlns:adec="http://schemas.microsoft.com/office/drawing/2017/decorative" val="1"/>
              </a:ext>
            </a:extLst>
          </p:cNvPr>
          <p:cNvPicPr>
            <a:picLocks/>
          </p:cNvPicPr>
          <p:nvPr/>
        </p:nvPicPr>
        <p:blipFill>
          <a:blip r:embed="rId6">
            <a:extLst>
              <a:ext uri="{96DAC541-7B7A-43D3-8B79-37D633B846F1}">
                <asvg:svgBlip xmlns:asvg="http://schemas.microsoft.com/office/drawing/2016/SVG/main" r:embed="rId7"/>
              </a:ext>
            </a:extLst>
          </a:blip>
          <a:srcRect t="3092" b="3092"/>
          <a:stretch/>
        </p:blipFill>
        <p:spPr>
          <a:xfrm>
            <a:off x="828327" y="2606823"/>
            <a:ext cx="975518" cy="936500"/>
          </a:xfrm>
          <a:prstGeom prst="rect">
            <a:avLst/>
          </a:prstGeom>
        </p:spPr>
      </p:pic>
      <p:pic>
        <p:nvPicPr>
          <p:cNvPr id="37" name="Graphic 36">
            <a:extLst>
              <a:ext uri="{FF2B5EF4-FFF2-40B4-BE49-F238E27FC236}">
                <a16:creationId xmlns:a16="http://schemas.microsoft.com/office/drawing/2014/main" id="{A70B7B3D-BB99-5E21-972B-55ACD7888655}"/>
              </a:ext>
              <a:ext uri="{C183D7F6-B498-43B3-948B-1728B52AA6E4}">
                <adec:decorative xmlns:adec="http://schemas.microsoft.com/office/drawing/2017/decorative" val="1"/>
              </a:ext>
            </a:extLst>
          </p:cNvPr>
          <p:cNvPicPr>
            <a:picLocks noChangeAspect="1"/>
          </p:cNvPicPr>
          <p:nvPr/>
        </p:nvPicPr>
        <p:blipFill>
          <a:blip r:embed="rId8">
            <a:extLst>
              <a:ext uri="{96DAC541-7B7A-43D3-8B79-37D633B846F1}">
                <asvg:svgBlip xmlns:asvg="http://schemas.microsoft.com/office/drawing/2016/SVG/main" r:embed="rId9"/>
              </a:ext>
            </a:extLst>
          </a:blip>
          <a:srcRect l="20" r="20"/>
          <a:stretch/>
        </p:blipFill>
        <p:spPr>
          <a:xfrm>
            <a:off x="884065" y="4037193"/>
            <a:ext cx="975518" cy="975911"/>
          </a:xfrm>
          <a:prstGeom prst="rect">
            <a:avLst/>
          </a:prstGeom>
        </p:spPr>
      </p:pic>
    </p:spTree>
    <p:extLst>
      <p:ext uri="{BB962C8B-B14F-4D97-AF65-F5344CB8AC3E}">
        <p14:creationId xmlns:p14="http://schemas.microsoft.com/office/powerpoint/2010/main" val="5216314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8ENFsO4JXwE8POuqLwR7i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8ENFsO4JXwE8POuqLwR7i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Content Layouts - Light">
  <a:themeElements>
    <a:clrScheme name="Custom 45">
      <a:dk1>
        <a:sysClr val="windowText" lastClr="000000"/>
      </a:dk1>
      <a:lt1>
        <a:sysClr val="window" lastClr="FFFFFF"/>
      </a:lt1>
      <a:dk2>
        <a:srgbClr val="2A2B2D"/>
      </a:dk2>
      <a:lt2>
        <a:srgbClr val="5E33BF"/>
      </a:lt2>
      <a:accent1>
        <a:srgbClr val="93FF9E"/>
      </a:accent1>
      <a:accent2>
        <a:srgbClr val="B175E1"/>
      </a:accent2>
      <a:accent3>
        <a:srgbClr val="F0FE4F"/>
      </a:accent3>
      <a:accent4>
        <a:srgbClr val="EA5564"/>
      </a:accent4>
      <a:accent5>
        <a:srgbClr val="18A381"/>
      </a:accent5>
      <a:accent6>
        <a:srgbClr val="5E33BF"/>
      </a:accent6>
      <a:hlink>
        <a:srgbClr val="000000"/>
      </a:hlink>
      <a:folHlink>
        <a:srgbClr val="EA5564"/>
      </a:folHlink>
    </a:clrScheme>
    <a:fontScheme name="Clarivate">
      <a:majorFont>
        <a:latin typeface="Avenir Next LT Pro Demi"/>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solidFill>
            <a:schemeClr val="accent2"/>
          </a:solidFill>
        </a:ln>
      </a:spPr>
      <a:bodyPr wrap="square" rtlCol="0">
        <a:noAutofit/>
      </a:bodyPr>
      <a:lstStyle>
        <a:defPPr algn="l">
          <a:defRPr>
            <a:solidFill>
              <a:schemeClr val="tx1"/>
            </a:solidFill>
          </a:defRPr>
        </a:defPPr>
      </a:lstStyle>
    </a:spDef>
    <a:txDef>
      <a:spPr>
        <a:solidFill>
          <a:schemeClr val="bg1"/>
        </a:solidFill>
        <a:ln>
          <a:solidFill>
            <a:schemeClr val="accent2"/>
          </a:solidFill>
        </a:ln>
      </a:spPr>
      <a:bodyPr wrap="square" rtlCol="0">
        <a:noAutofit/>
      </a:bodyPr>
      <a:lstStyle>
        <a:defPPr algn="l">
          <a:defRPr dirty="0" err="1" smtClean="0"/>
        </a:defPPr>
      </a:lstStyle>
    </a:txDef>
  </a:objectDefaults>
  <a:extraClrSchemeLst/>
  <a:extLst>
    <a:ext uri="{05A4C25C-085E-4340-85A3-A5531E510DB2}">
      <thm15:themeFamily xmlns:thm15="http://schemas.microsoft.com/office/thememl/2012/main" name="Clarivate Template EXTENDED V13.pptx" id="{94F85648-5CC4-4711-8DE0-D0E6C3AC3E86}" vid="{52FF09A4-AB24-4D87-9520-83E3BC44AB7D}"/>
    </a:ext>
  </a:extLst>
</a:theme>
</file>

<file path=ppt/theme/theme3.xml><?xml version="1.0" encoding="utf-8"?>
<a:theme xmlns:a="http://schemas.openxmlformats.org/drawingml/2006/main" name="8_Content Layouts - Light">
  <a:themeElements>
    <a:clrScheme name="Custom 45">
      <a:dk1>
        <a:sysClr val="windowText" lastClr="000000"/>
      </a:dk1>
      <a:lt1>
        <a:sysClr val="window" lastClr="FFFFFF"/>
      </a:lt1>
      <a:dk2>
        <a:srgbClr val="2A2B2D"/>
      </a:dk2>
      <a:lt2>
        <a:srgbClr val="5E33BF"/>
      </a:lt2>
      <a:accent1>
        <a:srgbClr val="93FF9E"/>
      </a:accent1>
      <a:accent2>
        <a:srgbClr val="B175E1"/>
      </a:accent2>
      <a:accent3>
        <a:srgbClr val="F0FE4F"/>
      </a:accent3>
      <a:accent4>
        <a:srgbClr val="EA5564"/>
      </a:accent4>
      <a:accent5>
        <a:srgbClr val="18A381"/>
      </a:accent5>
      <a:accent6>
        <a:srgbClr val="5E33BF"/>
      </a:accent6>
      <a:hlink>
        <a:srgbClr val="000000"/>
      </a:hlink>
      <a:folHlink>
        <a:srgbClr val="EA5564"/>
      </a:folHlink>
    </a:clrScheme>
    <a:fontScheme name="Clarivate">
      <a:majorFont>
        <a:latin typeface="Avenir Next LT Pro Demi"/>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solidFill>
            <a:schemeClr val="accent2"/>
          </a:solidFill>
        </a:ln>
      </a:spPr>
      <a:bodyPr wrap="square" rtlCol="0">
        <a:noAutofit/>
      </a:bodyPr>
      <a:lstStyle>
        <a:defPPr algn="l">
          <a:defRPr>
            <a:solidFill>
              <a:schemeClr val="tx1"/>
            </a:solidFill>
          </a:defRPr>
        </a:defPPr>
      </a:lstStyle>
    </a:spDef>
    <a:txDef>
      <a:spPr>
        <a:solidFill>
          <a:schemeClr val="bg1"/>
        </a:solidFill>
        <a:ln>
          <a:solidFill>
            <a:schemeClr val="accent2"/>
          </a:solidFill>
        </a:ln>
      </a:spPr>
      <a:bodyPr wrap="square" rtlCol="0">
        <a:noAutofit/>
      </a:bodyPr>
      <a:lstStyle>
        <a:defPPr algn="l">
          <a:defRPr dirty="0" err="1" smtClean="0"/>
        </a:defPPr>
      </a:lstStyle>
    </a:txDef>
  </a:objectDefaults>
  <a:extraClrSchemeLst/>
  <a:extLst>
    <a:ext uri="{05A4C25C-085E-4340-85A3-A5531E510DB2}">
      <thm15:themeFamily xmlns:thm15="http://schemas.microsoft.com/office/thememl/2012/main" name="Clarivate Template EXTENDED V13.pptx" id="{94F85648-5CC4-4711-8DE0-D0E6C3AC3E86}" vid="{52FF09A4-AB24-4D87-9520-83E3BC44AB7D}"/>
    </a:ext>
  </a:extLst>
</a:theme>
</file>

<file path=ppt/theme/theme4.xml><?xml version="1.0" encoding="utf-8"?>
<a:theme xmlns:a="http://schemas.openxmlformats.org/drawingml/2006/main" name="Content Layouts">
  <a:themeElements>
    <a:clrScheme name="Custom 64">
      <a:dk1>
        <a:sysClr val="windowText" lastClr="000000"/>
      </a:dk1>
      <a:lt1>
        <a:sysClr val="window" lastClr="FFFFFF"/>
      </a:lt1>
      <a:dk2>
        <a:srgbClr val="2A2B2D"/>
      </a:dk2>
      <a:lt2>
        <a:srgbClr val="5E33BF"/>
      </a:lt2>
      <a:accent1>
        <a:srgbClr val="93FF9E"/>
      </a:accent1>
      <a:accent2>
        <a:srgbClr val="B175E1"/>
      </a:accent2>
      <a:accent3>
        <a:srgbClr val="F0FE4F"/>
      </a:accent3>
      <a:accent4>
        <a:srgbClr val="ED5564"/>
      </a:accent4>
      <a:accent5>
        <a:srgbClr val="18A381"/>
      </a:accent5>
      <a:accent6>
        <a:srgbClr val="5E33BF"/>
      </a:accent6>
      <a:hlink>
        <a:srgbClr val="000000"/>
      </a:hlink>
      <a:folHlink>
        <a:srgbClr val="EA5564"/>
      </a:folHlink>
    </a:clrScheme>
    <a:fontScheme name="Clarivate">
      <a:majorFont>
        <a:latin typeface="Avenir Next LT Pro Demi"/>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wrap="square" tIns="108000" bIns="108000" rtlCol="0" anchor="ctr" anchorCtr="0">
        <a:noAutofit/>
      </a:bodyPr>
      <a:lstStyle>
        <a:defPPr algn="ctr">
          <a:defRPr sz="1500" dirty="0" err="1" smtClean="0">
            <a:solidFill>
              <a:schemeClr val="tx1"/>
            </a:solidFill>
          </a:defRPr>
        </a:defPPr>
      </a:lstStyle>
    </a:spDef>
    <a:txDef>
      <a:spPr>
        <a:noFill/>
        <a:ln>
          <a:noFill/>
        </a:ln>
      </a:spPr>
      <a:bodyPr wrap="square" rtlCol="0">
        <a:noAutofit/>
      </a:bodyPr>
      <a:lstStyle>
        <a:defPPr algn="l">
          <a:defRPr sz="1500" dirty="0" err="1" smtClean="0"/>
        </a:defPPr>
      </a:lstStyle>
    </a:txDef>
  </a:objectDefaults>
  <a:extraClrSchemeLst/>
  <a:extLst>
    <a:ext uri="{05A4C25C-085E-4340-85A3-A5531E510DB2}">
      <thm15:themeFamily xmlns:thm15="http://schemas.microsoft.com/office/thememl/2012/main" name="Clarivate_EXTENDED Template_V2_29.4" id="{0C51EB68-9874-EC42-A426-D0D520D6B89C}" vid="{CEF1A49F-AE18-644F-B884-1AF491C69810}"/>
    </a:ext>
  </a:extLst>
</a:theme>
</file>

<file path=ppt/theme/theme5.xml><?xml version="1.0" encoding="utf-8"?>
<a:theme xmlns:a="http://schemas.openxmlformats.org/drawingml/2006/main" name="1_Content Layouts">
  <a:themeElements>
    <a:clrScheme name="Custom 64">
      <a:dk1>
        <a:sysClr val="windowText" lastClr="000000"/>
      </a:dk1>
      <a:lt1>
        <a:sysClr val="window" lastClr="FFFFFF"/>
      </a:lt1>
      <a:dk2>
        <a:srgbClr val="2A2B2D"/>
      </a:dk2>
      <a:lt2>
        <a:srgbClr val="5E33BF"/>
      </a:lt2>
      <a:accent1>
        <a:srgbClr val="93FF9E"/>
      </a:accent1>
      <a:accent2>
        <a:srgbClr val="B175E1"/>
      </a:accent2>
      <a:accent3>
        <a:srgbClr val="F0FE4F"/>
      </a:accent3>
      <a:accent4>
        <a:srgbClr val="ED5564"/>
      </a:accent4>
      <a:accent5>
        <a:srgbClr val="18A381"/>
      </a:accent5>
      <a:accent6>
        <a:srgbClr val="5E33BF"/>
      </a:accent6>
      <a:hlink>
        <a:srgbClr val="000000"/>
      </a:hlink>
      <a:folHlink>
        <a:srgbClr val="EA5564"/>
      </a:folHlink>
    </a:clrScheme>
    <a:fontScheme name="Clarivate">
      <a:majorFont>
        <a:latin typeface="Avenir Next LT Pro Demi"/>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wrap="square" tIns="108000" bIns="108000" rtlCol="0" anchor="ctr" anchorCtr="0">
        <a:noAutofit/>
      </a:bodyPr>
      <a:lstStyle>
        <a:defPPr algn="ctr">
          <a:defRPr sz="1500" dirty="0" err="1" smtClean="0">
            <a:solidFill>
              <a:schemeClr val="tx1"/>
            </a:solidFill>
          </a:defRPr>
        </a:defPPr>
      </a:lstStyle>
    </a:spDef>
    <a:txDef>
      <a:spPr>
        <a:noFill/>
        <a:ln>
          <a:noFill/>
        </a:ln>
      </a:spPr>
      <a:bodyPr wrap="square" rtlCol="0">
        <a:noAutofit/>
      </a:bodyPr>
      <a:lstStyle>
        <a:defPPr algn="l">
          <a:defRPr sz="1500" dirty="0" err="1" smtClean="0"/>
        </a:defPPr>
      </a:lstStyle>
    </a:txDef>
  </a:objectDefaults>
  <a:extraClrSchemeLst/>
  <a:extLst>
    <a:ext uri="{05A4C25C-085E-4340-85A3-A5531E510DB2}">
      <thm15:themeFamily xmlns:thm15="http://schemas.microsoft.com/office/thememl/2012/main" name="Clarivate_MASTER Template_V1_22.4" id="{0BFECBFB-B186-9B46-ADF1-23F185B13481}" vid="{D1A78186-1673-264C-BAD1-9C55A29D0DBF}"/>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127fa96e-00b4-429e-95f9-72c2828437a4}" enabled="0" method="" siteId="{127fa96e-00b4-429e-95f9-72c2828437a4}" removed="1"/>
</clbl:labelList>
</file>

<file path=docProps/app.xml><?xml version="1.0" encoding="utf-8"?>
<Properties xmlns="http://schemas.openxmlformats.org/officeDocument/2006/extended-properties" xmlns:vt="http://schemas.openxmlformats.org/officeDocument/2006/docPropsVTypes">
  <Template/>
  <TotalTime>5512</TotalTime>
  <Words>539</Words>
  <Application>Microsoft Office PowerPoint</Application>
  <PresentationFormat>Widescreen</PresentationFormat>
  <Paragraphs>120</Paragraphs>
  <Slides>10</Slides>
  <Notes>2</Notes>
  <HiddenSlides>0</HiddenSlides>
  <MMClips>0</MMClips>
  <ScaleCrop>false</ScaleCrop>
  <HeadingPairs>
    <vt:vector size="8" baseType="variant">
      <vt:variant>
        <vt:lpstr>Fonts Used</vt:lpstr>
      </vt:variant>
      <vt:variant>
        <vt:i4>10</vt:i4>
      </vt:variant>
      <vt:variant>
        <vt:lpstr>Theme</vt:lpstr>
      </vt:variant>
      <vt:variant>
        <vt:i4>5</vt:i4>
      </vt:variant>
      <vt:variant>
        <vt:lpstr>Embedded OLE Servers</vt:lpstr>
      </vt:variant>
      <vt:variant>
        <vt:i4>1</vt:i4>
      </vt:variant>
      <vt:variant>
        <vt:lpstr>Slide Titles</vt:lpstr>
      </vt:variant>
      <vt:variant>
        <vt:i4>10</vt:i4>
      </vt:variant>
    </vt:vector>
  </HeadingPairs>
  <TitlesOfParts>
    <vt:vector size="26" baseType="lpstr">
      <vt:lpstr>Aptos</vt:lpstr>
      <vt:lpstr>Arial</vt:lpstr>
      <vt:lpstr>Avenir Next LT Pro</vt:lpstr>
      <vt:lpstr>Avenir Next LT Pro Demi</vt:lpstr>
      <vt:lpstr>Calibri</vt:lpstr>
      <vt:lpstr>Calibri Regular</vt:lpstr>
      <vt:lpstr>Courier New</vt:lpstr>
      <vt:lpstr>Segoe UI</vt:lpstr>
      <vt:lpstr>Tahoma</vt:lpstr>
      <vt:lpstr>Wingdings</vt:lpstr>
      <vt:lpstr>Office Theme</vt:lpstr>
      <vt:lpstr>1_Content Layouts - Light</vt:lpstr>
      <vt:lpstr>8_Content Layouts - Light</vt:lpstr>
      <vt:lpstr>Content Layouts</vt:lpstr>
      <vt:lpstr>1_Content Layouts</vt:lpstr>
      <vt:lpstr>think-cell Slide</vt:lpstr>
      <vt:lpstr>ProQuest ETD Administrator User Group Meeting Mark Dill, Product Manager, Dissertations September 26, 2025</vt:lpstr>
      <vt:lpstr>PowerPoint Presentation</vt:lpstr>
      <vt:lpstr>Your ProQuest Team</vt:lpstr>
      <vt:lpstr>New Shared Tags feature in ETD</vt:lpstr>
      <vt:lpstr>XML Delivery Enhancements </vt:lpstr>
      <vt:lpstr>Coming Soon!</vt:lpstr>
      <vt:lpstr>PowerPoint Presentation</vt:lpstr>
      <vt:lpstr>PowerPoint Presentation</vt:lpstr>
      <vt:lpstr>Discovery Community</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ison Thompson</dc:creator>
  <cp:lastModifiedBy>Mark Dill</cp:lastModifiedBy>
  <cp:revision>6</cp:revision>
  <dcterms:created xsi:type="dcterms:W3CDTF">2024-09-15T18:45:15Z</dcterms:created>
  <dcterms:modified xsi:type="dcterms:W3CDTF">2025-09-19T17:17: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3-09-25T00:00:00Z</vt:filetime>
  </property>
  <property fmtid="{D5CDD505-2E9C-101B-9397-08002B2CF9AE}" pid="3" name="Creator">
    <vt:lpwstr>Microsoft® PowerPoint® for Microsoft 365</vt:lpwstr>
  </property>
  <property fmtid="{D5CDD505-2E9C-101B-9397-08002B2CF9AE}" pid="4" name="LastSaved">
    <vt:filetime>2024-09-15T00:00:00Z</vt:filetime>
  </property>
  <property fmtid="{D5CDD505-2E9C-101B-9397-08002B2CF9AE}" pid="5" name="Producer">
    <vt:lpwstr>Microsoft® PowerPoint® for Microsoft 365</vt:lpwstr>
  </property>
</Properties>
</file>